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wmf" ContentType="image/x-wm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3.xml" ContentType="application/vnd.openxmlformats-officedocument.theme+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4.xml" ContentType="application/vnd.openxmlformats-officedocument.theme+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2.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6.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7.xml" ContentType="application/vnd.openxmlformats-officedocument.presentationml.notesSlide+xml"/>
  <Override PartName="/ppt/notesSlides/notesSlide8.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notesSlides/notesSlide19.xml" ContentType="application/vnd.openxmlformats-officedocument.presentationml.notesSlide+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diagrams/data13.xml" ContentType="application/vnd.openxmlformats-officedocument.drawingml.diagramData+xml"/>
  <Override PartName="/ppt/diagrams/layout13.xml" ContentType="application/vnd.openxmlformats-officedocument.drawingml.diagramLayout+xml"/>
  <Override PartName="/ppt/diagrams/quickStyle13.xml" ContentType="application/vnd.openxmlformats-officedocument.drawingml.diagramStyle+xml"/>
  <Override PartName="/ppt/diagrams/colors13.xml" ContentType="application/vnd.openxmlformats-officedocument.drawingml.diagramColors+xml"/>
  <Override PartName="/ppt/diagrams/drawing13.xml" ContentType="application/vnd.ms-office.drawingml.diagramDrawing+xml"/>
  <Override PartName="/ppt/notesSlides/notesSlide22.xml" ContentType="application/vnd.openxmlformats-officedocument.presentationml.notesSlide+xml"/>
  <Override PartName="/ppt/diagrams/data14.xml" ContentType="application/vnd.openxmlformats-officedocument.drawingml.diagramData+xml"/>
  <Override PartName="/ppt/diagrams/layout14.xml" ContentType="application/vnd.openxmlformats-officedocument.drawingml.diagramLayout+xml"/>
  <Override PartName="/ppt/diagrams/quickStyle14.xml" ContentType="application/vnd.openxmlformats-officedocument.drawingml.diagramStyle+xml"/>
  <Override PartName="/ppt/diagrams/colors14.xml" ContentType="application/vnd.openxmlformats-officedocument.drawingml.diagramColors+xml"/>
  <Override PartName="/ppt/diagrams/drawing14.xml" ContentType="application/vnd.ms-office.drawingml.diagramDrawing+xml"/>
  <Override PartName="/ppt/diagrams/data15.xml" ContentType="application/vnd.openxmlformats-officedocument.drawingml.diagramData+xml"/>
  <Override PartName="/ppt/diagrams/layout15.xml" ContentType="application/vnd.openxmlformats-officedocument.drawingml.diagramLayout+xml"/>
  <Override PartName="/ppt/diagrams/quickStyle15.xml" ContentType="application/vnd.openxmlformats-officedocument.drawingml.diagramStyle+xml"/>
  <Override PartName="/ppt/diagrams/colors15.xml" ContentType="application/vnd.openxmlformats-officedocument.drawingml.diagramColors+xml"/>
  <Override PartName="/ppt/diagrams/drawing15.xml" ContentType="application/vnd.ms-office.drawingml.diagramDrawing+xml"/>
  <Override PartName="/ppt/diagrams/data16.xml" ContentType="application/vnd.openxmlformats-officedocument.drawingml.diagramData+xml"/>
  <Override PartName="/ppt/diagrams/layout16.xml" ContentType="application/vnd.openxmlformats-officedocument.drawingml.diagramLayout+xml"/>
  <Override PartName="/ppt/diagrams/quickStyle16.xml" ContentType="application/vnd.openxmlformats-officedocument.drawingml.diagramStyle+xml"/>
  <Override PartName="/ppt/diagrams/colors16.xml" ContentType="application/vnd.openxmlformats-officedocument.drawingml.diagramColors+xml"/>
  <Override PartName="/ppt/diagrams/drawing16.xml" ContentType="application/vnd.ms-office.drawingml.diagramDrawing+xml"/>
  <Override PartName="/ppt/diagrams/data17.xml" ContentType="application/vnd.openxmlformats-officedocument.drawingml.diagramData+xml"/>
  <Override PartName="/ppt/diagrams/layout17.xml" ContentType="application/vnd.openxmlformats-officedocument.drawingml.diagramLayout+xml"/>
  <Override PartName="/ppt/diagrams/quickStyle17.xml" ContentType="application/vnd.openxmlformats-officedocument.drawingml.diagramStyle+xml"/>
  <Override PartName="/ppt/diagrams/colors17.xml" ContentType="application/vnd.openxmlformats-officedocument.drawingml.diagramColors+xml"/>
  <Override PartName="/ppt/diagrams/drawing17.xml" ContentType="application/vnd.ms-office.drawingml.diagramDrawing+xml"/>
  <Override PartName="/ppt/diagrams/data18.xml" ContentType="application/vnd.openxmlformats-officedocument.drawingml.diagramData+xml"/>
  <Override PartName="/ppt/diagrams/layout18.xml" ContentType="application/vnd.openxmlformats-officedocument.drawingml.diagramLayout+xml"/>
  <Override PartName="/ppt/diagrams/quickStyle18.xml" ContentType="application/vnd.openxmlformats-officedocument.drawingml.diagramStyle+xml"/>
  <Override PartName="/ppt/diagrams/colors18.xml" ContentType="application/vnd.openxmlformats-officedocument.drawingml.diagramColors+xml"/>
  <Override PartName="/ppt/diagrams/drawing18.xml" ContentType="application/vnd.ms-office.drawingml.diagramDrawing+xml"/>
  <Override PartName="/ppt/notesSlides/notesSlide2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 id="2147483675" r:id="rId3"/>
    <p:sldMasterId id="2147483688" r:id="rId4"/>
    <p:sldMasterId id="2147483701" r:id="rId5"/>
  </p:sldMasterIdLst>
  <p:notesMasterIdLst>
    <p:notesMasterId r:id="rId91"/>
  </p:notesMasterIdLst>
  <p:sldIdLst>
    <p:sldId id="494" r:id="rId6"/>
    <p:sldId id="373" r:id="rId7"/>
    <p:sldId id="374" r:id="rId8"/>
    <p:sldId id="375" r:id="rId9"/>
    <p:sldId id="376" r:id="rId10"/>
    <p:sldId id="377" r:id="rId11"/>
    <p:sldId id="382" r:id="rId12"/>
    <p:sldId id="383" r:id="rId13"/>
    <p:sldId id="384" r:id="rId14"/>
    <p:sldId id="385" r:id="rId15"/>
    <p:sldId id="386" r:id="rId16"/>
    <p:sldId id="387" r:id="rId17"/>
    <p:sldId id="388" r:id="rId18"/>
    <p:sldId id="389" r:id="rId19"/>
    <p:sldId id="390" r:id="rId20"/>
    <p:sldId id="391" r:id="rId21"/>
    <p:sldId id="392" r:id="rId22"/>
    <p:sldId id="393" r:id="rId23"/>
    <p:sldId id="394" r:id="rId24"/>
    <p:sldId id="395" r:id="rId25"/>
    <p:sldId id="396" r:id="rId26"/>
    <p:sldId id="397" r:id="rId27"/>
    <p:sldId id="398" r:id="rId28"/>
    <p:sldId id="399" r:id="rId29"/>
    <p:sldId id="400" r:id="rId30"/>
    <p:sldId id="401" r:id="rId31"/>
    <p:sldId id="402" r:id="rId32"/>
    <p:sldId id="495" r:id="rId33"/>
    <p:sldId id="403" r:id="rId34"/>
    <p:sldId id="404" r:id="rId35"/>
    <p:sldId id="496" r:id="rId36"/>
    <p:sldId id="497" r:id="rId37"/>
    <p:sldId id="498" r:id="rId38"/>
    <p:sldId id="317" r:id="rId39"/>
    <p:sldId id="499" r:id="rId40"/>
    <p:sldId id="318" r:id="rId41"/>
    <p:sldId id="319" r:id="rId42"/>
    <p:sldId id="501" r:id="rId43"/>
    <p:sldId id="505" r:id="rId44"/>
    <p:sldId id="311" r:id="rId45"/>
    <p:sldId id="520" r:id="rId46"/>
    <p:sldId id="305" r:id="rId47"/>
    <p:sldId id="526" r:id="rId48"/>
    <p:sldId id="527" r:id="rId49"/>
    <p:sldId id="528" r:id="rId50"/>
    <p:sldId id="306" r:id="rId51"/>
    <p:sldId id="312" r:id="rId52"/>
    <p:sldId id="313" r:id="rId53"/>
    <p:sldId id="308" r:id="rId54"/>
    <p:sldId id="518" r:id="rId55"/>
    <p:sldId id="315" r:id="rId56"/>
    <p:sldId id="529" r:id="rId57"/>
    <p:sldId id="530" r:id="rId58"/>
    <p:sldId id="300" r:id="rId59"/>
    <p:sldId id="316" r:id="rId60"/>
    <p:sldId id="509" r:id="rId61"/>
    <p:sldId id="295" r:id="rId62"/>
    <p:sldId id="510" r:id="rId63"/>
    <p:sldId id="511" r:id="rId64"/>
    <p:sldId id="512" r:id="rId65"/>
    <p:sldId id="513" r:id="rId66"/>
    <p:sldId id="514" r:id="rId67"/>
    <p:sldId id="304" r:id="rId68"/>
    <p:sldId id="515" r:id="rId69"/>
    <p:sldId id="303" r:id="rId70"/>
    <p:sldId id="307" r:id="rId71"/>
    <p:sldId id="310" r:id="rId72"/>
    <p:sldId id="531" r:id="rId73"/>
    <p:sldId id="532" r:id="rId74"/>
    <p:sldId id="533" r:id="rId75"/>
    <p:sldId id="534" r:id="rId76"/>
    <p:sldId id="535" r:id="rId77"/>
    <p:sldId id="536" r:id="rId78"/>
    <p:sldId id="537" r:id="rId79"/>
    <p:sldId id="538" r:id="rId80"/>
    <p:sldId id="539" r:id="rId81"/>
    <p:sldId id="540" r:id="rId82"/>
    <p:sldId id="541" r:id="rId83"/>
    <p:sldId id="542" r:id="rId84"/>
    <p:sldId id="543" r:id="rId85"/>
    <p:sldId id="544" r:id="rId86"/>
    <p:sldId id="545" r:id="rId87"/>
    <p:sldId id="546" r:id="rId88"/>
    <p:sldId id="547" r:id="rId89"/>
    <p:sldId id="407" r:id="rId9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987" autoAdjust="0"/>
    <p:restoredTop sz="94660"/>
  </p:normalViewPr>
  <p:slideViewPr>
    <p:cSldViewPr snapToGrid="0">
      <p:cViewPr>
        <p:scale>
          <a:sx n="66" d="100"/>
          <a:sy n="66" d="100"/>
        </p:scale>
        <p:origin x="1536" y="113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1.xml"/><Relationship Id="rId21" Type="http://schemas.openxmlformats.org/officeDocument/2006/relationships/slide" Target="slides/slide16.xml"/><Relationship Id="rId42" Type="http://schemas.openxmlformats.org/officeDocument/2006/relationships/slide" Target="slides/slide37.xml"/><Relationship Id="rId47" Type="http://schemas.openxmlformats.org/officeDocument/2006/relationships/slide" Target="slides/slide42.xml"/><Relationship Id="rId63" Type="http://schemas.openxmlformats.org/officeDocument/2006/relationships/slide" Target="slides/slide58.xml"/><Relationship Id="rId68" Type="http://schemas.openxmlformats.org/officeDocument/2006/relationships/slide" Target="slides/slide63.xml"/><Relationship Id="rId84" Type="http://schemas.openxmlformats.org/officeDocument/2006/relationships/slide" Target="slides/slide79.xml"/><Relationship Id="rId89" Type="http://schemas.openxmlformats.org/officeDocument/2006/relationships/slide" Target="slides/slide84.xml"/><Relationship Id="rId16" Type="http://schemas.openxmlformats.org/officeDocument/2006/relationships/slide" Target="slides/slide11.xml"/><Relationship Id="rId11" Type="http://schemas.openxmlformats.org/officeDocument/2006/relationships/slide" Target="slides/slide6.xml"/><Relationship Id="rId32" Type="http://schemas.openxmlformats.org/officeDocument/2006/relationships/slide" Target="slides/slide27.xml"/><Relationship Id="rId37" Type="http://schemas.openxmlformats.org/officeDocument/2006/relationships/slide" Target="slides/slide32.xml"/><Relationship Id="rId53" Type="http://schemas.openxmlformats.org/officeDocument/2006/relationships/slide" Target="slides/slide48.xml"/><Relationship Id="rId58" Type="http://schemas.openxmlformats.org/officeDocument/2006/relationships/slide" Target="slides/slide53.xml"/><Relationship Id="rId74" Type="http://schemas.openxmlformats.org/officeDocument/2006/relationships/slide" Target="slides/slide69.xml"/><Relationship Id="rId79" Type="http://schemas.openxmlformats.org/officeDocument/2006/relationships/slide" Target="slides/slide74.xml"/><Relationship Id="rId5" Type="http://schemas.openxmlformats.org/officeDocument/2006/relationships/slideMaster" Target="slideMasters/slideMaster5.xml"/><Relationship Id="rId90" Type="http://schemas.openxmlformats.org/officeDocument/2006/relationships/slide" Target="slides/slide85.xml"/><Relationship Id="rId95" Type="http://schemas.openxmlformats.org/officeDocument/2006/relationships/tableStyles" Target="tableStyles.xml"/><Relationship Id="rId22" Type="http://schemas.openxmlformats.org/officeDocument/2006/relationships/slide" Target="slides/slide17.xml"/><Relationship Id="rId27" Type="http://schemas.openxmlformats.org/officeDocument/2006/relationships/slide" Target="slides/slide22.xml"/><Relationship Id="rId43" Type="http://schemas.openxmlformats.org/officeDocument/2006/relationships/slide" Target="slides/slide38.xml"/><Relationship Id="rId48" Type="http://schemas.openxmlformats.org/officeDocument/2006/relationships/slide" Target="slides/slide43.xml"/><Relationship Id="rId64" Type="http://schemas.openxmlformats.org/officeDocument/2006/relationships/slide" Target="slides/slide59.xml"/><Relationship Id="rId69" Type="http://schemas.openxmlformats.org/officeDocument/2006/relationships/slide" Target="slides/slide64.xml"/><Relationship Id="rId8" Type="http://schemas.openxmlformats.org/officeDocument/2006/relationships/slide" Target="slides/slide3.xml"/><Relationship Id="rId51" Type="http://schemas.openxmlformats.org/officeDocument/2006/relationships/slide" Target="slides/slide46.xml"/><Relationship Id="rId72" Type="http://schemas.openxmlformats.org/officeDocument/2006/relationships/slide" Target="slides/slide67.xml"/><Relationship Id="rId80" Type="http://schemas.openxmlformats.org/officeDocument/2006/relationships/slide" Target="slides/slide75.xml"/><Relationship Id="rId85" Type="http://schemas.openxmlformats.org/officeDocument/2006/relationships/slide" Target="slides/slide80.xml"/><Relationship Id="rId93" Type="http://schemas.openxmlformats.org/officeDocument/2006/relationships/viewProps" Target="viewProps.xml"/><Relationship Id="rId3" Type="http://schemas.openxmlformats.org/officeDocument/2006/relationships/slideMaster" Target="slideMasters/slideMaster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slide" Target="slides/slide54.xml"/><Relationship Id="rId67" Type="http://schemas.openxmlformats.org/officeDocument/2006/relationships/slide" Target="slides/slide62.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slide" Target="slides/slide49.xml"/><Relationship Id="rId62" Type="http://schemas.openxmlformats.org/officeDocument/2006/relationships/slide" Target="slides/slide57.xml"/><Relationship Id="rId70" Type="http://schemas.openxmlformats.org/officeDocument/2006/relationships/slide" Target="slides/slide65.xml"/><Relationship Id="rId75" Type="http://schemas.openxmlformats.org/officeDocument/2006/relationships/slide" Target="slides/slide70.xml"/><Relationship Id="rId83" Type="http://schemas.openxmlformats.org/officeDocument/2006/relationships/slide" Target="slides/slide78.xml"/><Relationship Id="rId88" Type="http://schemas.openxmlformats.org/officeDocument/2006/relationships/slide" Target="slides/slide83.xml"/><Relationship Id="rId91"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slide" Target="slides/slide52.xml"/><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slide" Target="slides/slide55.xml"/><Relationship Id="rId65" Type="http://schemas.openxmlformats.org/officeDocument/2006/relationships/slide" Target="slides/slide60.xml"/><Relationship Id="rId73" Type="http://schemas.openxmlformats.org/officeDocument/2006/relationships/slide" Target="slides/slide68.xml"/><Relationship Id="rId78" Type="http://schemas.openxmlformats.org/officeDocument/2006/relationships/slide" Target="slides/slide73.xml"/><Relationship Id="rId81" Type="http://schemas.openxmlformats.org/officeDocument/2006/relationships/slide" Target="slides/slide76.xml"/><Relationship Id="rId86" Type="http://schemas.openxmlformats.org/officeDocument/2006/relationships/slide" Target="slides/slide81.xml"/><Relationship Id="rId94"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 Target="slides/slide4.xml"/><Relationship Id="rId13" Type="http://schemas.openxmlformats.org/officeDocument/2006/relationships/slide" Target="slides/slide8.xml"/><Relationship Id="rId18" Type="http://schemas.openxmlformats.org/officeDocument/2006/relationships/slide" Target="slides/slide13.xml"/><Relationship Id="rId39" Type="http://schemas.openxmlformats.org/officeDocument/2006/relationships/slide" Target="slides/slide34.xml"/><Relationship Id="rId34" Type="http://schemas.openxmlformats.org/officeDocument/2006/relationships/slide" Target="slides/slide29.xml"/><Relationship Id="rId50" Type="http://schemas.openxmlformats.org/officeDocument/2006/relationships/slide" Target="slides/slide45.xml"/><Relationship Id="rId55" Type="http://schemas.openxmlformats.org/officeDocument/2006/relationships/slide" Target="slides/slide50.xml"/><Relationship Id="rId76" Type="http://schemas.openxmlformats.org/officeDocument/2006/relationships/slide" Target="slides/slide71.xml"/><Relationship Id="rId7" Type="http://schemas.openxmlformats.org/officeDocument/2006/relationships/slide" Target="slides/slide2.xml"/><Relationship Id="rId71" Type="http://schemas.openxmlformats.org/officeDocument/2006/relationships/slide" Target="slides/slide66.xml"/><Relationship Id="rId92" Type="http://schemas.openxmlformats.org/officeDocument/2006/relationships/presProps" Target="presProps.xml"/><Relationship Id="rId2" Type="http://schemas.openxmlformats.org/officeDocument/2006/relationships/slideMaster" Target="slideMasters/slideMaster2.xml"/><Relationship Id="rId29" Type="http://schemas.openxmlformats.org/officeDocument/2006/relationships/slide" Target="slides/slide24.xml"/><Relationship Id="rId24" Type="http://schemas.openxmlformats.org/officeDocument/2006/relationships/slide" Target="slides/slide19.xml"/><Relationship Id="rId40" Type="http://schemas.openxmlformats.org/officeDocument/2006/relationships/slide" Target="slides/slide35.xml"/><Relationship Id="rId45" Type="http://schemas.openxmlformats.org/officeDocument/2006/relationships/slide" Target="slides/slide40.xml"/><Relationship Id="rId66" Type="http://schemas.openxmlformats.org/officeDocument/2006/relationships/slide" Target="slides/slide61.xml"/><Relationship Id="rId87" Type="http://schemas.openxmlformats.org/officeDocument/2006/relationships/slide" Target="slides/slide82.xml"/><Relationship Id="rId61" Type="http://schemas.openxmlformats.org/officeDocument/2006/relationships/slide" Target="slides/slide56.xml"/><Relationship Id="rId82" Type="http://schemas.openxmlformats.org/officeDocument/2006/relationships/slide" Target="slides/slide77.xml"/><Relationship Id="rId19" Type="http://schemas.openxmlformats.org/officeDocument/2006/relationships/slide" Target="slides/slide14.xml"/><Relationship Id="rId14" Type="http://schemas.openxmlformats.org/officeDocument/2006/relationships/slide" Target="slides/slide9.xml"/><Relationship Id="rId30" Type="http://schemas.openxmlformats.org/officeDocument/2006/relationships/slide" Target="slides/slide25.xml"/><Relationship Id="rId35" Type="http://schemas.openxmlformats.org/officeDocument/2006/relationships/slide" Target="slides/slide30.xml"/><Relationship Id="rId56" Type="http://schemas.openxmlformats.org/officeDocument/2006/relationships/slide" Target="slides/slide51.xml"/><Relationship Id="rId77" Type="http://schemas.openxmlformats.org/officeDocument/2006/relationships/slide" Target="slides/slide72.xml"/></Relationships>
</file>

<file path=ppt/diagrams/_rels/data1.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10.jpeg"/><Relationship Id="rId1" Type="http://schemas.openxmlformats.org/officeDocument/2006/relationships/image" Target="../media/image9.jpeg"/></Relationships>
</file>

<file path=ppt/diagrams/_rels/data11.xml.rels><?xml version="1.0" encoding="UTF-8" standalone="yes"?>
<Relationships xmlns="http://schemas.openxmlformats.org/package/2006/relationships"><Relationship Id="rId1" Type="http://schemas.openxmlformats.org/officeDocument/2006/relationships/image" Target="../media/image75.jpeg"/></Relationships>
</file>

<file path=ppt/diagrams/_rels/drawing1.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10.jpeg"/><Relationship Id="rId1" Type="http://schemas.openxmlformats.org/officeDocument/2006/relationships/image" Target="../media/image9.jpeg"/></Relationships>
</file>

<file path=ppt/diagrams/_rels/drawing11.xml.rels><?xml version="1.0" encoding="UTF-8" standalone="yes"?>
<Relationships xmlns="http://schemas.openxmlformats.org/package/2006/relationships"><Relationship Id="rId1" Type="http://schemas.openxmlformats.org/officeDocument/2006/relationships/image" Target="../media/image75.jpe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7.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8.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6801065-E359-4D20-BE3D-272B375560F3}" type="doc">
      <dgm:prSet loTypeId="urn:microsoft.com/office/officeart/2005/8/layout/hList2#1" loCatId="relationship" qsTypeId="urn:microsoft.com/office/officeart/2005/8/quickstyle/simple1" qsCatId="simple" csTypeId="urn:microsoft.com/office/officeart/2005/8/colors/accent1_2" csCatId="accent1" phldr="1"/>
      <dgm:spPr/>
      <dgm:t>
        <a:bodyPr/>
        <a:lstStyle/>
        <a:p>
          <a:endParaRPr lang="en-US"/>
        </a:p>
      </dgm:t>
    </dgm:pt>
    <dgm:pt modelId="{3EFA2F09-E33B-4370-8E7C-D83E1FC9799F}">
      <dgm:prSet phldrT="[Text]" custT="1"/>
      <dgm:spPr>
        <a:solidFill>
          <a:schemeClr val="accent2"/>
        </a:solidFill>
      </dgm:spPr>
      <dgm:t>
        <a:bodyPr vert="vert270"/>
        <a:lstStyle/>
        <a:p>
          <a:r>
            <a:rPr lang="en-US" sz="4800" dirty="0"/>
            <a:t>Economy</a:t>
          </a:r>
        </a:p>
      </dgm:t>
    </dgm:pt>
    <dgm:pt modelId="{774D5B05-F67C-49BC-91E3-0C9B1E3971B1}" type="parTrans" cxnId="{0D76AA80-DF82-45EF-94EC-246954B84B8D}">
      <dgm:prSet/>
      <dgm:spPr/>
      <dgm:t>
        <a:bodyPr/>
        <a:lstStyle/>
        <a:p>
          <a:endParaRPr lang="en-US"/>
        </a:p>
      </dgm:t>
    </dgm:pt>
    <dgm:pt modelId="{0BB84D93-556D-49B6-9DD6-5E62F0F5EA22}" type="sibTrans" cxnId="{0D76AA80-DF82-45EF-94EC-246954B84B8D}">
      <dgm:prSet/>
      <dgm:spPr/>
      <dgm:t>
        <a:bodyPr/>
        <a:lstStyle/>
        <a:p>
          <a:endParaRPr lang="en-US"/>
        </a:p>
      </dgm:t>
    </dgm:pt>
    <dgm:pt modelId="{574313AD-3AAA-476D-A944-4CC7644F3D63}">
      <dgm:prSet phldrT="[Text]" phldr="1"/>
      <dgm:spPr/>
      <dgm:t>
        <a:bodyPr/>
        <a:lstStyle/>
        <a:p>
          <a:endParaRPr lang="en-US" dirty="0"/>
        </a:p>
      </dgm:t>
    </dgm:pt>
    <dgm:pt modelId="{222C5BE2-42E8-4FB6-879F-178DDF6791FB}" type="parTrans" cxnId="{BA278B5A-377A-4690-A9FD-9F2453F20532}">
      <dgm:prSet/>
      <dgm:spPr/>
      <dgm:t>
        <a:bodyPr/>
        <a:lstStyle/>
        <a:p>
          <a:endParaRPr lang="en-US"/>
        </a:p>
      </dgm:t>
    </dgm:pt>
    <dgm:pt modelId="{EA76257D-82E3-4514-95B6-7D2C0F50AB20}" type="sibTrans" cxnId="{BA278B5A-377A-4690-A9FD-9F2453F20532}">
      <dgm:prSet/>
      <dgm:spPr/>
      <dgm:t>
        <a:bodyPr/>
        <a:lstStyle/>
        <a:p>
          <a:endParaRPr lang="en-US"/>
        </a:p>
      </dgm:t>
    </dgm:pt>
    <dgm:pt modelId="{02905120-B854-43B7-AB8A-FDBE0D6AE327}">
      <dgm:prSet phldrT="[Text]" custT="1"/>
      <dgm:spPr>
        <a:solidFill>
          <a:schemeClr val="accent4">
            <a:lumMod val="50000"/>
          </a:schemeClr>
        </a:solidFill>
      </dgm:spPr>
      <dgm:t>
        <a:bodyPr vert="vert270"/>
        <a:lstStyle/>
        <a:p>
          <a:r>
            <a:rPr lang="en-US" sz="4400" dirty="0"/>
            <a:t>Society</a:t>
          </a:r>
        </a:p>
      </dgm:t>
    </dgm:pt>
    <dgm:pt modelId="{B888B6B5-C532-4794-B37D-DD017AA222F7}" type="parTrans" cxnId="{F6E4F81D-4E8C-49FB-AE4C-D3D6FB188F62}">
      <dgm:prSet/>
      <dgm:spPr/>
      <dgm:t>
        <a:bodyPr/>
        <a:lstStyle/>
        <a:p>
          <a:endParaRPr lang="en-US"/>
        </a:p>
      </dgm:t>
    </dgm:pt>
    <dgm:pt modelId="{185E82A7-A160-4D32-A056-613263C41824}" type="sibTrans" cxnId="{F6E4F81D-4E8C-49FB-AE4C-D3D6FB188F62}">
      <dgm:prSet/>
      <dgm:spPr/>
      <dgm:t>
        <a:bodyPr/>
        <a:lstStyle/>
        <a:p>
          <a:endParaRPr lang="en-US"/>
        </a:p>
      </dgm:t>
    </dgm:pt>
    <dgm:pt modelId="{49B37A86-E161-4936-B7BE-17765221AF61}">
      <dgm:prSet phldrT="[Text]" phldr="1"/>
      <dgm:spPr/>
      <dgm:t>
        <a:bodyPr/>
        <a:lstStyle/>
        <a:p>
          <a:endParaRPr lang="en-US"/>
        </a:p>
      </dgm:t>
    </dgm:pt>
    <dgm:pt modelId="{8F8EF450-B4D5-4BA3-A8F0-0A819A013C44}" type="parTrans" cxnId="{BB670617-1B3D-442C-A509-85B32AE53AE6}">
      <dgm:prSet/>
      <dgm:spPr/>
      <dgm:t>
        <a:bodyPr/>
        <a:lstStyle/>
        <a:p>
          <a:endParaRPr lang="en-US"/>
        </a:p>
      </dgm:t>
    </dgm:pt>
    <dgm:pt modelId="{3E1369A3-28EE-4AA7-B8E7-06910685B373}" type="sibTrans" cxnId="{BB670617-1B3D-442C-A509-85B32AE53AE6}">
      <dgm:prSet/>
      <dgm:spPr/>
      <dgm:t>
        <a:bodyPr/>
        <a:lstStyle/>
        <a:p>
          <a:endParaRPr lang="en-US"/>
        </a:p>
      </dgm:t>
    </dgm:pt>
    <dgm:pt modelId="{BCFE323A-D518-4485-9CBB-7D0D1169A3F7}">
      <dgm:prSet phldrT="[Text]" custT="1"/>
      <dgm:spPr>
        <a:solidFill>
          <a:srgbClr val="00B050"/>
        </a:solidFill>
      </dgm:spPr>
      <dgm:t>
        <a:bodyPr vert="vert270"/>
        <a:lstStyle/>
        <a:p>
          <a:r>
            <a:rPr lang="en-US" sz="3200" b="1" dirty="0"/>
            <a:t>Environment</a:t>
          </a:r>
          <a:endParaRPr lang="en-US" sz="2400" b="1" dirty="0"/>
        </a:p>
      </dgm:t>
    </dgm:pt>
    <dgm:pt modelId="{FA6A59D6-6F48-4F40-9E5F-B7447DDC2967}" type="parTrans" cxnId="{53165AA4-D87A-4F9E-87D3-A27959B84707}">
      <dgm:prSet/>
      <dgm:spPr/>
      <dgm:t>
        <a:bodyPr/>
        <a:lstStyle/>
        <a:p>
          <a:endParaRPr lang="en-US"/>
        </a:p>
      </dgm:t>
    </dgm:pt>
    <dgm:pt modelId="{9CE04253-0DD1-4B21-BE45-51D807D68A98}" type="sibTrans" cxnId="{53165AA4-D87A-4F9E-87D3-A27959B84707}">
      <dgm:prSet/>
      <dgm:spPr/>
      <dgm:t>
        <a:bodyPr/>
        <a:lstStyle/>
        <a:p>
          <a:endParaRPr lang="en-US"/>
        </a:p>
      </dgm:t>
    </dgm:pt>
    <dgm:pt modelId="{F882ACF2-0562-4A63-8DC8-BAD906C78335}">
      <dgm:prSet phldrT="[Text]" phldr="1"/>
      <dgm:spPr/>
      <dgm:t>
        <a:bodyPr/>
        <a:lstStyle/>
        <a:p>
          <a:endParaRPr lang="en-US" dirty="0"/>
        </a:p>
      </dgm:t>
    </dgm:pt>
    <dgm:pt modelId="{1174078F-1A8D-49E9-8469-8FEACA3E3EBD}" type="sibTrans" cxnId="{2F82FA61-0596-49C7-AC56-174324E6166B}">
      <dgm:prSet/>
      <dgm:spPr/>
      <dgm:t>
        <a:bodyPr/>
        <a:lstStyle/>
        <a:p>
          <a:endParaRPr lang="en-US"/>
        </a:p>
      </dgm:t>
    </dgm:pt>
    <dgm:pt modelId="{97706CFA-152E-42B6-99D7-BBC2EF168510}" type="parTrans" cxnId="{2F82FA61-0596-49C7-AC56-174324E6166B}">
      <dgm:prSet/>
      <dgm:spPr/>
      <dgm:t>
        <a:bodyPr/>
        <a:lstStyle/>
        <a:p>
          <a:endParaRPr lang="en-US"/>
        </a:p>
      </dgm:t>
    </dgm:pt>
    <dgm:pt modelId="{5E8CF0C1-AB1A-4808-93F1-469B86DCD1D8}" type="pres">
      <dgm:prSet presAssocID="{A6801065-E359-4D20-BE3D-272B375560F3}" presName="linearFlow" presStyleCnt="0">
        <dgm:presLayoutVars>
          <dgm:dir/>
          <dgm:animLvl val="lvl"/>
          <dgm:resizeHandles/>
        </dgm:presLayoutVars>
      </dgm:prSet>
      <dgm:spPr/>
    </dgm:pt>
    <dgm:pt modelId="{6B092B80-A01C-4149-9D8A-9ADB3E477185}" type="pres">
      <dgm:prSet presAssocID="{F882ACF2-0562-4A63-8DC8-BAD906C78335}" presName="compositeNode" presStyleCnt="0">
        <dgm:presLayoutVars>
          <dgm:bulletEnabled val="1"/>
        </dgm:presLayoutVars>
      </dgm:prSet>
      <dgm:spPr/>
    </dgm:pt>
    <dgm:pt modelId="{EAB3D784-BF04-470B-AB0A-3DE2B2167B59}" type="pres">
      <dgm:prSet presAssocID="{F882ACF2-0562-4A63-8DC8-BAD906C78335}" presName="image" presStyleLbl="fgImgPlace1" presStyleIdx="0" presStyleCnt="3" custScaleX="145924" custScaleY="166214" custLinFactNeighborX="77793" custLinFactNeighborY="3016"/>
      <dgm:spPr>
        <a:blipFill rotWithShape="0">
          <a:blip xmlns:r="http://schemas.openxmlformats.org/officeDocument/2006/relationships" r:embed="rId1"/>
          <a:stretch>
            <a:fillRect/>
          </a:stretch>
        </a:blipFill>
      </dgm:spPr>
    </dgm:pt>
    <dgm:pt modelId="{6C852F19-F73C-4B32-83B6-BDF40362A537}" type="pres">
      <dgm:prSet presAssocID="{F882ACF2-0562-4A63-8DC8-BAD906C78335}" presName="childNode" presStyleLbl="node1" presStyleIdx="0" presStyleCnt="3" custLinFactNeighborX="14782" custLinFactNeighborY="-35">
        <dgm:presLayoutVars>
          <dgm:bulletEnabled val="1"/>
        </dgm:presLayoutVars>
      </dgm:prSet>
      <dgm:spPr/>
    </dgm:pt>
    <dgm:pt modelId="{0F260C7A-102A-4DC6-A668-8B5345BCB0D5}" type="pres">
      <dgm:prSet presAssocID="{F882ACF2-0562-4A63-8DC8-BAD906C78335}" presName="parentNode" presStyleLbl="revTx" presStyleIdx="0" presStyleCnt="3">
        <dgm:presLayoutVars>
          <dgm:chMax val="0"/>
          <dgm:bulletEnabled val="1"/>
        </dgm:presLayoutVars>
      </dgm:prSet>
      <dgm:spPr/>
    </dgm:pt>
    <dgm:pt modelId="{84A3B3D4-5B35-431A-8D24-27CF99CEE927}" type="pres">
      <dgm:prSet presAssocID="{1174078F-1A8D-49E9-8469-8FEACA3E3EBD}" presName="sibTrans" presStyleCnt="0"/>
      <dgm:spPr/>
    </dgm:pt>
    <dgm:pt modelId="{514C1484-25EE-4626-8139-EBBD0BA241AA}" type="pres">
      <dgm:prSet presAssocID="{574313AD-3AAA-476D-A944-4CC7644F3D63}" presName="compositeNode" presStyleCnt="0">
        <dgm:presLayoutVars>
          <dgm:bulletEnabled val="1"/>
        </dgm:presLayoutVars>
      </dgm:prSet>
      <dgm:spPr/>
    </dgm:pt>
    <dgm:pt modelId="{03CA6F03-28F1-4B2B-A365-81AE934CEAC8}" type="pres">
      <dgm:prSet presAssocID="{574313AD-3AAA-476D-A944-4CC7644F3D63}" presName="image" presStyleLbl="fgImgPlace1" presStyleIdx="1" presStyleCnt="3" custScaleX="153055" custScaleY="155445"/>
      <dgm:spPr>
        <a:blipFill rotWithShape="0">
          <a:blip xmlns:r="http://schemas.openxmlformats.org/officeDocument/2006/relationships" r:embed="rId2"/>
          <a:stretch>
            <a:fillRect/>
          </a:stretch>
        </a:blipFill>
      </dgm:spPr>
    </dgm:pt>
    <dgm:pt modelId="{66B81CDB-BA0D-47A7-BBC0-1BF77C336A95}" type="pres">
      <dgm:prSet presAssocID="{574313AD-3AAA-476D-A944-4CC7644F3D63}" presName="childNode" presStyleLbl="node1" presStyleIdx="1" presStyleCnt="3">
        <dgm:presLayoutVars>
          <dgm:bulletEnabled val="1"/>
        </dgm:presLayoutVars>
      </dgm:prSet>
      <dgm:spPr/>
    </dgm:pt>
    <dgm:pt modelId="{F14BF7C4-787F-4552-B778-01F250BE4463}" type="pres">
      <dgm:prSet presAssocID="{574313AD-3AAA-476D-A944-4CC7644F3D63}" presName="parentNode" presStyleLbl="revTx" presStyleIdx="1" presStyleCnt="3">
        <dgm:presLayoutVars>
          <dgm:chMax val="0"/>
          <dgm:bulletEnabled val="1"/>
        </dgm:presLayoutVars>
      </dgm:prSet>
      <dgm:spPr/>
    </dgm:pt>
    <dgm:pt modelId="{B41B5297-356C-44E0-8EFA-553DD3890AA0}" type="pres">
      <dgm:prSet presAssocID="{EA76257D-82E3-4514-95B6-7D2C0F50AB20}" presName="sibTrans" presStyleCnt="0"/>
      <dgm:spPr/>
    </dgm:pt>
    <dgm:pt modelId="{AA34D871-1146-410D-AFDD-969F98CCABC1}" type="pres">
      <dgm:prSet presAssocID="{49B37A86-E161-4936-B7BE-17765221AF61}" presName="compositeNode" presStyleCnt="0">
        <dgm:presLayoutVars>
          <dgm:bulletEnabled val="1"/>
        </dgm:presLayoutVars>
      </dgm:prSet>
      <dgm:spPr/>
    </dgm:pt>
    <dgm:pt modelId="{FDE09670-0426-4155-A6D3-D65136C1786B}" type="pres">
      <dgm:prSet presAssocID="{49B37A86-E161-4936-B7BE-17765221AF61}" presName="image" presStyleLbl="fgImgPlace1" presStyleIdx="2" presStyleCnt="3" custScaleX="159110" custScaleY="157431"/>
      <dgm:spPr>
        <a:blipFill rotWithShape="0">
          <a:blip xmlns:r="http://schemas.openxmlformats.org/officeDocument/2006/relationships" r:embed="rId3"/>
          <a:stretch>
            <a:fillRect/>
          </a:stretch>
        </a:blipFill>
      </dgm:spPr>
    </dgm:pt>
    <dgm:pt modelId="{B8025FCF-A365-4DE4-B723-F941D570B5DF}" type="pres">
      <dgm:prSet presAssocID="{49B37A86-E161-4936-B7BE-17765221AF61}" presName="childNode" presStyleLbl="node1" presStyleIdx="2" presStyleCnt="3">
        <dgm:presLayoutVars>
          <dgm:bulletEnabled val="1"/>
        </dgm:presLayoutVars>
      </dgm:prSet>
      <dgm:spPr/>
    </dgm:pt>
    <dgm:pt modelId="{CD4D5698-6A4A-4515-9085-290A0BFFE91A}" type="pres">
      <dgm:prSet presAssocID="{49B37A86-E161-4936-B7BE-17765221AF61}" presName="parentNode" presStyleLbl="revTx" presStyleIdx="2" presStyleCnt="3">
        <dgm:presLayoutVars>
          <dgm:chMax val="0"/>
          <dgm:bulletEnabled val="1"/>
        </dgm:presLayoutVars>
      </dgm:prSet>
      <dgm:spPr/>
    </dgm:pt>
  </dgm:ptLst>
  <dgm:cxnLst>
    <dgm:cxn modelId="{28599706-CF83-424A-9DB1-901BBD79A68B}" type="presOf" srcId="{BCFE323A-D518-4485-9CBB-7D0D1169A3F7}" destId="{B8025FCF-A365-4DE4-B723-F941D570B5DF}" srcOrd="0" destOrd="0" presId="urn:microsoft.com/office/officeart/2005/8/layout/hList2#1"/>
    <dgm:cxn modelId="{19D43C0E-A149-46D1-9BD8-77D8CF14BCA1}" type="presOf" srcId="{3EFA2F09-E33B-4370-8E7C-D83E1FC9799F}" destId="{6C852F19-F73C-4B32-83B6-BDF40362A537}" srcOrd="0" destOrd="0" presId="urn:microsoft.com/office/officeart/2005/8/layout/hList2#1"/>
    <dgm:cxn modelId="{BB670617-1B3D-442C-A509-85B32AE53AE6}" srcId="{A6801065-E359-4D20-BE3D-272B375560F3}" destId="{49B37A86-E161-4936-B7BE-17765221AF61}" srcOrd="2" destOrd="0" parTransId="{8F8EF450-B4D5-4BA3-A8F0-0A819A013C44}" sibTransId="{3E1369A3-28EE-4AA7-B8E7-06910685B373}"/>
    <dgm:cxn modelId="{F6E4F81D-4E8C-49FB-AE4C-D3D6FB188F62}" srcId="{574313AD-3AAA-476D-A944-4CC7644F3D63}" destId="{02905120-B854-43B7-AB8A-FDBE0D6AE327}" srcOrd="0" destOrd="0" parTransId="{B888B6B5-C532-4794-B37D-DD017AA222F7}" sibTransId="{185E82A7-A160-4D32-A056-613263C41824}"/>
    <dgm:cxn modelId="{4556E93F-3C17-4394-8948-98078D9C71E7}" type="presOf" srcId="{574313AD-3AAA-476D-A944-4CC7644F3D63}" destId="{F14BF7C4-787F-4552-B778-01F250BE4463}" srcOrd="0" destOrd="0" presId="urn:microsoft.com/office/officeart/2005/8/layout/hList2#1"/>
    <dgm:cxn modelId="{2F82FA61-0596-49C7-AC56-174324E6166B}" srcId="{A6801065-E359-4D20-BE3D-272B375560F3}" destId="{F882ACF2-0562-4A63-8DC8-BAD906C78335}" srcOrd="0" destOrd="0" parTransId="{97706CFA-152E-42B6-99D7-BBC2EF168510}" sibTransId="{1174078F-1A8D-49E9-8469-8FEACA3E3EBD}"/>
    <dgm:cxn modelId="{BA278B5A-377A-4690-A9FD-9F2453F20532}" srcId="{A6801065-E359-4D20-BE3D-272B375560F3}" destId="{574313AD-3AAA-476D-A944-4CC7644F3D63}" srcOrd="1" destOrd="0" parTransId="{222C5BE2-42E8-4FB6-879F-178DDF6791FB}" sibTransId="{EA76257D-82E3-4514-95B6-7D2C0F50AB20}"/>
    <dgm:cxn modelId="{0D76AA80-DF82-45EF-94EC-246954B84B8D}" srcId="{F882ACF2-0562-4A63-8DC8-BAD906C78335}" destId="{3EFA2F09-E33B-4370-8E7C-D83E1FC9799F}" srcOrd="0" destOrd="0" parTransId="{774D5B05-F67C-49BC-91E3-0C9B1E3971B1}" sibTransId="{0BB84D93-556D-49B6-9DD6-5E62F0F5EA22}"/>
    <dgm:cxn modelId="{3A55FD9C-20C9-4EED-93CD-C8F46F2D577C}" type="presOf" srcId="{A6801065-E359-4D20-BE3D-272B375560F3}" destId="{5E8CF0C1-AB1A-4808-93F1-469B86DCD1D8}" srcOrd="0" destOrd="0" presId="urn:microsoft.com/office/officeart/2005/8/layout/hList2#1"/>
    <dgm:cxn modelId="{53165AA4-D87A-4F9E-87D3-A27959B84707}" srcId="{49B37A86-E161-4936-B7BE-17765221AF61}" destId="{BCFE323A-D518-4485-9CBB-7D0D1169A3F7}" srcOrd="0" destOrd="0" parTransId="{FA6A59D6-6F48-4F40-9E5F-B7447DDC2967}" sibTransId="{9CE04253-0DD1-4B21-BE45-51D807D68A98}"/>
    <dgm:cxn modelId="{F60830BC-C81A-42D9-B5DF-15978405DA55}" type="presOf" srcId="{49B37A86-E161-4936-B7BE-17765221AF61}" destId="{CD4D5698-6A4A-4515-9085-290A0BFFE91A}" srcOrd="0" destOrd="0" presId="urn:microsoft.com/office/officeart/2005/8/layout/hList2#1"/>
    <dgm:cxn modelId="{F3FD82C8-BA8B-45E9-9AFE-BF3128E5C331}" type="presOf" srcId="{02905120-B854-43B7-AB8A-FDBE0D6AE327}" destId="{66B81CDB-BA0D-47A7-BBC0-1BF77C336A95}" srcOrd="0" destOrd="0" presId="urn:microsoft.com/office/officeart/2005/8/layout/hList2#1"/>
    <dgm:cxn modelId="{7A60C3DB-BA11-4045-8B2B-D234772D4746}" type="presOf" srcId="{F882ACF2-0562-4A63-8DC8-BAD906C78335}" destId="{0F260C7A-102A-4DC6-A668-8B5345BCB0D5}" srcOrd="0" destOrd="0" presId="urn:microsoft.com/office/officeart/2005/8/layout/hList2#1"/>
    <dgm:cxn modelId="{90AFCCB0-E90A-4302-A04D-1D7047C96C62}" type="presParOf" srcId="{5E8CF0C1-AB1A-4808-93F1-469B86DCD1D8}" destId="{6B092B80-A01C-4149-9D8A-9ADB3E477185}" srcOrd="0" destOrd="0" presId="urn:microsoft.com/office/officeart/2005/8/layout/hList2#1"/>
    <dgm:cxn modelId="{77E519CF-B4BD-4FB5-ADFF-13901C9F5D2B}" type="presParOf" srcId="{6B092B80-A01C-4149-9D8A-9ADB3E477185}" destId="{EAB3D784-BF04-470B-AB0A-3DE2B2167B59}" srcOrd="0" destOrd="0" presId="urn:microsoft.com/office/officeart/2005/8/layout/hList2#1"/>
    <dgm:cxn modelId="{307677EF-19C4-47F0-89AA-70BD9ACF912B}" type="presParOf" srcId="{6B092B80-A01C-4149-9D8A-9ADB3E477185}" destId="{6C852F19-F73C-4B32-83B6-BDF40362A537}" srcOrd="1" destOrd="0" presId="urn:microsoft.com/office/officeart/2005/8/layout/hList2#1"/>
    <dgm:cxn modelId="{0D915BF5-7A89-4BAE-9618-7B1B62B0CEE3}" type="presParOf" srcId="{6B092B80-A01C-4149-9D8A-9ADB3E477185}" destId="{0F260C7A-102A-4DC6-A668-8B5345BCB0D5}" srcOrd="2" destOrd="0" presId="urn:microsoft.com/office/officeart/2005/8/layout/hList2#1"/>
    <dgm:cxn modelId="{C8BEDA58-6000-43C2-BFC9-5B2ED753C488}" type="presParOf" srcId="{5E8CF0C1-AB1A-4808-93F1-469B86DCD1D8}" destId="{84A3B3D4-5B35-431A-8D24-27CF99CEE927}" srcOrd="1" destOrd="0" presId="urn:microsoft.com/office/officeart/2005/8/layout/hList2#1"/>
    <dgm:cxn modelId="{7AE4168B-8310-44CE-B65B-E401B964030F}" type="presParOf" srcId="{5E8CF0C1-AB1A-4808-93F1-469B86DCD1D8}" destId="{514C1484-25EE-4626-8139-EBBD0BA241AA}" srcOrd="2" destOrd="0" presId="urn:microsoft.com/office/officeart/2005/8/layout/hList2#1"/>
    <dgm:cxn modelId="{73F8E7FD-5C5E-4067-85EA-301CA954C4C2}" type="presParOf" srcId="{514C1484-25EE-4626-8139-EBBD0BA241AA}" destId="{03CA6F03-28F1-4B2B-A365-81AE934CEAC8}" srcOrd="0" destOrd="0" presId="urn:microsoft.com/office/officeart/2005/8/layout/hList2#1"/>
    <dgm:cxn modelId="{103FD9CD-D5E4-4AA5-A38A-F9B8F7034C4F}" type="presParOf" srcId="{514C1484-25EE-4626-8139-EBBD0BA241AA}" destId="{66B81CDB-BA0D-47A7-BBC0-1BF77C336A95}" srcOrd="1" destOrd="0" presId="urn:microsoft.com/office/officeart/2005/8/layout/hList2#1"/>
    <dgm:cxn modelId="{6E110724-2A3C-4F20-9B6B-FE1141394471}" type="presParOf" srcId="{514C1484-25EE-4626-8139-EBBD0BA241AA}" destId="{F14BF7C4-787F-4552-B778-01F250BE4463}" srcOrd="2" destOrd="0" presId="urn:microsoft.com/office/officeart/2005/8/layout/hList2#1"/>
    <dgm:cxn modelId="{9251A184-F3A8-4FB1-BC3A-D5A27D9623B4}" type="presParOf" srcId="{5E8CF0C1-AB1A-4808-93F1-469B86DCD1D8}" destId="{B41B5297-356C-44E0-8EFA-553DD3890AA0}" srcOrd="3" destOrd="0" presId="urn:microsoft.com/office/officeart/2005/8/layout/hList2#1"/>
    <dgm:cxn modelId="{73AD4DA6-F11D-477E-A288-3C0B1D2DB74C}" type="presParOf" srcId="{5E8CF0C1-AB1A-4808-93F1-469B86DCD1D8}" destId="{AA34D871-1146-410D-AFDD-969F98CCABC1}" srcOrd="4" destOrd="0" presId="urn:microsoft.com/office/officeart/2005/8/layout/hList2#1"/>
    <dgm:cxn modelId="{4683C4E8-33DF-4675-8167-4F0581B1FC3D}" type="presParOf" srcId="{AA34D871-1146-410D-AFDD-969F98CCABC1}" destId="{FDE09670-0426-4155-A6D3-D65136C1786B}" srcOrd="0" destOrd="0" presId="urn:microsoft.com/office/officeart/2005/8/layout/hList2#1"/>
    <dgm:cxn modelId="{5E55AE85-113E-4C77-8E0A-78E11259952E}" type="presParOf" srcId="{AA34D871-1146-410D-AFDD-969F98CCABC1}" destId="{B8025FCF-A365-4DE4-B723-F941D570B5DF}" srcOrd="1" destOrd="0" presId="urn:microsoft.com/office/officeart/2005/8/layout/hList2#1"/>
    <dgm:cxn modelId="{D5B21B5F-FEFD-4FA7-BE5C-C6E180561AD0}" type="presParOf" srcId="{AA34D871-1146-410D-AFDD-969F98CCABC1}" destId="{CD4D5698-6A4A-4515-9085-290A0BFFE91A}" srcOrd="2" destOrd="0" presId="urn:microsoft.com/office/officeart/2005/8/layout/hList2#1"/>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B411B391-7DFA-4FF7-B577-CDCC41B2CCF2}" type="doc">
      <dgm:prSet loTypeId="urn:microsoft.com/office/officeart/2005/8/layout/gear1" loCatId="process" qsTypeId="urn:microsoft.com/office/officeart/2005/8/quickstyle/simple1" qsCatId="simple" csTypeId="urn:microsoft.com/office/officeart/2005/8/colors/accent1_2" csCatId="accent1" phldr="1"/>
      <dgm:spPr/>
    </dgm:pt>
    <dgm:pt modelId="{CA6E6C5D-8ACA-4922-8112-B3BE2A3017F2}">
      <dgm:prSet phldrT="[Text]"/>
      <dgm:spPr>
        <a:solidFill>
          <a:srgbClr val="7030A0"/>
        </a:solidFill>
      </dgm:spPr>
      <dgm:t>
        <a:bodyPr/>
        <a:lstStyle/>
        <a:p>
          <a:r>
            <a:rPr lang="en-US" dirty="0"/>
            <a:t>Whistleblower - Incentivized</a:t>
          </a:r>
        </a:p>
      </dgm:t>
    </dgm:pt>
    <dgm:pt modelId="{01491267-B43C-4BD6-9B7D-276FDB679F69}" type="parTrans" cxnId="{720C5B24-0D8C-47F1-9934-4DE1F36AAC1C}">
      <dgm:prSet/>
      <dgm:spPr/>
      <dgm:t>
        <a:bodyPr/>
        <a:lstStyle/>
        <a:p>
          <a:endParaRPr lang="en-US"/>
        </a:p>
      </dgm:t>
    </dgm:pt>
    <dgm:pt modelId="{5D8022F9-0C8E-4B3D-91EF-383C687CCF8E}" type="sibTrans" cxnId="{720C5B24-0D8C-47F1-9934-4DE1F36AAC1C}">
      <dgm:prSet/>
      <dgm:spPr/>
      <dgm:t>
        <a:bodyPr/>
        <a:lstStyle/>
        <a:p>
          <a:endParaRPr lang="en-US"/>
        </a:p>
      </dgm:t>
    </dgm:pt>
    <dgm:pt modelId="{394C7D40-719C-4330-8CE6-82000B6933A3}">
      <dgm:prSet phldrT="[Text]"/>
      <dgm:spPr>
        <a:solidFill>
          <a:srgbClr val="C00000"/>
        </a:solidFill>
      </dgm:spPr>
      <dgm:t>
        <a:bodyPr/>
        <a:lstStyle/>
        <a:p>
          <a:r>
            <a:rPr lang="en-US" dirty="0"/>
            <a:t>Low Knowledge</a:t>
          </a:r>
        </a:p>
      </dgm:t>
    </dgm:pt>
    <dgm:pt modelId="{9FBC5A6F-4D92-4BBF-9CF9-0A03F3E5050A}" type="parTrans" cxnId="{BC1EBEE9-EB64-4F31-9B7E-E5418F8A86F0}">
      <dgm:prSet/>
      <dgm:spPr/>
      <dgm:t>
        <a:bodyPr/>
        <a:lstStyle/>
        <a:p>
          <a:endParaRPr lang="en-US"/>
        </a:p>
      </dgm:t>
    </dgm:pt>
    <dgm:pt modelId="{547D5162-B24F-4DBD-B527-1EC2A1AAD6C0}" type="sibTrans" cxnId="{BC1EBEE9-EB64-4F31-9B7E-E5418F8A86F0}">
      <dgm:prSet/>
      <dgm:spPr/>
      <dgm:t>
        <a:bodyPr/>
        <a:lstStyle/>
        <a:p>
          <a:endParaRPr lang="en-US"/>
        </a:p>
      </dgm:t>
    </dgm:pt>
    <dgm:pt modelId="{57FFBA27-E8D7-4E27-A9C2-9728590441DC}">
      <dgm:prSet phldrT="[Text]"/>
      <dgm:spPr>
        <a:solidFill>
          <a:srgbClr val="002060"/>
        </a:solidFill>
      </dgm:spPr>
      <dgm:t>
        <a:bodyPr/>
        <a:lstStyle/>
        <a:p>
          <a:r>
            <a:rPr lang="en-US" dirty="0"/>
            <a:t>Steep Penalties</a:t>
          </a:r>
        </a:p>
      </dgm:t>
    </dgm:pt>
    <dgm:pt modelId="{979FC112-6C6C-47AB-A240-352EB62A9BD8}" type="parTrans" cxnId="{F3E04A8F-66A0-4916-8D2A-CB72A3D82ADB}">
      <dgm:prSet/>
      <dgm:spPr/>
      <dgm:t>
        <a:bodyPr/>
        <a:lstStyle/>
        <a:p>
          <a:endParaRPr lang="en-US"/>
        </a:p>
      </dgm:t>
    </dgm:pt>
    <dgm:pt modelId="{1791C8E4-6A09-4FDA-8217-AAD5AAD974FE}" type="sibTrans" cxnId="{F3E04A8F-66A0-4916-8D2A-CB72A3D82ADB}">
      <dgm:prSet/>
      <dgm:spPr/>
      <dgm:t>
        <a:bodyPr/>
        <a:lstStyle/>
        <a:p>
          <a:endParaRPr lang="en-US"/>
        </a:p>
      </dgm:t>
    </dgm:pt>
    <dgm:pt modelId="{9B94EF8A-00F2-480D-839E-C3C859A03026}" type="pres">
      <dgm:prSet presAssocID="{B411B391-7DFA-4FF7-B577-CDCC41B2CCF2}" presName="composite" presStyleCnt="0">
        <dgm:presLayoutVars>
          <dgm:chMax val="3"/>
          <dgm:animLvl val="lvl"/>
          <dgm:resizeHandles val="exact"/>
        </dgm:presLayoutVars>
      </dgm:prSet>
      <dgm:spPr/>
    </dgm:pt>
    <dgm:pt modelId="{CA33D52D-874E-474F-8188-D5BC6DD0C9F7}" type="pres">
      <dgm:prSet presAssocID="{CA6E6C5D-8ACA-4922-8112-B3BE2A3017F2}" presName="gear1" presStyleLbl="node1" presStyleIdx="0" presStyleCnt="3">
        <dgm:presLayoutVars>
          <dgm:chMax val="1"/>
          <dgm:bulletEnabled val="1"/>
        </dgm:presLayoutVars>
      </dgm:prSet>
      <dgm:spPr/>
    </dgm:pt>
    <dgm:pt modelId="{D1B930C7-9278-4F16-887F-CAE8822BBB34}" type="pres">
      <dgm:prSet presAssocID="{CA6E6C5D-8ACA-4922-8112-B3BE2A3017F2}" presName="gear1srcNode" presStyleLbl="node1" presStyleIdx="0" presStyleCnt="3"/>
      <dgm:spPr/>
    </dgm:pt>
    <dgm:pt modelId="{722DE68B-39FD-4ADC-A096-27594113FB30}" type="pres">
      <dgm:prSet presAssocID="{CA6E6C5D-8ACA-4922-8112-B3BE2A3017F2}" presName="gear1dstNode" presStyleLbl="node1" presStyleIdx="0" presStyleCnt="3"/>
      <dgm:spPr/>
    </dgm:pt>
    <dgm:pt modelId="{C02D147B-7E92-4313-BA6C-2AF665A8D5A1}" type="pres">
      <dgm:prSet presAssocID="{394C7D40-719C-4330-8CE6-82000B6933A3}" presName="gear2" presStyleLbl="node1" presStyleIdx="1" presStyleCnt="3">
        <dgm:presLayoutVars>
          <dgm:chMax val="1"/>
          <dgm:bulletEnabled val="1"/>
        </dgm:presLayoutVars>
      </dgm:prSet>
      <dgm:spPr/>
    </dgm:pt>
    <dgm:pt modelId="{1BBC4A11-FF56-407C-A866-310A9E6A5CB4}" type="pres">
      <dgm:prSet presAssocID="{394C7D40-719C-4330-8CE6-82000B6933A3}" presName="gear2srcNode" presStyleLbl="node1" presStyleIdx="1" presStyleCnt="3"/>
      <dgm:spPr/>
    </dgm:pt>
    <dgm:pt modelId="{E5F78DA3-F2B4-42C9-B8EA-E9D43759A36F}" type="pres">
      <dgm:prSet presAssocID="{394C7D40-719C-4330-8CE6-82000B6933A3}" presName="gear2dstNode" presStyleLbl="node1" presStyleIdx="1" presStyleCnt="3"/>
      <dgm:spPr/>
    </dgm:pt>
    <dgm:pt modelId="{C998FB37-FBFA-4663-95A6-EF9AACB06D28}" type="pres">
      <dgm:prSet presAssocID="{57FFBA27-E8D7-4E27-A9C2-9728590441DC}" presName="gear3" presStyleLbl="node1" presStyleIdx="2" presStyleCnt="3"/>
      <dgm:spPr/>
    </dgm:pt>
    <dgm:pt modelId="{BC3FB0DC-52DC-42D7-AB97-E27C2A0C118B}" type="pres">
      <dgm:prSet presAssocID="{57FFBA27-E8D7-4E27-A9C2-9728590441DC}" presName="gear3tx" presStyleLbl="node1" presStyleIdx="2" presStyleCnt="3">
        <dgm:presLayoutVars>
          <dgm:chMax val="1"/>
          <dgm:bulletEnabled val="1"/>
        </dgm:presLayoutVars>
      </dgm:prSet>
      <dgm:spPr/>
    </dgm:pt>
    <dgm:pt modelId="{99EA57E4-5227-487A-847A-5A064E57556F}" type="pres">
      <dgm:prSet presAssocID="{57FFBA27-E8D7-4E27-A9C2-9728590441DC}" presName="gear3srcNode" presStyleLbl="node1" presStyleIdx="2" presStyleCnt="3"/>
      <dgm:spPr/>
    </dgm:pt>
    <dgm:pt modelId="{A719E4BE-9ED9-4B7D-AFC1-9B4CBFD9AF52}" type="pres">
      <dgm:prSet presAssocID="{57FFBA27-E8D7-4E27-A9C2-9728590441DC}" presName="gear3dstNode" presStyleLbl="node1" presStyleIdx="2" presStyleCnt="3"/>
      <dgm:spPr/>
    </dgm:pt>
    <dgm:pt modelId="{BB454440-78EE-497B-A56B-8E277199904F}" type="pres">
      <dgm:prSet presAssocID="{5D8022F9-0C8E-4B3D-91EF-383C687CCF8E}" presName="connector1" presStyleLbl="sibTrans2D1" presStyleIdx="0" presStyleCnt="3"/>
      <dgm:spPr/>
    </dgm:pt>
    <dgm:pt modelId="{B1606230-FF1E-43BA-8B6F-75252B8BB0A7}" type="pres">
      <dgm:prSet presAssocID="{547D5162-B24F-4DBD-B527-1EC2A1AAD6C0}" presName="connector2" presStyleLbl="sibTrans2D1" presStyleIdx="1" presStyleCnt="3"/>
      <dgm:spPr/>
    </dgm:pt>
    <dgm:pt modelId="{9785098C-FD85-4CF3-8233-14FAD1791B75}" type="pres">
      <dgm:prSet presAssocID="{1791C8E4-6A09-4FDA-8217-AAD5AAD974FE}" presName="connector3" presStyleLbl="sibTrans2D1" presStyleIdx="2" presStyleCnt="3"/>
      <dgm:spPr/>
    </dgm:pt>
  </dgm:ptLst>
  <dgm:cxnLst>
    <dgm:cxn modelId="{BA94B00B-B0F7-457C-B214-33FBC087B9ED}" type="presOf" srcId="{CA6E6C5D-8ACA-4922-8112-B3BE2A3017F2}" destId="{D1B930C7-9278-4F16-887F-CAE8822BBB34}" srcOrd="1" destOrd="0" presId="urn:microsoft.com/office/officeart/2005/8/layout/gear1"/>
    <dgm:cxn modelId="{720C5B24-0D8C-47F1-9934-4DE1F36AAC1C}" srcId="{B411B391-7DFA-4FF7-B577-CDCC41B2CCF2}" destId="{CA6E6C5D-8ACA-4922-8112-B3BE2A3017F2}" srcOrd="0" destOrd="0" parTransId="{01491267-B43C-4BD6-9B7D-276FDB679F69}" sibTransId="{5D8022F9-0C8E-4B3D-91EF-383C687CCF8E}"/>
    <dgm:cxn modelId="{A694C631-B725-4D55-9D7A-2DCEEC1AB715}" type="presOf" srcId="{57FFBA27-E8D7-4E27-A9C2-9728590441DC}" destId="{99EA57E4-5227-487A-847A-5A064E57556F}" srcOrd="2" destOrd="0" presId="urn:microsoft.com/office/officeart/2005/8/layout/gear1"/>
    <dgm:cxn modelId="{AFA02E32-54B1-4DE8-9038-609EC07FEE9F}" type="presOf" srcId="{1791C8E4-6A09-4FDA-8217-AAD5AAD974FE}" destId="{9785098C-FD85-4CF3-8233-14FAD1791B75}" srcOrd="0" destOrd="0" presId="urn:microsoft.com/office/officeart/2005/8/layout/gear1"/>
    <dgm:cxn modelId="{2936266D-E0CE-45B0-B54B-00B4820ED4B4}" type="presOf" srcId="{394C7D40-719C-4330-8CE6-82000B6933A3}" destId="{E5F78DA3-F2B4-42C9-B8EA-E9D43759A36F}" srcOrd="2" destOrd="0" presId="urn:microsoft.com/office/officeart/2005/8/layout/gear1"/>
    <dgm:cxn modelId="{08BE744D-4DE1-4FB8-924C-9B7846A145DE}" type="presOf" srcId="{5D8022F9-0C8E-4B3D-91EF-383C687CCF8E}" destId="{BB454440-78EE-497B-A56B-8E277199904F}" srcOrd="0" destOrd="0" presId="urn:microsoft.com/office/officeart/2005/8/layout/gear1"/>
    <dgm:cxn modelId="{026CD855-D393-40E9-93E2-4D99F3420C14}" type="presOf" srcId="{57FFBA27-E8D7-4E27-A9C2-9728590441DC}" destId="{BC3FB0DC-52DC-42D7-AB97-E27C2A0C118B}" srcOrd="1" destOrd="0" presId="urn:microsoft.com/office/officeart/2005/8/layout/gear1"/>
    <dgm:cxn modelId="{F08C9979-4029-44ED-AF1B-52CF851BF093}" type="presOf" srcId="{57FFBA27-E8D7-4E27-A9C2-9728590441DC}" destId="{C998FB37-FBFA-4663-95A6-EF9AACB06D28}" srcOrd="0" destOrd="0" presId="urn:microsoft.com/office/officeart/2005/8/layout/gear1"/>
    <dgm:cxn modelId="{9CE2687A-78F5-4BB6-84A4-7C851CC2E012}" type="presOf" srcId="{57FFBA27-E8D7-4E27-A9C2-9728590441DC}" destId="{A719E4BE-9ED9-4B7D-AFC1-9B4CBFD9AF52}" srcOrd="3" destOrd="0" presId="urn:microsoft.com/office/officeart/2005/8/layout/gear1"/>
    <dgm:cxn modelId="{F3E04A8F-66A0-4916-8D2A-CB72A3D82ADB}" srcId="{B411B391-7DFA-4FF7-B577-CDCC41B2CCF2}" destId="{57FFBA27-E8D7-4E27-A9C2-9728590441DC}" srcOrd="2" destOrd="0" parTransId="{979FC112-6C6C-47AB-A240-352EB62A9BD8}" sibTransId="{1791C8E4-6A09-4FDA-8217-AAD5AAD974FE}"/>
    <dgm:cxn modelId="{BB2C82BA-D139-45A0-8718-E88A4BD04C78}" type="presOf" srcId="{CA6E6C5D-8ACA-4922-8112-B3BE2A3017F2}" destId="{CA33D52D-874E-474F-8188-D5BC6DD0C9F7}" srcOrd="0" destOrd="0" presId="urn:microsoft.com/office/officeart/2005/8/layout/gear1"/>
    <dgm:cxn modelId="{EA24BDC7-E165-42F4-90EE-513DE1AAFE33}" type="presOf" srcId="{547D5162-B24F-4DBD-B527-1EC2A1AAD6C0}" destId="{B1606230-FF1E-43BA-8B6F-75252B8BB0A7}" srcOrd="0" destOrd="0" presId="urn:microsoft.com/office/officeart/2005/8/layout/gear1"/>
    <dgm:cxn modelId="{25D456DA-D08D-46B0-A604-6FF77B4949DD}" type="presOf" srcId="{CA6E6C5D-8ACA-4922-8112-B3BE2A3017F2}" destId="{722DE68B-39FD-4ADC-A096-27594113FB30}" srcOrd="2" destOrd="0" presId="urn:microsoft.com/office/officeart/2005/8/layout/gear1"/>
    <dgm:cxn modelId="{43AF7DE6-12C5-4B36-9457-3C14411A51C4}" type="presOf" srcId="{B411B391-7DFA-4FF7-B577-CDCC41B2CCF2}" destId="{9B94EF8A-00F2-480D-839E-C3C859A03026}" srcOrd="0" destOrd="0" presId="urn:microsoft.com/office/officeart/2005/8/layout/gear1"/>
    <dgm:cxn modelId="{BC1EBEE9-EB64-4F31-9B7E-E5418F8A86F0}" srcId="{B411B391-7DFA-4FF7-B577-CDCC41B2CCF2}" destId="{394C7D40-719C-4330-8CE6-82000B6933A3}" srcOrd="1" destOrd="0" parTransId="{9FBC5A6F-4D92-4BBF-9CF9-0A03F3E5050A}" sibTransId="{547D5162-B24F-4DBD-B527-1EC2A1AAD6C0}"/>
    <dgm:cxn modelId="{C46228EE-0DCB-42E1-9D98-D16AF71ED5D8}" type="presOf" srcId="{394C7D40-719C-4330-8CE6-82000B6933A3}" destId="{1BBC4A11-FF56-407C-A866-310A9E6A5CB4}" srcOrd="1" destOrd="0" presId="urn:microsoft.com/office/officeart/2005/8/layout/gear1"/>
    <dgm:cxn modelId="{2E32CBEE-1648-4630-A420-1B2561063E69}" type="presOf" srcId="{394C7D40-719C-4330-8CE6-82000B6933A3}" destId="{C02D147B-7E92-4313-BA6C-2AF665A8D5A1}" srcOrd="0" destOrd="0" presId="urn:microsoft.com/office/officeart/2005/8/layout/gear1"/>
    <dgm:cxn modelId="{EE9E24DF-6F46-4D8D-9C1E-96B2F0F1B7C9}" type="presParOf" srcId="{9B94EF8A-00F2-480D-839E-C3C859A03026}" destId="{CA33D52D-874E-474F-8188-D5BC6DD0C9F7}" srcOrd="0" destOrd="0" presId="urn:microsoft.com/office/officeart/2005/8/layout/gear1"/>
    <dgm:cxn modelId="{EE81AC3D-2AF7-4148-8EBB-163B934C1CAE}" type="presParOf" srcId="{9B94EF8A-00F2-480D-839E-C3C859A03026}" destId="{D1B930C7-9278-4F16-887F-CAE8822BBB34}" srcOrd="1" destOrd="0" presId="urn:microsoft.com/office/officeart/2005/8/layout/gear1"/>
    <dgm:cxn modelId="{9189F869-8642-41CF-8DA9-469ACF55049B}" type="presParOf" srcId="{9B94EF8A-00F2-480D-839E-C3C859A03026}" destId="{722DE68B-39FD-4ADC-A096-27594113FB30}" srcOrd="2" destOrd="0" presId="urn:microsoft.com/office/officeart/2005/8/layout/gear1"/>
    <dgm:cxn modelId="{27B60BB0-EA92-4582-86B0-7195082A6375}" type="presParOf" srcId="{9B94EF8A-00F2-480D-839E-C3C859A03026}" destId="{C02D147B-7E92-4313-BA6C-2AF665A8D5A1}" srcOrd="3" destOrd="0" presId="urn:microsoft.com/office/officeart/2005/8/layout/gear1"/>
    <dgm:cxn modelId="{8300498E-12CA-442F-8FE0-C506DE826F7D}" type="presParOf" srcId="{9B94EF8A-00F2-480D-839E-C3C859A03026}" destId="{1BBC4A11-FF56-407C-A866-310A9E6A5CB4}" srcOrd="4" destOrd="0" presId="urn:microsoft.com/office/officeart/2005/8/layout/gear1"/>
    <dgm:cxn modelId="{D11274C2-1ABA-4FDF-9979-663B26386D0E}" type="presParOf" srcId="{9B94EF8A-00F2-480D-839E-C3C859A03026}" destId="{E5F78DA3-F2B4-42C9-B8EA-E9D43759A36F}" srcOrd="5" destOrd="0" presId="urn:microsoft.com/office/officeart/2005/8/layout/gear1"/>
    <dgm:cxn modelId="{332D22AB-FE76-41B3-9AC9-B933BA127F65}" type="presParOf" srcId="{9B94EF8A-00F2-480D-839E-C3C859A03026}" destId="{C998FB37-FBFA-4663-95A6-EF9AACB06D28}" srcOrd="6" destOrd="0" presId="urn:microsoft.com/office/officeart/2005/8/layout/gear1"/>
    <dgm:cxn modelId="{DEC5B8F3-C569-48D5-A7B5-E33B04DABF65}" type="presParOf" srcId="{9B94EF8A-00F2-480D-839E-C3C859A03026}" destId="{BC3FB0DC-52DC-42D7-AB97-E27C2A0C118B}" srcOrd="7" destOrd="0" presId="urn:microsoft.com/office/officeart/2005/8/layout/gear1"/>
    <dgm:cxn modelId="{BE1AED40-22C4-4508-9FC1-4597CBF3D26C}" type="presParOf" srcId="{9B94EF8A-00F2-480D-839E-C3C859A03026}" destId="{99EA57E4-5227-487A-847A-5A064E57556F}" srcOrd="8" destOrd="0" presId="urn:microsoft.com/office/officeart/2005/8/layout/gear1"/>
    <dgm:cxn modelId="{3F5F6470-A11B-4D54-A2F5-F6E38A849AF4}" type="presParOf" srcId="{9B94EF8A-00F2-480D-839E-C3C859A03026}" destId="{A719E4BE-9ED9-4B7D-AFC1-9B4CBFD9AF52}" srcOrd="9" destOrd="0" presId="urn:microsoft.com/office/officeart/2005/8/layout/gear1"/>
    <dgm:cxn modelId="{D53DCAFB-C56D-4075-A4E7-617E38C6978A}" type="presParOf" srcId="{9B94EF8A-00F2-480D-839E-C3C859A03026}" destId="{BB454440-78EE-497B-A56B-8E277199904F}" srcOrd="10" destOrd="0" presId="urn:microsoft.com/office/officeart/2005/8/layout/gear1"/>
    <dgm:cxn modelId="{5C9141FE-887E-4542-87E8-D98BD8FFC834}" type="presParOf" srcId="{9B94EF8A-00F2-480D-839E-C3C859A03026}" destId="{B1606230-FF1E-43BA-8B6F-75252B8BB0A7}" srcOrd="11" destOrd="0" presId="urn:microsoft.com/office/officeart/2005/8/layout/gear1"/>
    <dgm:cxn modelId="{ACE2D0C1-587D-4016-A421-8C317246264C}" type="presParOf" srcId="{9B94EF8A-00F2-480D-839E-C3C859A03026}" destId="{9785098C-FD85-4CF3-8233-14FAD1791B75}" srcOrd="12" destOrd="0" presId="urn:microsoft.com/office/officeart/2005/8/layout/gear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736F31E2-9209-4AA8-A391-E1A63A83E365}" type="doc">
      <dgm:prSet loTypeId="urn:microsoft.com/office/officeart/2005/8/layout/radial2" loCatId="relationship" qsTypeId="urn:microsoft.com/office/officeart/2005/8/quickstyle/simple1" qsCatId="simple" csTypeId="urn:microsoft.com/office/officeart/2005/8/colors/accent1_2" csCatId="accent1" phldr="1"/>
      <dgm:spPr/>
      <dgm:t>
        <a:bodyPr/>
        <a:lstStyle/>
        <a:p>
          <a:endParaRPr lang="en-US"/>
        </a:p>
      </dgm:t>
    </dgm:pt>
    <dgm:pt modelId="{FABEB878-59E8-4DAC-8BF0-A2C31311650F}">
      <dgm:prSet phldrT="[Text]"/>
      <dgm:spPr/>
      <dgm:t>
        <a:bodyPr/>
        <a:lstStyle/>
        <a:p>
          <a:r>
            <a:rPr lang="en-US" dirty="0">
              <a:solidFill>
                <a:schemeClr val="tx1"/>
              </a:solidFill>
            </a:rPr>
            <a:t>Co. A</a:t>
          </a:r>
        </a:p>
      </dgm:t>
    </dgm:pt>
    <dgm:pt modelId="{42F6273D-2022-4A63-A8F9-85D37F9EFC32}" type="parTrans" cxnId="{4E2158BA-E55B-442A-B6DB-472184859D3F}">
      <dgm:prSet/>
      <dgm:spPr/>
      <dgm:t>
        <a:bodyPr/>
        <a:lstStyle/>
        <a:p>
          <a:endParaRPr lang="en-US"/>
        </a:p>
      </dgm:t>
    </dgm:pt>
    <dgm:pt modelId="{9E96BE5F-4A04-45F0-84EB-2CF40C832685}" type="sibTrans" cxnId="{4E2158BA-E55B-442A-B6DB-472184859D3F}">
      <dgm:prSet/>
      <dgm:spPr/>
      <dgm:t>
        <a:bodyPr/>
        <a:lstStyle/>
        <a:p>
          <a:endParaRPr lang="en-US"/>
        </a:p>
      </dgm:t>
    </dgm:pt>
    <dgm:pt modelId="{03F3DA49-BF1C-4088-84AD-8FA250FFA67B}">
      <dgm:prSet phldrT="[Text]"/>
      <dgm:spPr/>
      <dgm:t>
        <a:bodyPr/>
        <a:lstStyle/>
        <a:p>
          <a:r>
            <a:rPr lang="en-US" dirty="0"/>
            <a:t>Consulting company</a:t>
          </a:r>
        </a:p>
      </dgm:t>
    </dgm:pt>
    <dgm:pt modelId="{8D4AF6F3-BF66-458D-B318-A2FDFD844D88}" type="parTrans" cxnId="{A9B48D63-3AC2-4571-81E7-2077AA2DCAF5}">
      <dgm:prSet/>
      <dgm:spPr/>
      <dgm:t>
        <a:bodyPr/>
        <a:lstStyle/>
        <a:p>
          <a:endParaRPr lang="en-US"/>
        </a:p>
      </dgm:t>
    </dgm:pt>
    <dgm:pt modelId="{9A2A841A-78EC-4798-A01A-96688B71B273}" type="sibTrans" cxnId="{A9B48D63-3AC2-4571-81E7-2077AA2DCAF5}">
      <dgm:prSet/>
      <dgm:spPr/>
      <dgm:t>
        <a:bodyPr/>
        <a:lstStyle/>
        <a:p>
          <a:endParaRPr lang="en-US"/>
        </a:p>
      </dgm:t>
    </dgm:pt>
    <dgm:pt modelId="{6AB1E04A-5B0C-4603-8E15-FCF771399634}">
      <dgm:prSet phldrT="[Text]"/>
      <dgm:spPr/>
      <dgm:t>
        <a:bodyPr/>
        <a:lstStyle/>
        <a:p>
          <a:r>
            <a:rPr lang="en-US" dirty="0">
              <a:solidFill>
                <a:schemeClr val="tx1"/>
              </a:solidFill>
            </a:rPr>
            <a:t>Co. B</a:t>
          </a:r>
        </a:p>
      </dgm:t>
    </dgm:pt>
    <dgm:pt modelId="{775F8E84-384A-4175-8E78-257B8E9B3E6B}" type="parTrans" cxnId="{FFB79537-54DF-40FC-8867-EBFB47F911F3}">
      <dgm:prSet/>
      <dgm:spPr/>
      <dgm:t>
        <a:bodyPr/>
        <a:lstStyle/>
        <a:p>
          <a:endParaRPr lang="en-US"/>
        </a:p>
      </dgm:t>
    </dgm:pt>
    <dgm:pt modelId="{F10DB5B0-363F-4570-8D64-79569310AD69}" type="sibTrans" cxnId="{FFB79537-54DF-40FC-8867-EBFB47F911F3}">
      <dgm:prSet/>
      <dgm:spPr/>
      <dgm:t>
        <a:bodyPr/>
        <a:lstStyle/>
        <a:p>
          <a:endParaRPr lang="en-US"/>
        </a:p>
      </dgm:t>
    </dgm:pt>
    <dgm:pt modelId="{E427DB0B-3BA4-4473-8E1B-77CFE5B6E294}">
      <dgm:prSet phldrT="[Text]"/>
      <dgm:spPr/>
      <dgm:t>
        <a:bodyPr/>
        <a:lstStyle/>
        <a:p>
          <a:r>
            <a:rPr lang="en-US" dirty="0"/>
            <a:t>Parent of “Co. A”</a:t>
          </a:r>
        </a:p>
      </dgm:t>
    </dgm:pt>
    <dgm:pt modelId="{256A73CD-9476-4648-ABE8-E9AF831116AF}" type="parTrans" cxnId="{53384FFA-9139-4E64-89AA-0D9B02F9E392}">
      <dgm:prSet/>
      <dgm:spPr/>
      <dgm:t>
        <a:bodyPr/>
        <a:lstStyle/>
        <a:p>
          <a:endParaRPr lang="en-US"/>
        </a:p>
      </dgm:t>
    </dgm:pt>
    <dgm:pt modelId="{9550B61F-DF2E-42F7-AA8A-32E910B05237}" type="sibTrans" cxnId="{53384FFA-9139-4E64-89AA-0D9B02F9E392}">
      <dgm:prSet/>
      <dgm:spPr/>
      <dgm:t>
        <a:bodyPr/>
        <a:lstStyle/>
        <a:p>
          <a:endParaRPr lang="en-US"/>
        </a:p>
      </dgm:t>
    </dgm:pt>
    <dgm:pt modelId="{9A840D60-92DC-4ECC-8532-B99E53DCF2CF}">
      <dgm:prSet phldrT="[Text]"/>
      <dgm:spPr/>
      <dgm:t>
        <a:bodyPr/>
        <a:lstStyle/>
        <a:p>
          <a:r>
            <a:rPr lang="en-US" dirty="0"/>
            <a:t>Manufacturer</a:t>
          </a:r>
        </a:p>
      </dgm:t>
    </dgm:pt>
    <dgm:pt modelId="{9332F4C7-E0E1-419A-AF0F-D52F8DC4FCEB}" type="parTrans" cxnId="{05A13334-0890-4695-8910-D46A63642F1A}">
      <dgm:prSet/>
      <dgm:spPr/>
      <dgm:t>
        <a:bodyPr/>
        <a:lstStyle/>
        <a:p>
          <a:endParaRPr lang="en-US"/>
        </a:p>
      </dgm:t>
    </dgm:pt>
    <dgm:pt modelId="{6EB4A10C-1FA0-4324-AE00-4F938AE8CA50}" type="sibTrans" cxnId="{05A13334-0890-4695-8910-D46A63642F1A}">
      <dgm:prSet/>
      <dgm:spPr/>
      <dgm:t>
        <a:bodyPr/>
        <a:lstStyle/>
        <a:p>
          <a:endParaRPr lang="en-US"/>
        </a:p>
      </dgm:t>
    </dgm:pt>
    <dgm:pt modelId="{7F52575B-D8D4-4ABF-BA08-C3DB00448F92}" type="pres">
      <dgm:prSet presAssocID="{736F31E2-9209-4AA8-A391-E1A63A83E365}" presName="composite" presStyleCnt="0">
        <dgm:presLayoutVars>
          <dgm:chMax val="5"/>
          <dgm:dir/>
          <dgm:animLvl val="ctr"/>
          <dgm:resizeHandles val="exact"/>
        </dgm:presLayoutVars>
      </dgm:prSet>
      <dgm:spPr/>
    </dgm:pt>
    <dgm:pt modelId="{821AE29E-DA3F-4E60-AB1D-2C9B7D5A4FC6}" type="pres">
      <dgm:prSet presAssocID="{736F31E2-9209-4AA8-A391-E1A63A83E365}" presName="cycle" presStyleCnt="0"/>
      <dgm:spPr/>
    </dgm:pt>
    <dgm:pt modelId="{FE10C42C-E3CE-4A53-9E3A-1DB3F7EB4535}" type="pres">
      <dgm:prSet presAssocID="{736F31E2-9209-4AA8-A391-E1A63A83E365}" presName="centerShape" presStyleCnt="0"/>
      <dgm:spPr/>
    </dgm:pt>
    <dgm:pt modelId="{7FA67052-2B44-4765-B1BF-EA30AC03F65C}" type="pres">
      <dgm:prSet presAssocID="{736F31E2-9209-4AA8-A391-E1A63A83E365}" presName="connSite" presStyleLbl="node1" presStyleIdx="0" presStyleCnt="3"/>
      <dgm:spPr/>
    </dgm:pt>
    <dgm:pt modelId="{E703A7F0-974E-4E81-95D1-BB950200B996}" type="pres">
      <dgm:prSet presAssocID="{736F31E2-9209-4AA8-A391-E1A63A83E365}" presName="visible" presStyleLbl="node1" presStyleIdx="0" presStyleCnt="3"/>
      <dgm:spPr>
        <a:blipFill rotWithShape="0">
          <a:blip xmlns:r="http://schemas.openxmlformats.org/officeDocument/2006/relationships" r:embed="rId1"/>
          <a:stretch>
            <a:fillRect/>
          </a:stretch>
        </a:blipFill>
      </dgm:spPr>
    </dgm:pt>
    <dgm:pt modelId="{DFD87AF9-68EC-43C0-A396-9B0704B83285}" type="pres">
      <dgm:prSet presAssocID="{42F6273D-2022-4A63-A8F9-85D37F9EFC32}" presName="Name25" presStyleLbl="parChTrans1D1" presStyleIdx="0" presStyleCnt="2"/>
      <dgm:spPr/>
    </dgm:pt>
    <dgm:pt modelId="{8F17B057-2C95-4D38-A93F-FB81390E4513}" type="pres">
      <dgm:prSet presAssocID="{FABEB878-59E8-4DAC-8BF0-A2C31311650F}" presName="node" presStyleCnt="0"/>
      <dgm:spPr/>
    </dgm:pt>
    <dgm:pt modelId="{90A907A3-4E40-4724-A64E-568F5E381EB7}" type="pres">
      <dgm:prSet presAssocID="{FABEB878-59E8-4DAC-8BF0-A2C31311650F}" presName="parentNode" presStyleLbl="node1" presStyleIdx="1" presStyleCnt="3">
        <dgm:presLayoutVars>
          <dgm:chMax val="1"/>
          <dgm:bulletEnabled val="1"/>
        </dgm:presLayoutVars>
      </dgm:prSet>
      <dgm:spPr/>
    </dgm:pt>
    <dgm:pt modelId="{EB069F1C-DB90-4934-AD10-6761609ED6F0}" type="pres">
      <dgm:prSet presAssocID="{FABEB878-59E8-4DAC-8BF0-A2C31311650F}" presName="childNode" presStyleLbl="revTx" presStyleIdx="0" presStyleCnt="2">
        <dgm:presLayoutVars>
          <dgm:bulletEnabled val="1"/>
        </dgm:presLayoutVars>
      </dgm:prSet>
      <dgm:spPr/>
    </dgm:pt>
    <dgm:pt modelId="{D3D4F0D3-93CA-48A1-8034-159B6004A30B}" type="pres">
      <dgm:prSet presAssocID="{775F8E84-384A-4175-8E78-257B8E9B3E6B}" presName="Name25" presStyleLbl="parChTrans1D1" presStyleIdx="1" presStyleCnt="2"/>
      <dgm:spPr/>
    </dgm:pt>
    <dgm:pt modelId="{84A42089-4754-4A64-9EF1-82B82B031FE6}" type="pres">
      <dgm:prSet presAssocID="{6AB1E04A-5B0C-4603-8E15-FCF771399634}" presName="node" presStyleCnt="0"/>
      <dgm:spPr/>
    </dgm:pt>
    <dgm:pt modelId="{171E99FB-1058-4685-9A80-F1C754E01B9D}" type="pres">
      <dgm:prSet presAssocID="{6AB1E04A-5B0C-4603-8E15-FCF771399634}" presName="parentNode" presStyleLbl="node1" presStyleIdx="2" presStyleCnt="3">
        <dgm:presLayoutVars>
          <dgm:chMax val="1"/>
          <dgm:bulletEnabled val="1"/>
        </dgm:presLayoutVars>
      </dgm:prSet>
      <dgm:spPr/>
    </dgm:pt>
    <dgm:pt modelId="{BB3FF3AE-EE72-4D04-A92C-172D0F3E624A}" type="pres">
      <dgm:prSet presAssocID="{6AB1E04A-5B0C-4603-8E15-FCF771399634}" presName="childNode" presStyleLbl="revTx" presStyleIdx="1" presStyleCnt="2">
        <dgm:presLayoutVars>
          <dgm:bulletEnabled val="1"/>
        </dgm:presLayoutVars>
      </dgm:prSet>
      <dgm:spPr/>
    </dgm:pt>
  </dgm:ptLst>
  <dgm:cxnLst>
    <dgm:cxn modelId="{05A13334-0890-4695-8910-D46A63642F1A}" srcId="{6AB1E04A-5B0C-4603-8E15-FCF771399634}" destId="{9A840D60-92DC-4ECC-8532-B99E53DCF2CF}" srcOrd="1" destOrd="0" parTransId="{9332F4C7-E0E1-419A-AF0F-D52F8DC4FCEB}" sibTransId="{6EB4A10C-1FA0-4324-AE00-4F938AE8CA50}"/>
    <dgm:cxn modelId="{FFB79537-54DF-40FC-8867-EBFB47F911F3}" srcId="{736F31E2-9209-4AA8-A391-E1A63A83E365}" destId="{6AB1E04A-5B0C-4603-8E15-FCF771399634}" srcOrd="1" destOrd="0" parTransId="{775F8E84-384A-4175-8E78-257B8E9B3E6B}" sibTransId="{F10DB5B0-363F-4570-8D64-79569310AD69}"/>
    <dgm:cxn modelId="{A9B48D63-3AC2-4571-81E7-2077AA2DCAF5}" srcId="{FABEB878-59E8-4DAC-8BF0-A2C31311650F}" destId="{03F3DA49-BF1C-4088-84AD-8FA250FFA67B}" srcOrd="0" destOrd="0" parTransId="{8D4AF6F3-BF66-458D-B318-A2FDFD844D88}" sibTransId="{9A2A841A-78EC-4798-A01A-96688B71B273}"/>
    <dgm:cxn modelId="{805C304B-4A40-45E3-9EDD-E4F225E880ED}" type="presOf" srcId="{736F31E2-9209-4AA8-A391-E1A63A83E365}" destId="{7F52575B-D8D4-4ABF-BA08-C3DB00448F92}" srcOrd="0" destOrd="0" presId="urn:microsoft.com/office/officeart/2005/8/layout/radial2"/>
    <dgm:cxn modelId="{47EDE78F-DB4F-4C2E-98C1-EC4F1C5D31D0}" type="presOf" srcId="{03F3DA49-BF1C-4088-84AD-8FA250FFA67B}" destId="{EB069F1C-DB90-4934-AD10-6761609ED6F0}" srcOrd="0" destOrd="0" presId="urn:microsoft.com/office/officeart/2005/8/layout/radial2"/>
    <dgm:cxn modelId="{1146B89B-6C2D-4E78-9055-71A1C021C5B5}" type="presOf" srcId="{FABEB878-59E8-4DAC-8BF0-A2C31311650F}" destId="{90A907A3-4E40-4724-A64E-568F5E381EB7}" srcOrd="0" destOrd="0" presId="urn:microsoft.com/office/officeart/2005/8/layout/radial2"/>
    <dgm:cxn modelId="{3F3681A8-951A-4F74-9D6B-D9C5D54A3F36}" type="presOf" srcId="{9A840D60-92DC-4ECC-8532-B99E53DCF2CF}" destId="{BB3FF3AE-EE72-4D04-A92C-172D0F3E624A}" srcOrd="0" destOrd="1" presId="urn:microsoft.com/office/officeart/2005/8/layout/radial2"/>
    <dgm:cxn modelId="{615045B1-7F52-4DF2-9C23-81CB6A8C50F6}" type="presOf" srcId="{775F8E84-384A-4175-8E78-257B8E9B3E6B}" destId="{D3D4F0D3-93CA-48A1-8034-159B6004A30B}" srcOrd="0" destOrd="0" presId="urn:microsoft.com/office/officeart/2005/8/layout/radial2"/>
    <dgm:cxn modelId="{4E2158BA-E55B-442A-B6DB-472184859D3F}" srcId="{736F31E2-9209-4AA8-A391-E1A63A83E365}" destId="{FABEB878-59E8-4DAC-8BF0-A2C31311650F}" srcOrd="0" destOrd="0" parTransId="{42F6273D-2022-4A63-A8F9-85D37F9EFC32}" sibTransId="{9E96BE5F-4A04-45F0-84EB-2CF40C832685}"/>
    <dgm:cxn modelId="{BA79B9C8-08E8-4B95-8D45-8AB303291334}" type="presOf" srcId="{6AB1E04A-5B0C-4603-8E15-FCF771399634}" destId="{171E99FB-1058-4685-9A80-F1C754E01B9D}" srcOrd="0" destOrd="0" presId="urn:microsoft.com/office/officeart/2005/8/layout/radial2"/>
    <dgm:cxn modelId="{F84C4BE1-C855-426D-9A6D-2948866022CA}" type="presOf" srcId="{E427DB0B-3BA4-4473-8E1B-77CFE5B6E294}" destId="{BB3FF3AE-EE72-4D04-A92C-172D0F3E624A}" srcOrd="0" destOrd="0" presId="urn:microsoft.com/office/officeart/2005/8/layout/radial2"/>
    <dgm:cxn modelId="{3761F0F6-24A3-4CF7-A2DA-20C1B39E332D}" type="presOf" srcId="{42F6273D-2022-4A63-A8F9-85D37F9EFC32}" destId="{DFD87AF9-68EC-43C0-A396-9B0704B83285}" srcOrd="0" destOrd="0" presId="urn:microsoft.com/office/officeart/2005/8/layout/radial2"/>
    <dgm:cxn modelId="{53384FFA-9139-4E64-89AA-0D9B02F9E392}" srcId="{6AB1E04A-5B0C-4603-8E15-FCF771399634}" destId="{E427DB0B-3BA4-4473-8E1B-77CFE5B6E294}" srcOrd="0" destOrd="0" parTransId="{256A73CD-9476-4648-ABE8-E9AF831116AF}" sibTransId="{9550B61F-DF2E-42F7-AA8A-32E910B05237}"/>
    <dgm:cxn modelId="{E1106117-6119-4D0B-AB58-255561E1E8BA}" type="presParOf" srcId="{7F52575B-D8D4-4ABF-BA08-C3DB00448F92}" destId="{821AE29E-DA3F-4E60-AB1D-2C9B7D5A4FC6}" srcOrd="0" destOrd="0" presId="urn:microsoft.com/office/officeart/2005/8/layout/radial2"/>
    <dgm:cxn modelId="{2DE5B6D4-5301-4F7B-BE9C-3466D5012D60}" type="presParOf" srcId="{821AE29E-DA3F-4E60-AB1D-2C9B7D5A4FC6}" destId="{FE10C42C-E3CE-4A53-9E3A-1DB3F7EB4535}" srcOrd="0" destOrd="0" presId="urn:microsoft.com/office/officeart/2005/8/layout/radial2"/>
    <dgm:cxn modelId="{0F29B34B-014A-4792-AD41-A52A8B4E3603}" type="presParOf" srcId="{FE10C42C-E3CE-4A53-9E3A-1DB3F7EB4535}" destId="{7FA67052-2B44-4765-B1BF-EA30AC03F65C}" srcOrd="0" destOrd="0" presId="urn:microsoft.com/office/officeart/2005/8/layout/radial2"/>
    <dgm:cxn modelId="{4E50F892-5A13-4403-9632-CE6C4D8221AC}" type="presParOf" srcId="{FE10C42C-E3CE-4A53-9E3A-1DB3F7EB4535}" destId="{E703A7F0-974E-4E81-95D1-BB950200B996}" srcOrd="1" destOrd="0" presId="urn:microsoft.com/office/officeart/2005/8/layout/radial2"/>
    <dgm:cxn modelId="{8760E1DF-C75B-41A5-BE8C-A7C16AE039F3}" type="presParOf" srcId="{821AE29E-DA3F-4E60-AB1D-2C9B7D5A4FC6}" destId="{DFD87AF9-68EC-43C0-A396-9B0704B83285}" srcOrd="1" destOrd="0" presId="urn:microsoft.com/office/officeart/2005/8/layout/radial2"/>
    <dgm:cxn modelId="{73FD76B7-9777-4C29-B1B3-5B160A083180}" type="presParOf" srcId="{821AE29E-DA3F-4E60-AB1D-2C9B7D5A4FC6}" destId="{8F17B057-2C95-4D38-A93F-FB81390E4513}" srcOrd="2" destOrd="0" presId="urn:microsoft.com/office/officeart/2005/8/layout/radial2"/>
    <dgm:cxn modelId="{FB9E0693-9D1B-41C6-B7E5-E1CC47D76317}" type="presParOf" srcId="{8F17B057-2C95-4D38-A93F-FB81390E4513}" destId="{90A907A3-4E40-4724-A64E-568F5E381EB7}" srcOrd="0" destOrd="0" presId="urn:microsoft.com/office/officeart/2005/8/layout/radial2"/>
    <dgm:cxn modelId="{1C923BCD-1871-469A-B398-8FD42862857C}" type="presParOf" srcId="{8F17B057-2C95-4D38-A93F-FB81390E4513}" destId="{EB069F1C-DB90-4934-AD10-6761609ED6F0}" srcOrd="1" destOrd="0" presId="urn:microsoft.com/office/officeart/2005/8/layout/radial2"/>
    <dgm:cxn modelId="{BB6F6DCC-8915-453D-B6DC-F972A1D47EFD}" type="presParOf" srcId="{821AE29E-DA3F-4E60-AB1D-2C9B7D5A4FC6}" destId="{D3D4F0D3-93CA-48A1-8034-159B6004A30B}" srcOrd="3" destOrd="0" presId="urn:microsoft.com/office/officeart/2005/8/layout/radial2"/>
    <dgm:cxn modelId="{1083B59A-5DA8-4FA8-8911-3436D260955B}" type="presParOf" srcId="{821AE29E-DA3F-4E60-AB1D-2C9B7D5A4FC6}" destId="{84A42089-4754-4A64-9EF1-82B82B031FE6}" srcOrd="4" destOrd="0" presId="urn:microsoft.com/office/officeart/2005/8/layout/radial2"/>
    <dgm:cxn modelId="{4A7F5C61-1CE4-44D3-80DA-38F7D45C85D5}" type="presParOf" srcId="{84A42089-4754-4A64-9EF1-82B82B031FE6}" destId="{171E99FB-1058-4685-9A80-F1C754E01B9D}" srcOrd="0" destOrd="0" presId="urn:microsoft.com/office/officeart/2005/8/layout/radial2"/>
    <dgm:cxn modelId="{11AAD9DC-DF3A-4485-B7E9-816613341E65}" type="presParOf" srcId="{84A42089-4754-4A64-9EF1-82B82B031FE6}" destId="{BB3FF3AE-EE72-4D04-A92C-172D0F3E624A}" srcOrd="1" destOrd="0" presId="urn:microsoft.com/office/officeart/2005/8/layout/radial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A6D39EDD-A578-45FC-8AEB-EC47082B7B72}" type="doc">
      <dgm:prSet loTypeId="urn:microsoft.com/office/officeart/2005/8/layout/radial4" loCatId="relationship" qsTypeId="urn:microsoft.com/office/officeart/2005/8/quickstyle/simple1" qsCatId="simple" csTypeId="urn:microsoft.com/office/officeart/2005/8/colors/accent1_2" csCatId="accent1" phldr="1"/>
      <dgm:spPr/>
      <dgm:t>
        <a:bodyPr/>
        <a:lstStyle/>
        <a:p>
          <a:endParaRPr lang="en-US"/>
        </a:p>
      </dgm:t>
    </dgm:pt>
    <dgm:pt modelId="{FF0DB9B5-FB9A-4824-8FCD-8DDC56A624EE}">
      <dgm:prSet phldrT="[Text]"/>
      <dgm:spPr/>
      <dgm:t>
        <a:bodyPr/>
        <a:lstStyle/>
        <a:p>
          <a:r>
            <a:rPr lang="en-US" dirty="0"/>
            <a:t>Suspension and Debarment Official</a:t>
          </a:r>
        </a:p>
      </dgm:t>
    </dgm:pt>
    <dgm:pt modelId="{3FADDA10-E63C-4F55-A78D-32AC0E226371}" type="parTrans" cxnId="{AFB20120-42A8-4FF7-A69B-093FDA2DA986}">
      <dgm:prSet/>
      <dgm:spPr/>
      <dgm:t>
        <a:bodyPr/>
        <a:lstStyle/>
        <a:p>
          <a:endParaRPr lang="en-US"/>
        </a:p>
      </dgm:t>
    </dgm:pt>
    <dgm:pt modelId="{9193C111-F130-49C6-A814-8FA89D4CA466}" type="sibTrans" cxnId="{AFB20120-42A8-4FF7-A69B-093FDA2DA986}">
      <dgm:prSet/>
      <dgm:spPr/>
      <dgm:t>
        <a:bodyPr/>
        <a:lstStyle/>
        <a:p>
          <a:endParaRPr lang="en-US"/>
        </a:p>
      </dgm:t>
    </dgm:pt>
    <dgm:pt modelId="{BBFF2932-802F-476A-8A73-23AA4931BC96}">
      <dgm:prSet phldrT="[Text]"/>
      <dgm:spPr>
        <a:solidFill>
          <a:srgbClr val="C00000"/>
        </a:solidFill>
      </dgm:spPr>
      <dgm:t>
        <a:bodyPr/>
        <a:lstStyle/>
        <a:p>
          <a:r>
            <a:rPr lang="en-US" dirty="0"/>
            <a:t>Investigators/ Prosecutors</a:t>
          </a:r>
        </a:p>
      </dgm:t>
    </dgm:pt>
    <dgm:pt modelId="{BD07FA2C-E39E-4E0B-80F9-57272036D27E}" type="parTrans" cxnId="{DC1326EB-FDB9-4378-A1C2-A9D51D7D4A3C}">
      <dgm:prSet/>
      <dgm:spPr/>
      <dgm:t>
        <a:bodyPr/>
        <a:lstStyle/>
        <a:p>
          <a:endParaRPr lang="en-US"/>
        </a:p>
      </dgm:t>
    </dgm:pt>
    <dgm:pt modelId="{1102E940-1EBC-4DB2-B294-8902B55B2D02}" type="sibTrans" cxnId="{DC1326EB-FDB9-4378-A1C2-A9D51D7D4A3C}">
      <dgm:prSet/>
      <dgm:spPr/>
      <dgm:t>
        <a:bodyPr/>
        <a:lstStyle/>
        <a:p>
          <a:endParaRPr lang="en-US"/>
        </a:p>
      </dgm:t>
    </dgm:pt>
    <dgm:pt modelId="{33E53104-9946-4B99-BB44-35293ED9968F}">
      <dgm:prSet phldrT="[Text]"/>
      <dgm:spPr>
        <a:solidFill>
          <a:srgbClr val="7030A0"/>
        </a:solidFill>
      </dgm:spPr>
      <dgm:t>
        <a:bodyPr/>
        <a:lstStyle/>
        <a:p>
          <a:r>
            <a:rPr lang="en-US" dirty="0"/>
            <a:t>Competitors</a:t>
          </a:r>
        </a:p>
      </dgm:t>
    </dgm:pt>
    <dgm:pt modelId="{EB1CA2A5-27F2-419B-9C83-9B22FFDB4576}" type="parTrans" cxnId="{E7A4F21C-B830-4B1F-B4C6-6D17D9AB16A5}">
      <dgm:prSet/>
      <dgm:spPr/>
      <dgm:t>
        <a:bodyPr/>
        <a:lstStyle/>
        <a:p>
          <a:endParaRPr lang="en-US"/>
        </a:p>
      </dgm:t>
    </dgm:pt>
    <dgm:pt modelId="{4BD0875A-9831-406A-B81F-EDD36114CD3B}" type="sibTrans" cxnId="{E7A4F21C-B830-4B1F-B4C6-6D17D9AB16A5}">
      <dgm:prSet/>
      <dgm:spPr/>
      <dgm:t>
        <a:bodyPr/>
        <a:lstStyle/>
        <a:p>
          <a:endParaRPr lang="en-US"/>
        </a:p>
      </dgm:t>
    </dgm:pt>
    <dgm:pt modelId="{5D63BAE1-7497-468C-8537-2A85AD010173}">
      <dgm:prSet phldrT="[Text]"/>
      <dgm:spPr>
        <a:solidFill>
          <a:srgbClr val="002060"/>
        </a:solidFill>
      </dgm:spPr>
      <dgm:t>
        <a:bodyPr/>
        <a:lstStyle/>
        <a:p>
          <a:r>
            <a:rPr lang="en-US" dirty="0"/>
            <a:t>Contracting Officers</a:t>
          </a:r>
        </a:p>
      </dgm:t>
    </dgm:pt>
    <dgm:pt modelId="{FBE760AE-7907-418E-A38A-BE9D58868054}" type="parTrans" cxnId="{B33DD994-EFF5-44C0-8BF8-2165050DF0BD}">
      <dgm:prSet/>
      <dgm:spPr/>
      <dgm:t>
        <a:bodyPr/>
        <a:lstStyle/>
        <a:p>
          <a:endParaRPr lang="en-US"/>
        </a:p>
      </dgm:t>
    </dgm:pt>
    <dgm:pt modelId="{FE0C7AB7-44EA-4384-A6FE-27BCA6723D3A}" type="sibTrans" cxnId="{B33DD994-EFF5-44C0-8BF8-2165050DF0BD}">
      <dgm:prSet/>
      <dgm:spPr/>
      <dgm:t>
        <a:bodyPr/>
        <a:lstStyle/>
        <a:p>
          <a:endParaRPr lang="en-US"/>
        </a:p>
      </dgm:t>
    </dgm:pt>
    <dgm:pt modelId="{D86AEEA5-6AC2-4968-A4E8-C172BB0E23D4}" type="pres">
      <dgm:prSet presAssocID="{A6D39EDD-A578-45FC-8AEB-EC47082B7B72}" presName="cycle" presStyleCnt="0">
        <dgm:presLayoutVars>
          <dgm:chMax val="1"/>
          <dgm:dir/>
          <dgm:animLvl val="ctr"/>
          <dgm:resizeHandles val="exact"/>
        </dgm:presLayoutVars>
      </dgm:prSet>
      <dgm:spPr/>
    </dgm:pt>
    <dgm:pt modelId="{4E32B914-CFAA-4486-ACA3-C5BFFB290C9A}" type="pres">
      <dgm:prSet presAssocID="{FF0DB9B5-FB9A-4824-8FCD-8DDC56A624EE}" presName="centerShape" presStyleLbl="node0" presStyleIdx="0" presStyleCnt="1"/>
      <dgm:spPr/>
    </dgm:pt>
    <dgm:pt modelId="{06101629-35E4-45AF-B2F6-AB0C250EB019}" type="pres">
      <dgm:prSet presAssocID="{BD07FA2C-E39E-4E0B-80F9-57272036D27E}" presName="parTrans" presStyleLbl="bgSibTrans2D1" presStyleIdx="0" presStyleCnt="3"/>
      <dgm:spPr/>
    </dgm:pt>
    <dgm:pt modelId="{8FC512AB-68B8-4B7F-BF99-C9290B711482}" type="pres">
      <dgm:prSet presAssocID="{BBFF2932-802F-476A-8A73-23AA4931BC96}" presName="node" presStyleLbl="node1" presStyleIdx="0" presStyleCnt="3">
        <dgm:presLayoutVars>
          <dgm:bulletEnabled val="1"/>
        </dgm:presLayoutVars>
      </dgm:prSet>
      <dgm:spPr/>
    </dgm:pt>
    <dgm:pt modelId="{E14F508D-D072-4528-9509-213E77BB4E76}" type="pres">
      <dgm:prSet presAssocID="{EB1CA2A5-27F2-419B-9C83-9B22FFDB4576}" presName="parTrans" presStyleLbl="bgSibTrans2D1" presStyleIdx="1" presStyleCnt="3"/>
      <dgm:spPr/>
    </dgm:pt>
    <dgm:pt modelId="{107DE881-6334-4B4D-8D95-4A41B9595F68}" type="pres">
      <dgm:prSet presAssocID="{33E53104-9946-4B99-BB44-35293ED9968F}" presName="node" presStyleLbl="node1" presStyleIdx="1" presStyleCnt="3">
        <dgm:presLayoutVars>
          <dgm:bulletEnabled val="1"/>
        </dgm:presLayoutVars>
      </dgm:prSet>
      <dgm:spPr/>
    </dgm:pt>
    <dgm:pt modelId="{76AADDC1-0743-4ED1-B93A-17B272BE91D5}" type="pres">
      <dgm:prSet presAssocID="{FBE760AE-7907-418E-A38A-BE9D58868054}" presName="parTrans" presStyleLbl="bgSibTrans2D1" presStyleIdx="2" presStyleCnt="3"/>
      <dgm:spPr/>
    </dgm:pt>
    <dgm:pt modelId="{791ADCB3-5AA5-4846-B940-7EC6D829C8F8}" type="pres">
      <dgm:prSet presAssocID="{5D63BAE1-7497-468C-8537-2A85AD010173}" presName="node" presStyleLbl="node1" presStyleIdx="2" presStyleCnt="3">
        <dgm:presLayoutVars>
          <dgm:bulletEnabled val="1"/>
        </dgm:presLayoutVars>
      </dgm:prSet>
      <dgm:spPr/>
    </dgm:pt>
  </dgm:ptLst>
  <dgm:cxnLst>
    <dgm:cxn modelId="{E7A4F21C-B830-4B1F-B4C6-6D17D9AB16A5}" srcId="{FF0DB9B5-FB9A-4824-8FCD-8DDC56A624EE}" destId="{33E53104-9946-4B99-BB44-35293ED9968F}" srcOrd="1" destOrd="0" parTransId="{EB1CA2A5-27F2-419B-9C83-9B22FFDB4576}" sibTransId="{4BD0875A-9831-406A-B81F-EDD36114CD3B}"/>
    <dgm:cxn modelId="{AFB20120-42A8-4FF7-A69B-093FDA2DA986}" srcId="{A6D39EDD-A578-45FC-8AEB-EC47082B7B72}" destId="{FF0DB9B5-FB9A-4824-8FCD-8DDC56A624EE}" srcOrd="0" destOrd="0" parTransId="{3FADDA10-E63C-4F55-A78D-32AC0E226371}" sibTransId="{9193C111-F130-49C6-A814-8FA89D4CA466}"/>
    <dgm:cxn modelId="{304D1F5C-C9D2-4E12-BCB1-DDF553F79CB5}" type="presOf" srcId="{BBFF2932-802F-476A-8A73-23AA4931BC96}" destId="{8FC512AB-68B8-4B7F-BF99-C9290B711482}" srcOrd="0" destOrd="0" presId="urn:microsoft.com/office/officeart/2005/8/layout/radial4"/>
    <dgm:cxn modelId="{444C935F-A27E-4E60-9034-D1D9B7307120}" type="presOf" srcId="{FF0DB9B5-FB9A-4824-8FCD-8DDC56A624EE}" destId="{4E32B914-CFAA-4486-ACA3-C5BFFB290C9A}" srcOrd="0" destOrd="0" presId="urn:microsoft.com/office/officeart/2005/8/layout/radial4"/>
    <dgm:cxn modelId="{903CAE86-F373-4A09-A442-0473AF936668}" type="presOf" srcId="{33E53104-9946-4B99-BB44-35293ED9968F}" destId="{107DE881-6334-4B4D-8D95-4A41B9595F68}" srcOrd="0" destOrd="0" presId="urn:microsoft.com/office/officeart/2005/8/layout/radial4"/>
    <dgm:cxn modelId="{B33DD994-EFF5-44C0-8BF8-2165050DF0BD}" srcId="{FF0DB9B5-FB9A-4824-8FCD-8DDC56A624EE}" destId="{5D63BAE1-7497-468C-8537-2A85AD010173}" srcOrd="2" destOrd="0" parTransId="{FBE760AE-7907-418E-A38A-BE9D58868054}" sibTransId="{FE0C7AB7-44EA-4384-A6FE-27BCA6723D3A}"/>
    <dgm:cxn modelId="{FCF28298-6DEE-40D7-9278-5877529F08CD}" type="presOf" srcId="{BD07FA2C-E39E-4E0B-80F9-57272036D27E}" destId="{06101629-35E4-45AF-B2F6-AB0C250EB019}" srcOrd="0" destOrd="0" presId="urn:microsoft.com/office/officeart/2005/8/layout/radial4"/>
    <dgm:cxn modelId="{7908F7B4-49AB-4D59-9597-00D239BD0BA6}" type="presOf" srcId="{5D63BAE1-7497-468C-8537-2A85AD010173}" destId="{791ADCB3-5AA5-4846-B940-7EC6D829C8F8}" srcOrd="0" destOrd="0" presId="urn:microsoft.com/office/officeart/2005/8/layout/radial4"/>
    <dgm:cxn modelId="{50652BD9-A40B-41BC-8796-F4C3DB450278}" type="presOf" srcId="{FBE760AE-7907-418E-A38A-BE9D58868054}" destId="{76AADDC1-0743-4ED1-B93A-17B272BE91D5}" srcOrd="0" destOrd="0" presId="urn:microsoft.com/office/officeart/2005/8/layout/radial4"/>
    <dgm:cxn modelId="{6BB154E3-0D7A-4CB4-A81F-1B63D74D957C}" type="presOf" srcId="{A6D39EDD-A578-45FC-8AEB-EC47082B7B72}" destId="{D86AEEA5-6AC2-4968-A4E8-C172BB0E23D4}" srcOrd="0" destOrd="0" presId="urn:microsoft.com/office/officeart/2005/8/layout/radial4"/>
    <dgm:cxn modelId="{DC1326EB-FDB9-4378-A1C2-A9D51D7D4A3C}" srcId="{FF0DB9B5-FB9A-4824-8FCD-8DDC56A624EE}" destId="{BBFF2932-802F-476A-8A73-23AA4931BC96}" srcOrd="0" destOrd="0" parTransId="{BD07FA2C-E39E-4E0B-80F9-57272036D27E}" sibTransId="{1102E940-1EBC-4DB2-B294-8902B55B2D02}"/>
    <dgm:cxn modelId="{672AF1FE-8BAE-4384-8487-7D71E6BB965A}" type="presOf" srcId="{EB1CA2A5-27F2-419B-9C83-9B22FFDB4576}" destId="{E14F508D-D072-4528-9509-213E77BB4E76}" srcOrd="0" destOrd="0" presId="urn:microsoft.com/office/officeart/2005/8/layout/radial4"/>
    <dgm:cxn modelId="{E9147CF5-938E-4562-8902-921196072400}" type="presParOf" srcId="{D86AEEA5-6AC2-4968-A4E8-C172BB0E23D4}" destId="{4E32B914-CFAA-4486-ACA3-C5BFFB290C9A}" srcOrd="0" destOrd="0" presId="urn:microsoft.com/office/officeart/2005/8/layout/radial4"/>
    <dgm:cxn modelId="{BB00694C-E9ED-4A61-91B3-73C8823F8EB1}" type="presParOf" srcId="{D86AEEA5-6AC2-4968-A4E8-C172BB0E23D4}" destId="{06101629-35E4-45AF-B2F6-AB0C250EB019}" srcOrd="1" destOrd="0" presId="urn:microsoft.com/office/officeart/2005/8/layout/radial4"/>
    <dgm:cxn modelId="{110AAF83-AE82-421D-94FC-8A8D65FBF676}" type="presParOf" srcId="{D86AEEA5-6AC2-4968-A4E8-C172BB0E23D4}" destId="{8FC512AB-68B8-4B7F-BF99-C9290B711482}" srcOrd="2" destOrd="0" presId="urn:microsoft.com/office/officeart/2005/8/layout/radial4"/>
    <dgm:cxn modelId="{EDB77BA6-B951-4FB5-A074-0AAE9215AFDC}" type="presParOf" srcId="{D86AEEA5-6AC2-4968-A4E8-C172BB0E23D4}" destId="{E14F508D-D072-4528-9509-213E77BB4E76}" srcOrd="3" destOrd="0" presId="urn:microsoft.com/office/officeart/2005/8/layout/radial4"/>
    <dgm:cxn modelId="{F821F5E4-23FB-4D5B-B9F2-96DF7D63EB6D}" type="presParOf" srcId="{D86AEEA5-6AC2-4968-A4E8-C172BB0E23D4}" destId="{107DE881-6334-4B4D-8D95-4A41B9595F68}" srcOrd="4" destOrd="0" presId="urn:microsoft.com/office/officeart/2005/8/layout/radial4"/>
    <dgm:cxn modelId="{28DFCFFD-896D-4DFA-B78A-288A937B2B6C}" type="presParOf" srcId="{D86AEEA5-6AC2-4968-A4E8-C172BB0E23D4}" destId="{76AADDC1-0743-4ED1-B93A-17B272BE91D5}" srcOrd="5" destOrd="0" presId="urn:microsoft.com/office/officeart/2005/8/layout/radial4"/>
    <dgm:cxn modelId="{549AEBC3-4A4B-4985-954B-FC0ACFE6BE25}" type="presParOf" srcId="{D86AEEA5-6AC2-4968-A4E8-C172BB0E23D4}" destId="{791ADCB3-5AA5-4846-B940-7EC6D829C8F8}" srcOrd="6" destOrd="0" presId="urn:microsoft.com/office/officeart/2005/8/layout/radial4"/>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3.xml><?xml version="1.0" encoding="utf-8"?>
<dgm:dataModel xmlns:dgm="http://schemas.openxmlformats.org/drawingml/2006/diagram" xmlns:a="http://schemas.openxmlformats.org/drawingml/2006/main">
  <dgm:ptLst>
    <dgm:pt modelId="{B8E11FA8-6B0C-472D-B9C4-84A803A2C855}" type="doc">
      <dgm:prSet loTypeId="urn:microsoft.com/office/officeart/2005/8/layout/pyramid2" loCatId="pyramid" qsTypeId="urn:microsoft.com/office/officeart/2005/8/quickstyle/simple3" qsCatId="simple" csTypeId="urn:microsoft.com/office/officeart/2005/8/colors/accent1_2" csCatId="accent1" phldr="1"/>
      <dgm:spPr/>
      <dgm:t>
        <a:bodyPr/>
        <a:lstStyle/>
        <a:p>
          <a:endParaRPr lang="en-US"/>
        </a:p>
      </dgm:t>
    </dgm:pt>
    <dgm:pt modelId="{F8803D70-4A47-4202-85BD-EBDFF86A0562}">
      <dgm:prSet phldrT="[Text]" custT="1"/>
      <dgm:spPr/>
      <dgm:t>
        <a:bodyPr/>
        <a:lstStyle/>
        <a:p>
          <a:r>
            <a:rPr lang="en-US" sz="2000" b="1" dirty="0">
              <a:solidFill>
                <a:schemeClr val="bg1"/>
              </a:solidFill>
              <a:latin typeface="+mj-lt"/>
            </a:rPr>
            <a:t>Sanctions Board</a:t>
          </a:r>
        </a:p>
      </dgm:t>
    </dgm:pt>
    <dgm:pt modelId="{BC817896-0583-4B10-A50F-03E903E89797}" type="parTrans" cxnId="{143D646F-0385-4C1D-81B6-78EDB226F043}">
      <dgm:prSet/>
      <dgm:spPr/>
      <dgm:t>
        <a:bodyPr/>
        <a:lstStyle/>
        <a:p>
          <a:endParaRPr lang="en-US"/>
        </a:p>
      </dgm:t>
    </dgm:pt>
    <dgm:pt modelId="{A4E73820-1E74-4E59-AE29-C058FF1566DF}" type="sibTrans" cxnId="{143D646F-0385-4C1D-81B6-78EDB226F043}">
      <dgm:prSet/>
      <dgm:spPr/>
      <dgm:t>
        <a:bodyPr/>
        <a:lstStyle/>
        <a:p>
          <a:endParaRPr lang="en-US"/>
        </a:p>
      </dgm:t>
    </dgm:pt>
    <dgm:pt modelId="{D7428361-BE9E-4C09-B050-069D9979ECA9}">
      <dgm:prSet phldrT="[Text]" custT="1"/>
      <dgm:spPr/>
      <dgm:t>
        <a:bodyPr/>
        <a:lstStyle/>
        <a:p>
          <a:r>
            <a:rPr lang="en-US" sz="2000" b="1" dirty="0">
              <a:solidFill>
                <a:schemeClr val="bg1"/>
              </a:solidFill>
              <a:latin typeface="+mj-lt"/>
            </a:rPr>
            <a:t>Suspension and Debarment Officer (SDO)</a:t>
          </a:r>
        </a:p>
      </dgm:t>
    </dgm:pt>
    <dgm:pt modelId="{9F4A1029-3980-45B1-83A9-8172D38B95F8}" type="parTrans" cxnId="{9BCDA36B-827D-4219-A0A8-3142BD0F2CCC}">
      <dgm:prSet/>
      <dgm:spPr/>
      <dgm:t>
        <a:bodyPr/>
        <a:lstStyle/>
        <a:p>
          <a:endParaRPr lang="en-US"/>
        </a:p>
      </dgm:t>
    </dgm:pt>
    <dgm:pt modelId="{3E9A54A4-FCEA-4DE4-BAD3-014E6934721E}" type="sibTrans" cxnId="{9BCDA36B-827D-4219-A0A8-3142BD0F2CCC}">
      <dgm:prSet/>
      <dgm:spPr/>
      <dgm:t>
        <a:bodyPr/>
        <a:lstStyle/>
        <a:p>
          <a:endParaRPr lang="en-US"/>
        </a:p>
      </dgm:t>
    </dgm:pt>
    <dgm:pt modelId="{4960C511-73AE-4F3B-A31B-C14B5BB9838A}">
      <dgm:prSet phldrT="[Text]"/>
      <dgm:spPr/>
      <dgm:t>
        <a:bodyPr/>
        <a:lstStyle/>
        <a:p>
          <a:r>
            <a:rPr lang="en-US" b="1" dirty="0">
              <a:solidFill>
                <a:schemeClr val="bg1"/>
              </a:solidFill>
              <a:latin typeface="+mj-lt"/>
            </a:rPr>
            <a:t>Integrity Compliance </a:t>
          </a:r>
        </a:p>
        <a:p>
          <a:r>
            <a:rPr lang="en-US" b="1" dirty="0">
              <a:solidFill>
                <a:schemeClr val="bg1"/>
              </a:solidFill>
              <a:latin typeface="+mj-lt"/>
            </a:rPr>
            <a:t>Officers (within INT)</a:t>
          </a:r>
        </a:p>
      </dgm:t>
    </dgm:pt>
    <dgm:pt modelId="{44C60BAF-9AE7-49B6-A39E-582ED05F581F}" type="parTrans" cxnId="{97AA7FD9-71D2-4582-9383-E70CE9AD80B1}">
      <dgm:prSet/>
      <dgm:spPr/>
      <dgm:t>
        <a:bodyPr/>
        <a:lstStyle/>
        <a:p>
          <a:endParaRPr lang="en-US"/>
        </a:p>
      </dgm:t>
    </dgm:pt>
    <dgm:pt modelId="{9220F274-EDA9-4E67-A71A-AC25127017FE}" type="sibTrans" cxnId="{97AA7FD9-71D2-4582-9383-E70CE9AD80B1}">
      <dgm:prSet/>
      <dgm:spPr/>
      <dgm:t>
        <a:bodyPr/>
        <a:lstStyle/>
        <a:p>
          <a:endParaRPr lang="en-US"/>
        </a:p>
      </dgm:t>
    </dgm:pt>
    <dgm:pt modelId="{1CB27DC4-E2FF-459A-B3E6-AE9BE2BBD1E6}" type="pres">
      <dgm:prSet presAssocID="{B8E11FA8-6B0C-472D-B9C4-84A803A2C855}" presName="compositeShape" presStyleCnt="0">
        <dgm:presLayoutVars>
          <dgm:dir/>
          <dgm:resizeHandles/>
        </dgm:presLayoutVars>
      </dgm:prSet>
      <dgm:spPr/>
    </dgm:pt>
    <dgm:pt modelId="{3C987C07-D2F5-42F4-B915-A8C514492DAF}" type="pres">
      <dgm:prSet presAssocID="{B8E11FA8-6B0C-472D-B9C4-84A803A2C855}" presName="pyramid" presStyleLbl="node1" presStyleIdx="0" presStyleCnt="1" custScaleX="60978" custScaleY="97644" custLinFactNeighborX="4068" custLinFactNeighborY="3101"/>
      <dgm:spPr/>
    </dgm:pt>
    <dgm:pt modelId="{AE582327-A69B-4863-A229-E9FBAC54FDC0}" type="pres">
      <dgm:prSet presAssocID="{B8E11FA8-6B0C-472D-B9C4-84A803A2C855}" presName="theList" presStyleCnt="0"/>
      <dgm:spPr/>
    </dgm:pt>
    <dgm:pt modelId="{CD7B9B62-E282-4A93-9E42-9CFA1558D6E9}" type="pres">
      <dgm:prSet presAssocID="{F8803D70-4A47-4202-85BD-EBDFF86A0562}" presName="aNode" presStyleLbl="fgAcc1" presStyleIdx="0" presStyleCnt="3" custScaleX="80338" custScaleY="55864" custLinFactY="61946" custLinFactNeighborX="-5286" custLinFactNeighborY="100000">
        <dgm:presLayoutVars>
          <dgm:bulletEnabled val="1"/>
        </dgm:presLayoutVars>
      </dgm:prSet>
      <dgm:spPr/>
    </dgm:pt>
    <dgm:pt modelId="{56DD6FCD-C086-40D3-B61F-C3183C65A30C}" type="pres">
      <dgm:prSet presAssocID="{F8803D70-4A47-4202-85BD-EBDFF86A0562}" presName="aSpace" presStyleCnt="0"/>
      <dgm:spPr/>
    </dgm:pt>
    <dgm:pt modelId="{F987B699-42D8-476B-9CCC-EE77BB9D52A6}" type="pres">
      <dgm:prSet presAssocID="{D7428361-BE9E-4C09-B050-069D9979ECA9}" presName="aNode" presStyleLbl="fgAcc1" presStyleIdx="1" presStyleCnt="3" custScaleX="83421" custScaleY="75486" custLinFactY="89420" custLinFactNeighborX="-6642" custLinFactNeighborY="100000">
        <dgm:presLayoutVars>
          <dgm:bulletEnabled val="1"/>
        </dgm:presLayoutVars>
      </dgm:prSet>
      <dgm:spPr/>
    </dgm:pt>
    <dgm:pt modelId="{721C2A2A-DB54-4495-88D3-1DF7D77EBD81}" type="pres">
      <dgm:prSet presAssocID="{D7428361-BE9E-4C09-B050-069D9979ECA9}" presName="aSpace" presStyleCnt="0"/>
      <dgm:spPr/>
    </dgm:pt>
    <dgm:pt modelId="{37BFC09F-9B80-4D79-A854-28CD2DD9B77B}" type="pres">
      <dgm:prSet presAssocID="{4960C511-73AE-4F3B-A31B-C14B5BB9838A}" presName="aNode" presStyleLbl="fgAcc1" presStyleIdx="2" presStyleCnt="3" custScaleX="72022" custScaleY="62782" custLinFactY="-155159" custLinFactNeighborX="-7290" custLinFactNeighborY="-200000">
        <dgm:presLayoutVars>
          <dgm:bulletEnabled val="1"/>
        </dgm:presLayoutVars>
      </dgm:prSet>
      <dgm:spPr/>
    </dgm:pt>
    <dgm:pt modelId="{DC3FE654-E81E-4511-B65E-C09A47E1E37C}" type="pres">
      <dgm:prSet presAssocID="{4960C511-73AE-4F3B-A31B-C14B5BB9838A}" presName="aSpace" presStyleCnt="0"/>
      <dgm:spPr/>
    </dgm:pt>
  </dgm:ptLst>
  <dgm:cxnLst>
    <dgm:cxn modelId="{BB781C20-4B97-41B7-B2E1-6260F0382A92}" type="presOf" srcId="{F8803D70-4A47-4202-85BD-EBDFF86A0562}" destId="{CD7B9B62-E282-4A93-9E42-9CFA1558D6E9}" srcOrd="0" destOrd="0" presId="urn:microsoft.com/office/officeart/2005/8/layout/pyramid2"/>
    <dgm:cxn modelId="{9BCDA36B-827D-4219-A0A8-3142BD0F2CCC}" srcId="{B8E11FA8-6B0C-472D-B9C4-84A803A2C855}" destId="{D7428361-BE9E-4C09-B050-069D9979ECA9}" srcOrd="1" destOrd="0" parTransId="{9F4A1029-3980-45B1-83A9-8172D38B95F8}" sibTransId="{3E9A54A4-FCEA-4DE4-BAD3-014E6934721E}"/>
    <dgm:cxn modelId="{143D646F-0385-4C1D-81B6-78EDB226F043}" srcId="{B8E11FA8-6B0C-472D-B9C4-84A803A2C855}" destId="{F8803D70-4A47-4202-85BD-EBDFF86A0562}" srcOrd="0" destOrd="0" parTransId="{BC817896-0583-4B10-A50F-03E903E89797}" sibTransId="{A4E73820-1E74-4E59-AE29-C058FF1566DF}"/>
    <dgm:cxn modelId="{769EFF84-92A6-4F39-9821-A7102513C56A}" type="presOf" srcId="{D7428361-BE9E-4C09-B050-069D9979ECA9}" destId="{F987B699-42D8-476B-9CCC-EE77BB9D52A6}" srcOrd="0" destOrd="0" presId="urn:microsoft.com/office/officeart/2005/8/layout/pyramid2"/>
    <dgm:cxn modelId="{A1106CBE-1C50-44EF-A6AD-836788E82DD5}" type="presOf" srcId="{B8E11FA8-6B0C-472D-B9C4-84A803A2C855}" destId="{1CB27DC4-E2FF-459A-B3E6-AE9BE2BBD1E6}" srcOrd="0" destOrd="0" presId="urn:microsoft.com/office/officeart/2005/8/layout/pyramid2"/>
    <dgm:cxn modelId="{765B39C4-945D-4905-B3C6-22BA7ACEA50B}" type="presOf" srcId="{4960C511-73AE-4F3B-A31B-C14B5BB9838A}" destId="{37BFC09F-9B80-4D79-A854-28CD2DD9B77B}" srcOrd="0" destOrd="0" presId="urn:microsoft.com/office/officeart/2005/8/layout/pyramid2"/>
    <dgm:cxn modelId="{97AA7FD9-71D2-4582-9383-E70CE9AD80B1}" srcId="{B8E11FA8-6B0C-472D-B9C4-84A803A2C855}" destId="{4960C511-73AE-4F3B-A31B-C14B5BB9838A}" srcOrd="2" destOrd="0" parTransId="{44C60BAF-9AE7-49B6-A39E-582ED05F581F}" sibTransId="{9220F274-EDA9-4E67-A71A-AC25127017FE}"/>
    <dgm:cxn modelId="{E3CAF94E-CE73-415B-BF12-1602D5CB3307}" type="presParOf" srcId="{1CB27DC4-E2FF-459A-B3E6-AE9BE2BBD1E6}" destId="{3C987C07-D2F5-42F4-B915-A8C514492DAF}" srcOrd="0" destOrd="0" presId="urn:microsoft.com/office/officeart/2005/8/layout/pyramid2"/>
    <dgm:cxn modelId="{6426EAB1-C44B-469C-8E24-5013B9BFEFE0}" type="presParOf" srcId="{1CB27DC4-E2FF-459A-B3E6-AE9BE2BBD1E6}" destId="{AE582327-A69B-4863-A229-E9FBAC54FDC0}" srcOrd="1" destOrd="0" presId="urn:microsoft.com/office/officeart/2005/8/layout/pyramid2"/>
    <dgm:cxn modelId="{F9766012-C97A-42DF-A620-0FB00AA5A2F2}" type="presParOf" srcId="{AE582327-A69B-4863-A229-E9FBAC54FDC0}" destId="{CD7B9B62-E282-4A93-9E42-9CFA1558D6E9}" srcOrd="0" destOrd="0" presId="urn:microsoft.com/office/officeart/2005/8/layout/pyramid2"/>
    <dgm:cxn modelId="{BB867D63-15BA-4132-A735-A6EC9E38A6F0}" type="presParOf" srcId="{AE582327-A69B-4863-A229-E9FBAC54FDC0}" destId="{56DD6FCD-C086-40D3-B61F-C3183C65A30C}" srcOrd="1" destOrd="0" presId="urn:microsoft.com/office/officeart/2005/8/layout/pyramid2"/>
    <dgm:cxn modelId="{818FB2FE-344C-4602-81D7-9988C48EED7E}" type="presParOf" srcId="{AE582327-A69B-4863-A229-E9FBAC54FDC0}" destId="{F987B699-42D8-476B-9CCC-EE77BB9D52A6}" srcOrd="2" destOrd="0" presId="urn:microsoft.com/office/officeart/2005/8/layout/pyramid2"/>
    <dgm:cxn modelId="{85606AA5-85ED-4FA2-9FCC-E47E3CC3D082}" type="presParOf" srcId="{AE582327-A69B-4863-A229-E9FBAC54FDC0}" destId="{721C2A2A-DB54-4495-88D3-1DF7D77EBD81}" srcOrd="3" destOrd="0" presId="urn:microsoft.com/office/officeart/2005/8/layout/pyramid2"/>
    <dgm:cxn modelId="{0D078D1B-C0A8-4A9A-AE66-44D47CE74378}" type="presParOf" srcId="{AE582327-A69B-4863-A229-E9FBAC54FDC0}" destId="{37BFC09F-9B80-4D79-A854-28CD2DD9B77B}" srcOrd="4" destOrd="0" presId="urn:microsoft.com/office/officeart/2005/8/layout/pyramid2"/>
    <dgm:cxn modelId="{A0FBA87A-4742-400C-9E7E-ED0964D3B1F2}" type="presParOf" srcId="{AE582327-A69B-4863-A229-E9FBAC54FDC0}" destId="{DC3FE654-E81E-4511-B65E-C09A47E1E37C}" srcOrd="5" destOrd="0" presId="urn:microsoft.com/office/officeart/2005/8/layout/pyramid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4.xml><?xml version="1.0" encoding="utf-8"?>
<dgm:dataModel xmlns:dgm="http://schemas.openxmlformats.org/drawingml/2006/diagram" xmlns:a="http://schemas.openxmlformats.org/drawingml/2006/main">
  <dgm:ptLst>
    <dgm:pt modelId="{92DF1D60-AB94-4028-ADE7-FEBA0F5716BD}" type="doc">
      <dgm:prSet loTypeId="urn:microsoft.com/office/officeart/2005/8/layout/hList6" loCatId="list" qsTypeId="urn:microsoft.com/office/officeart/2005/8/quickstyle/simple1" qsCatId="simple" csTypeId="urn:microsoft.com/office/officeart/2005/8/colors/accent1_2" csCatId="accent1" phldr="1"/>
      <dgm:spPr/>
      <dgm:t>
        <a:bodyPr/>
        <a:lstStyle/>
        <a:p>
          <a:endParaRPr lang="en-US"/>
        </a:p>
      </dgm:t>
    </dgm:pt>
    <dgm:pt modelId="{28782BF0-46B5-4501-AC9A-ADAB7E410F91}">
      <dgm:prSet phldrT="[Text]"/>
      <dgm:spPr>
        <a:solidFill>
          <a:srgbClr val="7030A0"/>
        </a:solidFill>
      </dgm:spPr>
      <dgm:t>
        <a:bodyPr/>
        <a:lstStyle/>
        <a:p>
          <a:r>
            <a:rPr lang="en-US" b="1" dirty="0"/>
            <a:t>Responsibility (Qualification)</a:t>
          </a:r>
        </a:p>
        <a:p>
          <a:r>
            <a:rPr lang="en-US" b="1" dirty="0"/>
            <a:t>Only</a:t>
          </a:r>
        </a:p>
      </dgm:t>
    </dgm:pt>
    <dgm:pt modelId="{4AAE7C2D-1EC5-4F3D-B07F-876781263943}" type="parTrans" cxnId="{7C216253-4763-4844-A1E9-0FFB3874B1CC}">
      <dgm:prSet/>
      <dgm:spPr/>
      <dgm:t>
        <a:bodyPr/>
        <a:lstStyle/>
        <a:p>
          <a:endParaRPr lang="en-US"/>
        </a:p>
      </dgm:t>
    </dgm:pt>
    <dgm:pt modelId="{DDB0FF60-0ADD-493D-889B-63F0AF1F6779}" type="sibTrans" cxnId="{7C216253-4763-4844-A1E9-0FFB3874B1CC}">
      <dgm:prSet/>
      <dgm:spPr/>
      <dgm:t>
        <a:bodyPr/>
        <a:lstStyle/>
        <a:p>
          <a:endParaRPr lang="en-US"/>
        </a:p>
      </dgm:t>
    </dgm:pt>
    <dgm:pt modelId="{AAF0A5CB-CC95-4890-94F2-2E7B578E96A1}">
      <dgm:prSet phldrT="[Text]"/>
      <dgm:spPr>
        <a:solidFill>
          <a:srgbClr val="7030A0"/>
        </a:solidFill>
      </dgm:spPr>
      <dgm:t>
        <a:bodyPr/>
        <a:lstStyle/>
        <a:p>
          <a:r>
            <a:rPr lang="en-US" dirty="0"/>
            <a:t>On a case-by-case basis</a:t>
          </a:r>
        </a:p>
      </dgm:t>
    </dgm:pt>
    <dgm:pt modelId="{4A187DBE-D706-468A-B625-3D7BBBC3A63A}" type="parTrans" cxnId="{2CCEFB92-8516-4129-9F3F-EDBC7A27C49F}">
      <dgm:prSet/>
      <dgm:spPr/>
      <dgm:t>
        <a:bodyPr/>
        <a:lstStyle/>
        <a:p>
          <a:endParaRPr lang="en-US"/>
        </a:p>
      </dgm:t>
    </dgm:pt>
    <dgm:pt modelId="{A0C14401-90A3-4F6A-ACCD-0821D34DF854}" type="sibTrans" cxnId="{2CCEFB92-8516-4129-9F3F-EDBC7A27C49F}">
      <dgm:prSet/>
      <dgm:spPr/>
      <dgm:t>
        <a:bodyPr/>
        <a:lstStyle/>
        <a:p>
          <a:endParaRPr lang="en-US"/>
        </a:p>
      </dgm:t>
    </dgm:pt>
    <dgm:pt modelId="{17DBB9D7-D5FB-4DB4-9B97-97CA9BE5BFAE}">
      <dgm:prSet phldrT="[Text]"/>
      <dgm:spPr>
        <a:solidFill>
          <a:srgbClr val="FFC000"/>
        </a:solidFill>
      </dgm:spPr>
      <dgm:t>
        <a:bodyPr/>
        <a:lstStyle/>
        <a:p>
          <a:r>
            <a:rPr lang="en-US" b="1" dirty="0">
              <a:solidFill>
                <a:schemeClr val="bg1">
                  <a:lumMod val="50000"/>
                </a:schemeClr>
              </a:solidFill>
            </a:rPr>
            <a:t>Adjudicative Debarment for “Bad Acts”</a:t>
          </a:r>
        </a:p>
      </dgm:t>
    </dgm:pt>
    <dgm:pt modelId="{6BA25A70-BB1F-4DED-9771-AFA43E4EF4E5}" type="parTrans" cxnId="{237A7C81-7E23-44F2-BB92-832977756796}">
      <dgm:prSet/>
      <dgm:spPr/>
      <dgm:t>
        <a:bodyPr/>
        <a:lstStyle/>
        <a:p>
          <a:endParaRPr lang="en-US"/>
        </a:p>
      </dgm:t>
    </dgm:pt>
    <dgm:pt modelId="{191729DE-112B-4F61-A5B2-0333BADAE8C8}" type="sibTrans" cxnId="{237A7C81-7E23-44F2-BB92-832977756796}">
      <dgm:prSet/>
      <dgm:spPr/>
      <dgm:t>
        <a:bodyPr/>
        <a:lstStyle/>
        <a:p>
          <a:endParaRPr lang="en-US"/>
        </a:p>
      </dgm:t>
    </dgm:pt>
    <dgm:pt modelId="{D1122BAE-F27D-45D6-B653-5F0E8BCF19E6}">
      <dgm:prSet phldrT="[Text]"/>
      <dgm:spPr>
        <a:solidFill>
          <a:srgbClr val="FFC000"/>
        </a:solidFill>
      </dgm:spPr>
      <dgm:t>
        <a:bodyPr/>
        <a:lstStyle/>
        <a:p>
          <a:r>
            <a:rPr lang="en-US" dirty="0">
              <a:solidFill>
                <a:schemeClr val="bg1">
                  <a:lumMod val="50000"/>
                </a:schemeClr>
              </a:solidFill>
            </a:rPr>
            <a:t>E.g., World Bank</a:t>
          </a:r>
        </a:p>
      </dgm:t>
    </dgm:pt>
    <dgm:pt modelId="{658A0BE8-1D6F-4E96-9275-6F0EEB081817}" type="parTrans" cxnId="{A714A620-520A-4633-8E2E-CFB4CE1F41AF}">
      <dgm:prSet/>
      <dgm:spPr/>
      <dgm:t>
        <a:bodyPr/>
        <a:lstStyle/>
        <a:p>
          <a:endParaRPr lang="en-US"/>
        </a:p>
      </dgm:t>
    </dgm:pt>
    <dgm:pt modelId="{27A65740-8634-402E-A42F-76CAD9168DC3}" type="sibTrans" cxnId="{A714A620-520A-4633-8E2E-CFB4CE1F41AF}">
      <dgm:prSet/>
      <dgm:spPr/>
      <dgm:t>
        <a:bodyPr/>
        <a:lstStyle/>
        <a:p>
          <a:endParaRPr lang="en-US"/>
        </a:p>
      </dgm:t>
    </dgm:pt>
    <dgm:pt modelId="{73E262C1-BE32-4A38-A9F2-7CE112589C49}">
      <dgm:prSet phldrT="[Text]"/>
      <dgm:spPr>
        <a:solidFill>
          <a:srgbClr val="002060"/>
        </a:solidFill>
      </dgm:spPr>
      <dgm:t>
        <a:bodyPr/>
        <a:lstStyle/>
        <a:p>
          <a:r>
            <a:rPr lang="en-US" b="1" dirty="0"/>
            <a:t>Discretionary Debarment – U.S. Federal</a:t>
          </a:r>
        </a:p>
      </dgm:t>
    </dgm:pt>
    <dgm:pt modelId="{77376C59-B3D5-4C0A-95E6-B0A0B789D376}" type="parTrans" cxnId="{8EB3F9E0-05B7-4101-810F-AB5B062736B2}">
      <dgm:prSet/>
      <dgm:spPr/>
      <dgm:t>
        <a:bodyPr/>
        <a:lstStyle/>
        <a:p>
          <a:endParaRPr lang="en-US"/>
        </a:p>
      </dgm:t>
    </dgm:pt>
    <dgm:pt modelId="{279CC60E-68F5-4818-9ABF-F80049BB25A4}" type="sibTrans" cxnId="{8EB3F9E0-05B7-4101-810F-AB5B062736B2}">
      <dgm:prSet/>
      <dgm:spPr/>
      <dgm:t>
        <a:bodyPr/>
        <a:lstStyle/>
        <a:p>
          <a:endParaRPr lang="en-US"/>
        </a:p>
      </dgm:t>
    </dgm:pt>
    <dgm:pt modelId="{2393A738-E9A9-417E-83E2-778102B978D3}">
      <dgm:prSet phldrT="[Text]"/>
      <dgm:spPr>
        <a:solidFill>
          <a:srgbClr val="7030A0"/>
        </a:solidFill>
      </dgm:spPr>
      <dgm:t>
        <a:bodyPr/>
        <a:lstStyle/>
        <a:p>
          <a:r>
            <a:rPr lang="en-US" dirty="0"/>
            <a:t>In U.S. – done by contracting officer</a:t>
          </a:r>
        </a:p>
      </dgm:t>
    </dgm:pt>
    <dgm:pt modelId="{F1E694BD-0833-4694-BA5D-1EC40B9F83FA}" type="parTrans" cxnId="{37CF0089-15CB-4D25-8805-B8E4D811E705}">
      <dgm:prSet/>
      <dgm:spPr/>
      <dgm:t>
        <a:bodyPr/>
        <a:lstStyle/>
        <a:p>
          <a:endParaRPr lang="en-US"/>
        </a:p>
      </dgm:t>
    </dgm:pt>
    <dgm:pt modelId="{4CF9BC6D-E628-450D-B3BC-B87C3DB92884}" type="sibTrans" cxnId="{37CF0089-15CB-4D25-8805-B8E4D811E705}">
      <dgm:prSet/>
      <dgm:spPr/>
      <dgm:t>
        <a:bodyPr/>
        <a:lstStyle/>
        <a:p>
          <a:endParaRPr lang="en-US"/>
        </a:p>
      </dgm:t>
    </dgm:pt>
    <dgm:pt modelId="{F3EACF03-4D07-481D-9D90-BB871D591301}">
      <dgm:prSet phldrT="[Text]"/>
      <dgm:spPr>
        <a:solidFill>
          <a:srgbClr val="002060"/>
        </a:solidFill>
      </dgm:spPr>
      <dgm:t>
        <a:bodyPr/>
        <a:lstStyle/>
        <a:p>
          <a:r>
            <a:rPr lang="en-US" dirty="0"/>
            <a:t>Debarment is a cross-government “meta-qualification” determination </a:t>
          </a:r>
        </a:p>
      </dgm:t>
    </dgm:pt>
    <dgm:pt modelId="{DE53F07F-F647-4D24-BE71-44B22F8936FD}" type="parTrans" cxnId="{D05307E9-D700-4DE9-8D76-BF7CBCA7AB0A}">
      <dgm:prSet/>
      <dgm:spPr/>
      <dgm:t>
        <a:bodyPr/>
        <a:lstStyle/>
        <a:p>
          <a:endParaRPr lang="en-US"/>
        </a:p>
      </dgm:t>
    </dgm:pt>
    <dgm:pt modelId="{36E09A7A-C1E0-4AD4-94FB-57F2B52A6F78}" type="sibTrans" cxnId="{D05307E9-D700-4DE9-8D76-BF7CBCA7AB0A}">
      <dgm:prSet/>
      <dgm:spPr/>
      <dgm:t>
        <a:bodyPr/>
        <a:lstStyle/>
        <a:p>
          <a:endParaRPr lang="en-US"/>
        </a:p>
      </dgm:t>
    </dgm:pt>
    <dgm:pt modelId="{394BB431-E708-4960-8C85-BF0DCA34E9FF}">
      <dgm:prSet phldrT="[Text]"/>
      <dgm:spPr>
        <a:solidFill>
          <a:srgbClr val="002060"/>
        </a:solidFill>
      </dgm:spPr>
      <dgm:t>
        <a:bodyPr/>
        <a:lstStyle/>
        <a:p>
          <a:r>
            <a:rPr lang="en-US" dirty="0"/>
            <a:t>Based on “present responsibility”:  focus on present status</a:t>
          </a:r>
        </a:p>
      </dgm:t>
    </dgm:pt>
    <dgm:pt modelId="{58FBA788-BC5B-41C4-B008-5AFA23C48497}" type="parTrans" cxnId="{6C349D48-9197-40F6-9437-74964236A8E7}">
      <dgm:prSet/>
      <dgm:spPr/>
      <dgm:t>
        <a:bodyPr/>
        <a:lstStyle/>
        <a:p>
          <a:endParaRPr lang="en-US"/>
        </a:p>
      </dgm:t>
    </dgm:pt>
    <dgm:pt modelId="{8D9D24E5-D4E4-4FA7-8E0E-168F73FAEADD}" type="sibTrans" cxnId="{6C349D48-9197-40F6-9437-74964236A8E7}">
      <dgm:prSet/>
      <dgm:spPr/>
      <dgm:t>
        <a:bodyPr/>
        <a:lstStyle/>
        <a:p>
          <a:endParaRPr lang="en-US"/>
        </a:p>
      </dgm:t>
    </dgm:pt>
    <dgm:pt modelId="{6F9405CB-76E2-4259-81FC-E24BF870329A}">
      <dgm:prSet/>
      <dgm:spPr>
        <a:solidFill>
          <a:srgbClr val="14012D"/>
        </a:solidFill>
      </dgm:spPr>
      <dgm:t>
        <a:bodyPr/>
        <a:lstStyle/>
        <a:p>
          <a:r>
            <a:rPr lang="en-US" b="1" dirty="0">
              <a:solidFill>
                <a:schemeClr val="tx1"/>
              </a:solidFill>
            </a:rPr>
            <a:t>Court-Ordered Debarment, After Judicial Proceedings</a:t>
          </a:r>
        </a:p>
      </dgm:t>
    </dgm:pt>
    <dgm:pt modelId="{02817B38-8D83-420E-9DB0-B82202E930E4}" type="parTrans" cxnId="{A0D08557-D34C-4D61-A05C-2C5F28863E87}">
      <dgm:prSet/>
      <dgm:spPr/>
      <dgm:t>
        <a:bodyPr/>
        <a:lstStyle/>
        <a:p>
          <a:endParaRPr lang="en-US"/>
        </a:p>
      </dgm:t>
    </dgm:pt>
    <dgm:pt modelId="{D40958C4-886D-4A6D-8605-FF738EB232F8}" type="sibTrans" cxnId="{A0D08557-D34C-4D61-A05C-2C5F28863E87}">
      <dgm:prSet/>
      <dgm:spPr/>
      <dgm:t>
        <a:bodyPr/>
        <a:lstStyle/>
        <a:p>
          <a:endParaRPr lang="en-US"/>
        </a:p>
      </dgm:t>
    </dgm:pt>
    <dgm:pt modelId="{D6F7F5F8-A38B-4DE8-97D9-83ACC51B301B}">
      <dgm:prSet phldrT="[Text]"/>
      <dgm:spPr>
        <a:solidFill>
          <a:srgbClr val="7030A0"/>
        </a:solidFill>
      </dgm:spPr>
      <dgm:t>
        <a:bodyPr/>
        <a:lstStyle/>
        <a:p>
          <a:r>
            <a:rPr lang="en-US" dirty="0"/>
            <a:t>Allowed by new EU Directives</a:t>
          </a:r>
        </a:p>
      </dgm:t>
    </dgm:pt>
    <dgm:pt modelId="{2A85EB00-CE30-4407-94DD-80423B94259C}" type="parTrans" cxnId="{E2FF25F4-6F82-45B8-AF6C-33ABC80E3A6C}">
      <dgm:prSet/>
      <dgm:spPr/>
    </dgm:pt>
    <dgm:pt modelId="{5135388E-98C9-4D35-BF20-3FF4315FE07C}" type="sibTrans" cxnId="{E2FF25F4-6F82-45B8-AF6C-33ABC80E3A6C}">
      <dgm:prSet/>
      <dgm:spPr/>
    </dgm:pt>
    <dgm:pt modelId="{3097AB68-154D-41B2-AC03-471E1F759398}" type="pres">
      <dgm:prSet presAssocID="{92DF1D60-AB94-4028-ADE7-FEBA0F5716BD}" presName="Name0" presStyleCnt="0">
        <dgm:presLayoutVars>
          <dgm:dir/>
          <dgm:resizeHandles val="exact"/>
        </dgm:presLayoutVars>
      </dgm:prSet>
      <dgm:spPr/>
    </dgm:pt>
    <dgm:pt modelId="{D5FD1C14-F738-4F02-ABB4-F8BC669914AA}" type="pres">
      <dgm:prSet presAssocID="{28782BF0-46B5-4501-AC9A-ADAB7E410F91}" presName="node" presStyleLbl="node1" presStyleIdx="0" presStyleCnt="4">
        <dgm:presLayoutVars>
          <dgm:bulletEnabled val="1"/>
        </dgm:presLayoutVars>
      </dgm:prSet>
      <dgm:spPr/>
    </dgm:pt>
    <dgm:pt modelId="{B842F83D-5B9B-4D17-AE4F-9C0135AAB157}" type="pres">
      <dgm:prSet presAssocID="{DDB0FF60-0ADD-493D-889B-63F0AF1F6779}" presName="sibTrans" presStyleCnt="0"/>
      <dgm:spPr/>
    </dgm:pt>
    <dgm:pt modelId="{BFF605F8-ACD6-4061-972B-268BE58D0A0F}" type="pres">
      <dgm:prSet presAssocID="{17DBB9D7-D5FB-4DB4-9B97-97CA9BE5BFAE}" presName="node" presStyleLbl="node1" presStyleIdx="1" presStyleCnt="4" custLinFactX="96250" custLinFactNeighborX="100000" custLinFactNeighborY="-541">
        <dgm:presLayoutVars>
          <dgm:bulletEnabled val="1"/>
        </dgm:presLayoutVars>
      </dgm:prSet>
      <dgm:spPr/>
    </dgm:pt>
    <dgm:pt modelId="{7AA826F6-88F0-4443-A724-55D5E91EFB0C}" type="pres">
      <dgm:prSet presAssocID="{191729DE-112B-4F61-A5B2-0333BADAE8C8}" presName="sibTrans" presStyleCnt="0"/>
      <dgm:spPr/>
    </dgm:pt>
    <dgm:pt modelId="{C90C95B3-19CC-4E59-AF24-B2CA3312E7EF}" type="pres">
      <dgm:prSet presAssocID="{6F9405CB-76E2-4259-81FC-E24BF870329A}" presName="node" presStyleLbl="node1" presStyleIdx="2" presStyleCnt="4" custLinFactX="94426" custLinFactNeighborX="100000" custLinFactNeighborY="1081">
        <dgm:presLayoutVars>
          <dgm:bulletEnabled val="1"/>
        </dgm:presLayoutVars>
      </dgm:prSet>
      <dgm:spPr/>
    </dgm:pt>
    <dgm:pt modelId="{F10EEFD2-FF23-4962-992B-CB2BB74A5B66}" type="pres">
      <dgm:prSet presAssocID="{D40958C4-886D-4A6D-8605-FF738EB232F8}" presName="sibTrans" presStyleCnt="0"/>
      <dgm:spPr/>
    </dgm:pt>
    <dgm:pt modelId="{698F460A-15EB-4594-8F12-E79B6B6D53CF}" type="pres">
      <dgm:prSet presAssocID="{73E262C1-BE32-4A38-A9F2-7CE112589C49}" presName="node" presStyleLbl="node1" presStyleIdx="3" presStyleCnt="4" custLinFactX="-200000" custLinFactNeighborX="-225679" custLinFactNeighborY="-541">
        <dgm:presLayoutVars>
          <dgm:bulletEnabled val="1"/>
        </dgm:presLayoutVars>
      </dgm:prSet>
      <dgm:spPr/>
    </dgm:pt>
  </dgm:ptLst>
  <dgm:cxnLst>
    <dgm:cxn modelId="{CF617F00-2157-4DBB-84A6-55E059DE8844}" type="presOf" srcId="{17DBB9D7-D5FB-4DB4-9B97-97CA9BE5BFAE}" destId="{BFF605F8-ACD6-4061-972B-268BE58D0A0F}" srcOrd="0" destOrd="0" presId="urn:microsoft.com/office/officeart/2005/8/layout/hList6"/>
    <dgm:cxn modelId="{04B10E0D-6ECF-40F4-B0F7-0A66972A6931}" type="presOf" srcId="{D1122BAE-F27D-45D6-B653-5F0E8BCF19E6}" destId="{BFF605F8-ACD6-4061-972B-268BE58D0A0F}" srcOrd="0" destOrd="1" presId="urn:microsoft.com/office/officeart/2005/8/layout/hList6"/>
    <dgm:cxn modelId="{E3B5D312-0394-48B4-8362-24BA841459D1}" type="presOf" srcId="{D6F7F5F8-A38B-4DE8-97D9-83ACC51B301B}" destId="{D5FD1C14-F738-4F02-ABB4-F8BC669914AA}" srcOrd="0" destOrd="3" presId="urn:microsoft.com/office/officeart/2005/8/layout/hList6"/>
    <dgm:cxn modelId="{A714A620-520A-4633-8E2E-CFB4CE1F41AF}" srcId="{17DBB9D7-D5FB-4DB4-9B97-97CA9BE5BFAE}" destId="{D1122BAE-F27D-45D6-B653-5F0E8BCF19E6}" srcOrd="0" destOrd="0" parTransId="{658A0BE8-1D6F-4E96-9275-6F0EEB081817}" sibTransId="{27A65740-8634-402E-A42F-76CAD9168DC3}"/>
    <dgm:cxn modelId="{F1C5E620-CB2E-4FE9-890F-5C1627680F39}" type="presOf" srcId="{92DF1D60-AB94-4028-ADE7-FEBA0F5716BD}" destId="{3097AB68-154D-41B2-AC03-471E1F759398}" srcOrd="0" destOrd="0" presId="urn:microsoft.com/office/officeart/2005/8/layout/hList6"/>
    <dgm:cxn modelId="{8FBAFA2E-E218-420F-8409-8693A4336B38}" type="presOf" srcId="{394BB431-E708-4960-8C85-BF0DCA34E9FF}" destId="{698F460A-15EB-4594-8F12-E79B6B6D53CF}" srcOrd="0" destOrd="1" presId="urn:microsoft.com/office/officeart/2005/8/layout/hList6"/>
    <dgm:cxn modelId="{64E1E65E-B84F-4208-9FDA-BDD3094CE043}" type="presOf" srcId="{6F9405CB-76E2-4259-81FC-E24BF870329A}" destId="{C90C95B3-19CC-4E59-AF24-B2CA3312E7EF}" srcOrd="0" destOrd="0" presId="urn:microsoft.com/office/officeart/2005/8/layout/hList6"/>
    <dgm:cxn modelId="{6C349D48-9197-40F6-9437-74964236A8E7}" srcId="{73E262C1-BE32-4A38-A9F2-7CE112589C49}" destId="{394BB431-E708-4960-8C85-BF0DCA34E9FF}" srcOrd="0" destOrd="0" parTransId="{58FBA788-BC5B-41C4-B008-5AFA23C48497}" sibTransId="{8D9D24E5-D4E4-4FA7-8E0E-168F73FAEADD}"/>
    <dgm:cxn modelId="{7C216253-4763-4844-A1E9-0FFB3874B1CC}" srcId="{92DF1D60-AB94-4028-ADE7-FEBA0F5716BD}" destId="{28782BF0-46B5-4501-AC9A-ADAB7E410F91}" srcOrd="0" destOrd="0" parTransId="{4AAE7C2D-1EC5-4F3D-B07F-876781263943}" sibTransId="{DDB0FF60-0ADD-493D-889B-63F0AF1F6779}"/>
    <dgm:cxn modelId="{A0D08557-D34C-4D61-A05C-2C5F28863E87}" srcId="{92DF1D60-AB94-4028-ADE7-FEBA0F5716BD}" destId="{6F9405CB-76E2-4259-81FC-E24BF870329A}" srcOrd="2" destOrd="0" parTransId="{02817B38-8D83-420E-9DB0-B82202E930E4}" sibTransId="{D40958C4-886D-4A6D-8605-FF738EB232F8}"/>
    <dgm:cxn modelId="{237A7C81-7E23-44F2-BB92-832977756796}" srcId="{92DF1D60-AB94-4028-ADE7-FEBA0F5716BD}" destId="{17DBB9D7-D5FB-4DB4-9B97-97CA9BE5BFAE}" srcOrd="1" destOrd="0" parTransId="{6BA25A70-BB1F-4DED-9771-AFA43E4EF4E5}" sibTransId="{191729DE-112B-4F61-A5B2-0333BADAE8C8}"/>
    <dgm:cxn modelId="{37CF0089-15CB-4D25-8805-B8E4D811E705}" srcId="{28782BF0-46B5-4501-AC9A-ADAB7E410F91}" destId="{2393A738-E9A9-417E-83E2-778102B978D3}" srcOrd="1" destOrd="0" parTransId="{F1E694BD-0833-4694-BA5D-1EC40B9F83FA}" sibTransId="{4CF9BC6D-E628-450D-B3BC-B87C3DB92884}"/>
    <dgm:cxn modelId="{2CCEFB92-8516-4129-9F3F-EDBC7A27C49F}" srcId="{28782BF0-46B5-4501-AC9A-ADAB7E410F91}" destId="{AAF0A5CB-CC95-4890-94F2-2E7B578E96A1}" srcOrd="0" destOrd="0" parTransId="{4A187DBE-D706-468A-B625-3D7BBBC3A63A}" sibTransId="{A0C14401-90A3-4F6A-ACCD-0821D34DF854}"/>
    <dgm:cxn modelId="{32138297-9B47-4F03-B538-7E9935E342C2}" type="presOf" srcId="{2393A738-E9A9-417E-83E2-778102B978D3}" destId="{D5FD1C14-F738-4F02-ABB4-F8BC669914AA}" srcOrd="0" destOrd="2" presId="urn:microsoft.com/office/officeart/2005/8/layout/hList6"/>
    <dgm:cxn modelId="{03C0E4A7-D490-409C-922A-1DB89DB6F938}" type="presOf" srcId="{28782BF0-46B5-4501-AC9A-ADAB7E410F91}" destId="{D5FD1C14-F738-4F02-ABB4-F8BC669914AA}" srcOrd="0" destOrd="0" presId="urn:microsoft.com/office/officeart/2005/8/layout/hList6"/>
    <dgm:cxn modelId="{EB7A3EAF-D5A9-40CF-8D12-3B3380F600C2}" type="presOf" srcId="{73E262C1-BE32-4A38-A9F2-7CE112589C49}" destId="{698F460A-15EB-4594-8F12-E79B6B6D53CF}" srcOrd="0" destOrd="0" presId="urn:microsoft.com/office/officeart/2005/8/layout/hList6"/>
    <dgm:cxn modelId="{635039B8-BACD-4340-989F-6F3E9DEB105A}" type="presOf" srcId="{F3EACF03-4D07-481D-9D90-BB871D591301}" destId="{698F460A-15EB-4594-8F12-E79B6B6D53CF}" srcOrd="0" destOrd="2" presId="urn:microsoft.com/office/officeart/2005/8/layout/hList6"/>
    <dgm:cxn modelId="{D3B257D2-F64B-40F3-A563-D433FB4D1E57}" type="presOf" srcId="{AAF0A5CB-CC95-4890-94F2-2E7B578E96A1}" destId="{D5FD1C14-F738-4F02-ABB4-F8BC669914AA}" srcOrd="0" destOrd="1" presId="urn:microsoft.com/office/officeart/2005/8/layout/hList6"/>
    <dgm:cxn modelId="{8EB3F9E0-05B7-4101-810F-AB5B062736B2}" srcId="{92DF1D60-AB94-4028-ADE7-FEBA0F5716BD}" destId="{73E262C1-BE32-4A38-A9F2-7CE112589C49}" srcOrd="3" destOrd="0" parTransId="{77376C59-B3D5-4C0A-95E6-B0A0B789D376}" sibTransId="{279CC60E-68F5-4818-9ABF-F80049BB25A4}"/>
    <dgm:cxn modelId="{D05307E9-D700-4DE9-8D76-BF7CBCA7AB0A}" srcId="{73E262C1-BE32-4A38-A9F2-7CE112589C49}" destId="{F3EACF03-4D07-481D-9D90-BB871D591301}" srcOrd="1" destOrd="0" parTransId="{DE53F07F-F647-4D24-BE71-44B22F8936FD}" sibTransId="{36E09A7A-C1E0-4AD4-94FB-57F2B52A6F78}"/>
    <dgm:cxn modelId="{E2FF25F4-6F82-45B8-AF6C-33ABC80E3A6C}" srcId="{28782BF0-46B5-4501-AC9A-ADAB7E410F91}" destId="{D6F7F5F8-A38B-4DE8-97D9-83ACC51B301B}" srcOrd="2" destOrd="0" parTransId="{2A85EB00-CE30-4407-94DD-80423B94259C}" sibTransId="{5135388E-98C9-4D35-BF20-3FF4315FE07C}"/>
    <dgm:cxn modelId="{5ED0445E-429A-4AEA-BCA4-148345A18AAF}" type="presParOf" srcId="{3097AB68-154D-41B2-AC03-471E1F759398}" destId="{D5FD1C14-F738-4F02-ABB4-F8BC669914AA}" srcOrd="0" destOrd="0" presId="urn:microsoft.com/office/officeart/2005/8/layout/hList6"/>
    <dgm:cxn modelId="{FA978D8F-944F-4D64-9B9F-91D1B73A59C9}" type="presParOf" srcId="{3097AB68-154D-41B2-AC03-471E1F759398}" destId="{B842F83D-5B9B-4D17-AE4F-9C0135AAB157}" srcOrd="1" destOrd="0" presId="urn:microsoft.com/office/officeart/2005/8/layout/hList6"/>
    <dgm:cxn modelId="{B0FF0EB4-B236-4DD8-965F-0BCE4871C401}" type="presParOf" srcId="{3097AB68-154D-41B2-AC03-471E1F759398}" destId="{BFF605F8-ACD6-4061-972B-268BE58D0A0F}" srcOrd="2" destOrd="0" presId="urn:microsoft.com/office/officeart/2005/8/layout/hList6"/>
    <dgm:cxn modelId="{0C726ED6-6290-4932-9189-6E920E37CB77}" type="presParOf" srcId="{3097AB68-154D-41B2-AC03-471E1F759398}" destId="{7AA826F6-88F0-4443-A724-55D5E91EFB0C}" srcOrd="3" destOrd="0" presId="urn:microsoft.com/office/officeart/2005/8/layout/hList6"/>
    <dgm:cxn modelId="{7FEE1B21-2403-47B6-94DD-8FFC7070A6C7}" type="presParOf" srcId="{3097AB68-154D-41B2-AC03-471E1F759398}" destId="{C90C95B3-19CC-4E59-AF24-B2CA3312E7EF}" srcOrd="4" destOrd="0" presId="urn:microsoft.com/office/officeart/2005/8/layout/hList6"/>
    <dgm:cxn modelId="{988DBF8B-6562-46D8-A8D2-44F9AB24FF76}" type="presParOf" srcId="{3097AB68-154D-41B2-AC03-471E1F759398}" destId="{F10EEFD2-FF23-4962-992B-CB2BB74A5B66}" srcOrd="5" destOrd="0" presId="urn:microsoft.com/office/officeart/2005/8/layout/hList6"/>
    <dgm:cxn modelId="{59B16288-863A-4A26-9BAB-6DB89388613D}" type="presParOf" srcId="{3097AB68-154D-41B2-AC03-471E1F759398}" destId="{698F460A-15EB-4594-8F12-E79B6B6D53CF}" srcOrd="6" destOrd="0" presId="urn:microsoft.com/office/officeart/2005/8/layout/hList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5.xml><?xml version="1.0" encoding="utf-8"?>
<dgm:dataModel xmlns:dgm="http://schemas.openxmlformats.org/drawingml/2006/diagram" xmlns:a="http://schemas.openxmlformats.org/drawingml/2006/main">
  <dgm:ptLst>
    <dgm:pt modelId="{E2401E25-4888-4E46-9341-232F439447D9}" type="doc">
      <dgm:prSet loTypeId="urn:microsoft.com/office/officeart/2005/8/layout/pyramid2" loCatId="list" qsTypeId="urn:microsoft.com/office/officeart/2005/8/quickstyle/simple1" qsCatId="simple" csTypeId="urn:microsoft.com/office/officeart/2005/8/colors/accent1_2" csCatId="accent1" phldr="1"/>
      <dgm:spPr/>
    </dgm:pt>
    <dgm:pt modelId="{079B8CC4-A2E7-488B-AD22-C07562B2F986}">
      <dgm:prSet phldrT="[Text]"/>
      <dgm:spPr/>
      <dgm:t>
        <a:bodyPr/>
        <a:lstStyle/>
        <a:p>
          <a:r>
            <a:rPr lang="en-US" dirty="0"/>
            <a:t>“Credible Evidence”</a:t>
          </a:r>
        </a:p>
      </dgm:t>
    </dgm:pt>
    <dgm:pt modelId="{D9B832E8-D2FE-4AC3-A77E-AA739F937A70}" type="parTrans" cxnId="{64A5AE00-74C4-4EAC-88E2-C90D363661DF}">
      <dgm:prSet/>
      <dgm:spPr/>
      <dgm:t>
        <a:bodyPr/>
        <a:lstStyle/>
        <a:p>
          <a:endParaRPr lang="en-US"/>
        </a:p>
      </dgm:t>
    </dgm:pt>
    <dgm:pt modelId="{D41AB8DA-43DD-42B5-B4EA-482E433EED70}" type="sibTrans" cxnId="{64A5AE00-74C4-4EAC-88E2-C90D363661DF}">
      <dgm:prSet/>
      <dgm:spPr/>
      <dgm:t>
        <a:bodyPr/>
        <a:lstStyle/>
        <a:p>
          <a:endParaRPr lang="en-US"/>
        </a:p>
      </dgm:t>
    </dgm:pt>
    <dgm:pt modelId="{EB3D8014-99A8-4AF5-A33F-85CC50468486}">
      <dgm:prSet phldrT="[Text]"/>
      <dgm:spPr>
        <a:solidFill>
          <a:srgbClr val="FFFF00">
            <a:alpha val="90000"/>
          </a:srgbClr>
        </a:solidFill>
      </dgm:spPr>
      <dgm:t>
        <a:bodyPr/>
        <a:lstStyle/>
        <a:p>
          <a:r>
            <a:rPr lang="en-US" dirty="0"/>
            <a:t>Civil or Criminal Fraud, Bribe, Gratuity or Criminal Personal Conflict of Interest, or</a:t>
          </a:r>
        </a:p>
      </dgm:t>
    </dgm:pt>
    <dgm:pt modelId="{0E1803D8-44A5-45A3-8946-4BCBE1D5A0D5}" type="parTrans" cxnId="{1819D62F-438D-449F-AC9F-1EC5D1981CB7}">
      <dgm:prSet/>
      <dgm:spPr/>
      <dgm:t>
        <a:bodyPr/>
        <a:lstStyle/>
        <a:p>
          <a:endParaRPr lang="en-US"/>
        </a:p>
      </dgm:t>
    </dgm:pt>
    <dgm:pt modelId="{2C7AA579-1DF3-4BDC-A2CB-652CFC189FF1}" type="sibTrans" cxnId="{1819D62F-438D-449F-AC9F-1EC5D1981CB7}">
      <dgm:prSet/>
      <dgm:spPr/>
      <dgm:t>
        <a:bodyPr/>
        <a:lstStyle/>
        <a:p>
          <a:endParaRPr lang="en-US"/>
        </a:p>
      </dgm:t>
    </dgm:pt>
    <dgm:pt modelId="{62EB7523-5155-4EAF-9C3D-F00254472E28}">
      <dgm:prSet phldrT="[Text]"/>
      <dgm:spPr>
        <a:solidFill>
          <a:schemeClr val="accent6">
            <a:lumMod val="60000"/>
            <a:lumOff val="40000"/>
            <a:alpha val="90000"/>
          </a:schemeClr>
        </a:solidFill>
      </dgm:spPr>
      <dgm:t>
        <a:bodyPr/>
        <a:lstStyle/>
        <a:p>
          <a:r>
            <a:rPr lang="en-US" dirty="0"/>
            <a:t>“Significant Overpayment”</a:t>
          </a:r>
        </a:p>
      </dgm:t>
    </dgm:pt>
    <dgm:pt modelId="{12C8713E-994D-4A55-867F-3A6AF5552AD8}" type="parTrans" cxnId="{84584F3E-654D-40F4-B824-5F382FF6D030}">
      <dgm:prSet/>
      <dgm:spPr/>
      <dgm:t>
        <a:bodyPr/>
        <a:lstStyle/>
        <a:p>
          <a:endParaRPr lang="en-US"/>
        </a:p>
      </dgm:t>
    </dgm:pt>
    <dgm:pt modelId="{5FEBCCE8-20E6-45BA-88FC-24FBE528660C}" type="sibTrans" cxnId="{84584F3E-654D-40F4-B824-5F382FF6D030}">
      <dgm:prSet/>
      <dgm:spPr/>
      <dgm:t>
        <a:bodyPr/>
        <a:lstStyle/>
        <a:p>
          <a:endParaRPr lang="en-US"/>
        </a:p>
      </dgm:t>
    </dgm:pt>
    <dgm:pt modelId="{F7DACA54-449D-428D-8C07-22A9461BCC98}" type="pres">
      <dgm:prSet presAssocID="{E2401E25-4888-4E46-9341-232F439447D9}" presName="compositeShape" presStyleCnt="0">
        <dgm:presLayoutVars>
          <dgm:dir/>
          <dgm:resizeHandles/>
        </dgm:presLayoutVars>
      </dgm:prSet>
      <dgm:spPr/>
    </dgm:pt>
    <dgm:pt modelId="{BF0532BB-78B7-4614-B412-4E72BA2846CD}" type="pres">
      <dgm:prSet presAssocID="{E2401E25-4888-4E46-9341-232F439447D9}" presName="pyramid" presStyleLbl="node1" presStyleIdx="0" presStyleCnt="1"/>
      <dgm:spPr/>
    </dgm:pt>
    <dgm:pt modelId="{6E3F7B6F-73F2-4A43-9CA7-DB713DE59804}" type="pres">
      <dgm:prSet presAssocID="{E2401E25-4888-4E46-9341-232F439447D9}" presName="theList" presStyleCnt="0"/>
      <dgm:spPr/>
    </dgm:pt>
    <dgm:pt modelId="{D18C3750-AD98-4E92-9329-ADA50DC3C384}" type="pres">
      <dgm:prSet presAssocID="{079B8CC4-A2E7-488B-AD22-C07562B2F986}" presName="aNode" presStyleLbl="fgAcc1" presStyleIdx="0" presStyleCnt="3">
        <dgm:presLayoutVars>
          <dgm:bulletEnabled val="1"/>
        </dgm:presLayoutVars>
      </dgm:prSet>
      <dgm:spPr/>
    </dgm:pt>
    <dgm:pt modelId="{036C9949-C194-4F11-A2A0-C5B517AF797E}" type="pres">
      <dgm:prSet presAssocID="{079B8CC4-A2E7-488B-AD22-C07562B2F986}" presName="aSpace" presStyleCnt="0"/>
      <dgm:spPr/>
    </dgm:pt>
    <dgm:pt modelId="{80C2FEBA-27F6-43A9-896E-C076C4ADD7AC}" type="pres">
      <dgm:prSet presAssocID="{EB3D8014-99A8-4AF5-A33F-85CC50468486}" presName="aNode" presStyleLbl="fgAcc1" presStyleIdx="1" presStyleCnt="3">
        <dgm:presLayoutVars>
          <dgm:bulletEnabled val="1"/>
        </dgm:presLayoutVars>
      </dgm:prSet>
      <dgm:spPr/>
    </dgm:pt>
    <dgm:pt modelId="{DA717864-2750-4044-B995-AE6258E90247}" type="pres">
      <dgm:prSet presAssocID="{EB3D8014-99A8-4AF5-A33F-85CC50468486}" presName="aSpace" presStyleCnt="0"/>
      <dgm:spPr/>
    </dgm:pt>
    <dgm:pt modelId="{BAFAB8BA-85A0-49E7-9F2C-B7577D33ABB3}" type="pres">
      <dgm:prSet presAssocID="{62EB7523-5155-4EAF-9C3D-F00254472E28}" presName="aNode" presStyleLbl="fgAcc1" presStyleIdx="2" presStyleCnt="3">
        <dgm:presLayoutVars>
          <dgm:bulletEnabled val="1"/>
        </dgm:presLayoutVars>
      </dgm:prSet>
      <dgm:spPr/>
    </dgm:pt>
    <dgm:pt modelId="{C1F98E80-9204-465C-ABFD-744E681CE836}" type="pres">
      <dgm:prSet presAssocID="{62EB7523-5155-4EAF-9C3D-F00254472E28}" presName="aSpace" presStyleCnt="0"/>
      <dgm:spPr/>
    </dgm:pt>
  </dgm:ptLst>
  <dgm:cxnLst>
    <dgm:cxn modelId="{64A5AE00-74C4-4EAC-88E2-C90D363661DF}" srcId="{E2401E25-4888-4E46-9341-232F439447D9}" destId="{079B8CC4-A2E7-488B-AD22-C07562B2F986}" srcOrd="0" destOrd="0" parTransId="{D9B832E8-D2FE-4AC3-A77E-AA739F937A70}" sibTransId="{D41AB8DA-43DD-42B5-B4EA-482E433EED70}"/>
    <dgm:cxn modelId="{1819D62F-438D-449F-AC9F-1EC5D1981CB7}" srcId="{E2401E25-4888-4E46-9341-232F439447D9}" destId="{EB3D8014-99A8-4AF5-A33F-85CC50468486}" srcOrd="1" destOrd="0" parTransId="{0E1803D8-44A5-45A3-8946-4BCBE1D5A0D5}" sibTransId="{2C7AA579-1DF3-4BDC-A2CB-652CFC189FF1}"/>
    <dgm:cxn modelId="{84584F3E-654D-40F4-B824-5F382FF6D030}" srcId="{E2401E25-4888-4E46-9341-232F439447D9}" destId="{62EB7523-5155-4EAF-9C3D-F00254472E28}" srcOrd="2" destOrd="0" parTransId="{12C8713E-994D-4A55-867F-3A6AF5552AD8}" sibTransId="{5FEBCCE8-20E6-45BA-88FC-24FBE528660C}"/>
    <dgm:cxn modelId="{1B899951-5803-432F-93F9-EEB8F0C613E9}" type="presOf" srcId="{E2401E25-4888-4E46-9341-232F439447D9}" destId="{F7DACA54-449D-428D-8C07-22A9461BCC98}" srcOrd="0" destOrd="0" presId="urn:microsoft.com/office/officeart/2005/8/layout/pyramid2"/>
    <dgm:cxn modelId="{5B7863A0-ECB7-4C85-B86E-27FDF6CAF5F1}" type="presOf" srcId="{EB3D8014-99A8-4AF5-A33F-85CC50468486}" destId="{80C2FEBA-27F6-43A9-896E-C076C4ADD7AC}" srcOrd="0" destOrd="0" presId="urn:microsoft.com/office/officeart/2005/8/layout/pyramid2"/>
    <dgm:cxn modelId="{E964C4E4-A979-41C1-A623-65875892D017}" type="presOf" srcId="{079B8CC4-A2E7-488B-AD22-C07562B2F986}" destId="{D18C3750-AD98-4E92-9329-ADA50DC3C384}" srcOrd="0" destOrd="0" presId="urn:microsoft.com/office/officeart/2005/8/layout/pyramid2"/>
    <dgm:cxn modelId="{79BC83FE-8D5C-4B9C-82F8-D348AFB33BFF}" type="presOf" srcId="{62EB7523-5155-4EAF-9C3D-F00254472E28}" destId="{BAFAB8BA-85A0-49E7-9F2C-B7577D33ABB3}" srcOrd="0" destOrd="0" presId="urn:microsoft.com/office/officeart/2005/8/layout/pyramid2"/>
    <dgm:cxn modelId="{063CCF80-E49C-439D-BA03-34BA568AD480}" type="presParOf" srcId="{F7DACA54-449D-428D-8C07-22A9461BCC98}" destId="{BF0532BB-78B7-4614-B412-4E72BA2846CD}" srcOrd="0" destOrd="0" presId="urn:microsoft.com/office/officeart/2005/8/layout/pyramid2"/>
    <dgm:cxn modelId="{E16CA273-821B-4B66-A3F5-7A79C6529B11}" type="presParOf" srcId="{F7DACA54-449D-428D-8C07-22A9461BCC98}" destId="{6E3F7B6F-73F2-4A43-9CA7-DB713DE59804}" srcOrd="1" destOrd="0" presId="urn:microsoft.com/office/officeart/2005/8/layout/pyramid2"/>
    <dgm:cxn modelId="{D0788C26-A33E-4D01-A3DA-09A4C8F4E1FD}" type="presParOf" srcId="{6E3F7B6F-73F2-4A43-9CA7-DB713DE59804}" destId="{D18C3750-AD98-4E92-9329-ADA50DC3C384}" srcOrd="0" destOrd="0" presId="urn:microsoft.com/office/officeart/2005/8/layout/pyramid2"/>
    <dgm:cxn modelId="{5F76D47A-26B8-4459-8EEE-D52462D3579D}" type="presParOf" srcId="{6E3F7B6F-73F2-4A43-9CA7-DB713DE59804}" destId="{036C9949-C194-4F11-A2A0-C5B517AF797E}" srcOrd="1" destOrd="0" presId="urn:microsoft.com/office/officeart/2005/8/layout/pyramid2"/>
    <dgm:cxn modelId="{B1AFA874-2718-4BB2-A9FE-B8F20D20E2C3}" type="presParOf" srcId="{6E3F7B6F-73F2-4A43-9CA7-DB713DE59804}" destId="{80C2FEBA-27F6-43A9-896E-C076C4ADD7AC}" srcOrd="2" destOrd="0" presId="urn:microsoft.com/office/officeart/2005/8/layout/pyramid2"/>
    <dgm:cxn modelId="{B8410A5E-C8EF-41FE-9A9F-C8D4F1D5E004}" type="presParOf" srcId="{6E3F7B6F-73F2-4A43-9CA7-DB713DE59804}" destId="{DA717864-2750-4044-B995-AE6258E90247}" srcOrd="3" destOrd="0" presId="urn:microsoft.com/office/officeart/2005/8/layout/pyramid2"/>
    <dgm:cxn modelId="{6093E1EF-A2A3-40C2-9745-09C2C6AE94D4}" type="presParOf" srcId="{6E3F7B6F-73F2-4A43-9CA7-DB713DE59804}" destId="{BAFAB8BA-85A0-49E7-9F2C-B7577D33ABB3}" srcOrd="4" destOrd="0" presId="urn:microsoft.com/office/officeart/2005/8/layout/pyramid2"/>
    <dgm:cxn modelId="{4A1CBB88-DA14-49FA-863F-4B5EC87BD719}" type="presParOf" srcId="{6E3F7B6F-73F2-4A43-9CA7-DB713DE59804}" destId="{C1F98E80-9204-465C-ABFD-744E681CE836}" srcOrd="5" destOrd="0" presId="urn:microsoft.com/office/officeart/2005/8/layout/pyramid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6.xml><?xml version="1.0" encoding="utf-8"?>
<dgm:dataModel xmlns:dgm="http://schemas.openxmlformats.org/drawingml/2006/diagram" xmlns:a="http://schemas.openxmlformats.org/drawingml/2006/main">
  <dgm:ptLst>
    <dgm:pt modelId="{0DB59DC4-A1FB-4C0D-A7B5-D5A33093A2C3}" type="doc">
      <dgm:prSet loTypeId="urn:microsoft.com/office/officeart/2005/8/layout/pyramid4" loCatId="relationship" qsTypeId="urn:microsoft.com/office/officeart/2005/8/quickstyle/simple1" qsCatId="simple" csTypeId="urn:microsoft.com/office/officeart/2005/8/colors/accent1_2" csCatId="accent1" phldr="1"/>
      <dgm:spPr/>
      <dgm:t>
        <a:bodyPr/>
        <a:lstStyle/>
        <a:p>
          <a:endParaRPr lang="en-US"/>
        </a:p>
      </dgm:t>
    </dgm:pt>
    <dgm:pt modelId="{FC9935FD-864F-43C4-A5F9-BA0DBDCF4146}">
      <dgm:prSet phldrT="[Text]"/>
      <dgm:spPr>
        <a:solidFill>
          <a:srgbClr val="C00000"/>
        </a:solidFill>
      </dgm:spPr>
      <dgm:t>
        <a:bodyPr/>
        <a:lstStyle/>
        <a:p>
          <a:r>
            <a:rPr lang="en-US" dirty="0"/>
            <a:t>Disclose Investigation</a:t>
          </a:r>
        </a:p>
      </dgm:t>
    </dgm:pt>
    <dgm:pt modelId="{440EA5C6-ECB1-467E-B568-436B8F0092D6}" type="parTrans" cxnId="{5AD7ED55-2D63-4BAE-A4AB-E72819770E9F}">
      <dgm:prSet/>
      <dgm:spPr/>
      <dgm:t>
        <a:bodyPr/>
        <a:lstStyle/>
        <a:p>
          <a:endParaRPr lang="en-US"/>
        </a:p>
      </dgm:t>
    </dgm:pt>
    <dgm:pt modelId="{2307FFFF-146A-45BD-8517-FC1C5D4B879C}" type="sibTrans" cxnId="{5AD7ED55-2D63-4BAE-A4AB-E72819770E9F}">
      <dgm:prSet/>
      <dgm:spPr/>
      <dgm:t>
        <a:bodyPr/>
        <a:lstStyle/>
        <a:p>
          <a:endParaRPr lang="en-US"/>
        </a:p>
      </dgm:t>
    </dgm:pt>
    <dgm:pt modelId="{11F30F6E-CEAB-4C29-9D7F-7F4D3F4BC6F7}">
      <dgm:prSet phldrT="[Text]"/>
      <dgm:spPr>
        <a:solidFill>
          <a:srgbClr val="006600"/>
        </a:solidFill>
      </dgm:spPr>
      <dgm:t>
        <a:bodyPr/>
        <a:lstStyle/>
        <a:p>
          <a:r>
            <a:rPr lang="en-US" dirty="0"/>
            <a:t>Avoid Debarment</a:t>
          </a:r>
        </a:p>
      </dgm:t>
    </dgm:pt>
    <dgm:pt modelId="{3FE950AF-B96F-45AB-AFCA-2490CA054523}" type="parTrans" cxnId="{4C56EAE2-EDA5-4B44-B6E7-1FC2FE9EE0A7}">
      <dgm:prSet/>
      <dgm:spPr/>
      <dgm:t>
        <a:bodyPr/>
        <a:lstStyle/>
        <a:p>
          <a:endParaRPr lang="en-US"/>
        </a:p>
      </dgm:t>
    </dgm:pt>
    <dgm:pt modelId="{62BB24B1-0155-459F-919A-AB34DA4839BE}" type="sibTrans" cxnId="{4C56EAE2-EDA5-4B44-B6E7-1FC2FE9EE0A7}">
      <dgm:prSet/>
      <dgm:spPr/>
      <dgm:t>
        <a:bodyPr/>
        <a:lstStyle/>
        <a:p>
          <a:endParaRPr lang="en-US"/>
        </a:p>
      </dgm:t>
    </dgm:pt>
    <dgm:pt modelId="{61F91C6A-ED30-461F-9F03-0385FB6893D8}">
      <dgm:prSet phldrT="[Text]"/>
      <dgm:spPr>
        <a:solidFill>
          <a:srgbClr val="FFC000"/>
        </a:solidFill>
      </dgm:spPr>
      <dgm:t>
        <a:bodyPr/>
        <a:lstStyle/>
        <a:p>
          <a:r>
            <a:rPr lang="en-US" dirty="0">
              <a:solidFill>
                <a:schemeClr val="bg1"/>
              </a:solidFill>
            </a:rPr>
            <a:t>Past fraudulent, corrupt, collusive or </a:t>
          </a:r>
          <a:r>
            <a:rPr lang="en-US" dirty="0" err="1">
              <a:solidFill>
                <a:schemeClr val="bg1"/>
              </a:solidFill>
            </a:rPr>
            <a:t>coersive</a:t>
          </a:r>
          <a:r>
            <a:rPr lang="en-US" dirty="0">
              <a:solidFill>
                <a:schemeClr val="bg1"/>
              </a:solidFill>
            </a:rPr>
            <a:t> act</a:t>
          </a:r>
        </a:p>
      </dgm:t>
    </dgm:pt>
    <dgm:pt modelId="{F844C9AD-B6D9-4536-B19B-0F6F5D7053C4}" type="parTrans" cxnId="{94BBA2C4-CB2E-4AD0-A5F2-024D3F00CE1D}">
      <dgm:prSet/>
      <dgm:spPr/>
      <dgm:t>
        <a:bodyPr/>
        <a:lstStyle/>
        <a:p>
          <a:endParaRPr lang="en-US"/>
        </a:p>
      </dgm:t>
    </dgm:pt>
    <dgm:pt modelId="{3176F1C3-2BC9-421C-80DE-43A264BD4359}" type="sibTrans" cxnId="{94BBA2C4-CB2E-4AD0-A5F2-024D3F00CE1D}">
      <dgm:prSet/>
      <dgm:spPr/>
      <dgm:t>
        <a:bodyPr/>
        <a:lstStyle/>
        <a:p>
          <a:endParaRPr lang="en-US"/>
        </a:p>
      </dgm:t>
    </dgm:pt>
    <dgm:pt modelId="{BA84D870-C1A8-491E-AF56-668681E5A6E6}">
      <dgm:prSet phldrT="[Text]"/>
      <dgm:spPr>
        <a:solidFill>
          <a:srgbClr val="0070C0"/>
        </a:solidFill>
      </dgm:spPr>
      <dgm:t>
        <a:bodyPr/>
        <a:lstStyle/>
        <a:p>
          <a:r>
            <a:rPr lang="en-US" dirty="0"/>
            <a:t>Remain Anonymous</a:t>
          </a:r>
        </a:p>
      </dgm:t>
    </dgm:pt>
    <dgm:pt modelId="{93400EDE-0E1E-4775-8600-EA85921186F6}" type="parTrans" cxnId="{E4B6CCD2-F1C8-4B45-8878-AE404D6B348E}">
      <dgm:prSet/>
      <dgm:spPr/>
      <dgm:t>
        <a:bodyPr/>
        <a:lstStyle/>
        <a:p>
          <a:endParaRPr lang="en-US"/>
        </a:p>
      </dgm:t>
    </dgm:pt>
    <dgm:pt modelId="{7654DC5D-45A1-4F55-8CA4-58DA487404BC}" type="sibTrans" cxnId="{E4B6CCD2-F1C8-4B45-8878-AE404D6B348E}">
      <dgm:prSet/>
      <dgm:spPr/>
      <dgm:t>
        <a:bodyPr/>
        <a:lstStyle/>
        <a:p>
          <a:endParaRPr lang="en-US"/>
        </a:p>
      </dgm:t>
    </dgm:pt>
    <dgm:pt modelId="{941A1517-35A7-4DF8-A06D-968D42D03B7E}" type="pres">
      <dgm:prSet presAssocID="{0DB59DC4-A1FB-4C0D-A7B5-D5A33093A2C3}" presName="compositeShape" presStyleCnt="0">
        <dgm:presLayoutVars>
          <dgm:chMax val="9"/>
          <dgm:dir/>
          <dgm:resizeHandles val="exact"/>
        </dgm:presLayoutVars>
      </dgm:prSet>
      <dgm:spPr/>
    </dgm:pt>
    <dgm:pt modelId="{D20C60FE-212B-48A2-B9D7-7D72715F8512}" type="pres">
      <dgm:prSet presAssocID="{0DB59DC4-A1FB-4C0D-A7B5-D5A33093A2C3}" presName="triangle1" presStyleLbl="node1" presStyleIdx="0" presStyleCnt="4">
        <dgm:presLayoutVars>
          <dgm:bulletEnabled val="1"/>
        </dgm:presLayoutVars>
      </dgm:prSet>
      <dgm:spPr/>
    </dgm:pt>
    <dgm:pt modelId="{339AE0BE-4A47-498A-9504-6AECC375CC03}" type="pres">
      <dgm:prSet presAssocID="{0DB59DC4-A1FB-4C0D-A7B5-D5A33093A2C3}" presName="triangle2" presStyleLbl="node1" presStyleIdx="1" presStyleCnt="4">
        <dgm:presLayoutVars>
          <dgm:bulletEnabled val="1"/>
        </dgm:presLayoutVars>
      </dgm:prSet>
      <dgm:spPr/>
    </dgm:pt>
    <dgm:pt modelId="{45836877-5976-49D6-9191-1BA581720915}" type="pres">
      <dgm:prSet presAssocID="{0DB59DC4-A1FB-4C0D-A7B5-D5A33093A2C3}" presName="triangle3" presStyleLbl="node1" presStyleIdx="2" presStyleCnt="4">
        <dgm:presLayoutVars>
          <dgm:bulletEnabled val="1"/>
        </dgm:presLayoutVars>
      </dgm:prSet>
      <dgm:spPr/>
    </dgm:pt>
    <dgm:pt modelId="{EEF31F2F-2987-48A2-A277-DE0FC3E999AD}" type="pres">
      <dgm:prSet presAssocID="{0DB59DC4-A1FB-4C0D-A7B5-D5A33093A2C3}" presName="triangle4" presStyleLbl="node1" presStyleIdx="3" presStyleCnt="4">
        <dgm:presLayoutVars>
          <dgm:bulletEnabled val="1"/>
        </dgm:presLayoutVars>
      </dgm:prSet>
      <dgm:spPr/>
    </dgm:pt>
  </dgm:ptLst>
  <dgm:cxnLst>
    <dgm:cxn modelId="{BCEA6809-BE0F-46A0-8188-53AFBBAE4EBB}" type="presOf" srcId="{FC9935FD-864F-43C4-A5F9-BA0DBDCF4146}" destId="{D20C60FE-212B-48A2-B9D7-7D72715F8512}" srcOrd="0" destOrd="0" presId="urn:microsoft.com/office/officeart/2005/8/layout/pyramid4"/>
    <dgm:cxn modelId="{DE6BA509-F4AA-46E2-B274-DFEB0D608522}" type="presOf" srcId="{11F30F6E-CEAB-4C29-9D7F-7F4D3F4BC6F7}" destId="{339AE0BE-4A47-498A-9504-6AECC375CC03}" srcOrd="0" destOrd="0" presId="urn:microsoft.com/office/officeart/2005/8/layout/pyramid4"/>
    <dgm:cxn modelId="{2AA7261F-DD5F-4785-8A1D-BA5B1CFB11AD}" type="presOf" srcId="{61F91C6A-ED30-461F-9F03-0385FB6893D8}" destId="{45836877-5976-49D6-9191-1BA581720915}" srcOrd="0" destOrd="0" presId="urn:microsoft.com/office/officeart/2005/8/layout/pyramid4"/>
    <dgm:cxn modelId="{5A9BB640-3D39-47D2-ADF1-4E58BADF6629}" type="presOf" srcId="{0DB59DC4-A1FB-4C0D-A7B5-D5A33093A2C3}" destId="{941A1517-35A7-4DF8-A06D-968D42D03B7E}" srcOrd="0" destOrd="0" presId="urn:microsoft.com/office/officeart/2005/8/layout/pyramid4"/>
    <dgm:cxn modelId="{5AD7ED55-2D63-4BAE-A4AB-E72819770E9F}" srcId="{0DB59DC4-A1FB-4C0D-A7B5-D5A33093A2C3}" destId="{FC9935FD-864F-43C4-A5F9-BA0DBDCF4146}" srcOrd="0" destOrd="0" parTransId="{440EA5C6-ECB1-467E-B568-436B8F0092D6}" sibTransId="{2307FFFF-146A-45BD-8517-FC1C5D4B879C}"/>
    <dgm:cxn modelId="{94BBA2C4-CB2E-4AD0-A5F2-024D3F00CE1D}" srcId="{0DB59DC4-A1FB-4C0D-A7B5-D5A33093A2C3}" destId="{61F91C6A-ED30-461F-9F03-0385FB6893D8}" srcOrd="2" destOrd="0" parTransId="{F844C9AD-B6D9-4536-B19B-0F6F5D7053C4}" sibTransId="{3176F1C3-2BC9-421C-80DE-43A264BD4359}"/>
    <dgm:cxn modelId="{E4B6CCD2-F1C8-4B45-8878-AE404D6B348E}" srcId="{0DB59DC4-A1FB-4C0D-A7B5-D5A33093A2C3}" destId="{BA84D870-C1A8-491E-AF56-668681E5A6E6}" srcOrd="3" destOrd="0" parTransId="{93400EDE-0E1E-4775-8600-EA85921186F6}" sibTransId="{7654DC5D-45A1-4F55-8CA4-58DA487404BC}"/>
    <dgm:cxn modelId="{4C56EAE2-EDA5-4B44-B6E7-1FC2FE9EE0A7}" srcId="{0DB59DC4-A1FB-4C0D-A7B5-D5A33093A2C3}" destId="{11F30F6E-CEAB-4C29-9D7F-7F4D3F4BC6F7}" srcOrd="1" destOrd="0" parTransId="{3FE950AF-B96F-45AB-AFCA-2490CA054523}" sibTransId="{62BB24B1-0155-459F-919A-AB34DA4839BE}"/>
    <dgm:cxn modelId="{664817EE-B2CE-4942-95CD-2AADA7214C91}" type="presOf" srcId="{BA84D870-C1A8-491E-AF56-668681E5A6E6}" destId="{EEF31F2F-2987-48A2-A277-DE0FC3E999AD}" srcOrd="0" destOrd="0" presId="urn:microsoft.com/office/officeart/2005/8/layout/pyramid4"/>
    <dgm:cxn modelId="{6FE34D75-CD06-40BA-96E6-197B5B70006B}" type="presParOf" srcId="{941A1517-35A7-4DF8-A06D-968D42D03B7E}" destId="{D20C60FE-212B-48A2-B9D7-7D72715F8512}" srcOrd="0" destOrd="0" presId="urn:microsoft.com/office/officeart/2005/8/layout/pyramid4"/>
    <dgm:cxn modelId="{5DB32292-B1FE-426F-8145-8139999BBC7C}" type="presParOf" srcId="{941A1517-35A7-4DF8-A06D-968D42D03B7E}" destId="{339AE0BE-4A47-498A-9504-6AECC375CC03}" srcOrd="1" destOrd="0" presId="urn:microsoft.com/office/officeart/2005/8/layout/pyramid4"/>
    <dgm:cxn modelId="{F287E512-D4F5-46BC-B7D2-25BE3FD8EB91}" type="presParOf" srcId="{941A1517-35A7-4DF8-A06D-968D42D03B7E}" destId="{45836877-5976-49D6-9191-1BA581720915}" srcOrd="2" destOrd="0" presId="urn:microsoft.com/office/officeart/2005/8/layout/pyramid4"/>
    <dgm:cxn modelId="{EB40CC74-2B34-4AA0-8832-6788930F6279}" type="presParOf" srcId="{941A1517-35A7-4DF8-A06D-968D42D03B7E}" destId="{EEF31F2F-2987-48A2-A277-DE0FC3E999AD}" srcOrd="3" destOrd="0" presId="urn:microsoft.com/office/officeart/2005/8/layout/pyramid4"/>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7.xml><?xml version="1.0" encoding="utf-8"?>
<dgm:dataModel xmlns:dgm="http://schemas.openxmlformats.org/drawingml/2006/diagram" xmlns:a="http://schemas.openxmlformats.org/drawingml/2006/main">
  <dgm:ptLst>
    <dgm:pt modelId="{1C1D1458-DA04-420D-AEAB-E525BAE8C1F7}" type="doc">
      <dgm:prSet loTypeId="urn:microsoft.com/office/officeart/2005/8/layout/gear1" loCatId="process" qsTypeId="urn:microsoft.com/office/officeart/2005/8/quickstyle/simple3" qsCatId="simple" csTypeId="urn:microsoft.com/office/officeart/2005/8/colors/colorful5" csCatId="colorful" phldr="1"/>
      <dgm:spPr/>
      <dgm:t>
        <a:bodyPr/>
        <a:lstStyle/>
        <a:p>
          <a:endParaRPr lang="en-US"/>
        </a:p>
      </dgm:t>
    </dgm:pt>
    <dgm:pt modelId="{AD64B5FE-6EB2-4CA6-ABEE-1C27E8C7B2F1}">
      <dgm:prSet phldrT="[Text]"/>
      <dgm:spPr/>
      <dgm:t>
        <a:bodyPr/>
        <a:lstStyle/>
        <a:p>
          <a:r>
            <a:rPr lang="en-US" dirty="0"/>
            <a:t>Mandatory Disclosure</a:t>
          </a:r>
        </a:p>
      </dgm:t>
    </dgm:pt>
    <dgm:pt modelId="{7859DC46-32C2-493E-A643-829EACAF4CEF}" type="parTrans" cxnId="{63AD689B-28C7-4B46-9A6F-3338AF2F9563}">
      <dgm:prSet/>
      <dgm:spPr/>
      <dgm:t>
        <a:bodyPr/>
        <a:lstStyle/>
        <a:p>
          <a:endParaRPr lang="en-US"/>
        </a:p>
      </dgm:t>
    </dgm:pt>
    <dgm:pt modelId="{B9D8FAB3-AA9D-4470-AE53-638D5ED6697D}" type="sibTrans" cxnId="{63AD689B-28C7-4B46-9A6F-3338AF2F9563}">
      <dgm:prSet/>
      <dgm:spPr/>
      <dgm:t>
        <a:bodyPr/>
        <a:lstStyle/>
        <a:p>
          <a:endParaRPr lang="en-US"/>
        </a:p>
      </dgm:t>
    </dgm:pt>
    <dgm:pt modelId="{EE6668FD-BB9C-4961-895F-DE5CA64637A2}">
      <dgm:prSet phldrT="[Text]"/>
      <dgm:spPr/>
      <dgm:t>
        <a:bodyPr/>
        <a:lstStyle/>
        <a:p>
          <a:r>
            <a:rPr lang="en-US" dirty="0"/>
            <a:t>Voluntary Disclosure</a:t>
          </a:r>
        </a:p>
      </dgm:t>
    </dgm:pt>
    <dgm:pt modelId="{9EF41278-854C-4779-A2ED-40953AD8B83E}" type="parTrans" cxnId="{23076639-37F7-4709-901E-C09E8B4A9CD3}">
      <dgm:prSet/>
      <dgm:spPr/>
      <dgm:t>
        <a:bodyPr/>
        <a:lstStyle/>
        <a:p>
          <a:endParaRPr lang="en-US"/>
        </a:p>
      </dgm:t>
    </dgm:pt>
    <dgm:pt modelId="{09053312-27E3-49CE-8955-74B6AD252243}" type="sibTrans" cxnId="{23076639-37F7-4709-901E-C09E8B4A9CD3}">
      <dgm:prSet/>
      <dgm:spPr/>
      <dgm:t>
        <a:bodyPr/>
        <a:lstStyle/>
        <a:p>
          <a:endParaRPr lang="en-US"/>
        </a:p>
      </dgm:t>
    </dgm:pt>
    <dgm:pt modelId="{3D853C5B-5609-4CC7-ADA9-F37E8D17692A}">
      <dgm:prSet phldrT="[Text]"/>
      <dgm:spPr/>
      <dgm:t>
        <a:bodyPr/>
        <a:lstStyle/>
        <a:p>
          <a:r>
            <a:rPr lang="en-US" dirty="0"/>
            <a:t>Whistleblower</a:t>
          </a:r>
        </a:p>
      </dgm:t>
    </dgm:pt>
    <dgm:pt modelId="{8A989FB0-9245-4D1F-96EF-7C81080E82CC}" type="parTrans" cxnId="{5C707F6A-936F-4ABE-892A-79D883D9A975}">
      <dgm:prSet/>
      <dgm:spPr/>
      <dgm:t>
        <a:bodyPr/>
        <a:lstStyle/>
        <a:p>
          <a:endParaRPr lang="en-US"/>
        </a:p>
      </dgm:t>
    </dgm:pt>
    <dgm:pt modelId="{9E542EAF-65AE-45A0-8694-82B4CE5AF7C3}" type="sibTrans" cxnId="{5C707F6A-936F-4ABE-892A-79D883D9A975}">
      <dgm:prSet/>
      <dgm:spPr/>
      <dgm:t>
        <a:bodyPr/>
        <a:lstStyle/>
        <a:p>
          <a:endParaRPr lang="en-US"/>
        </a:p>
      </dgm:t>
    </dgm:pt>
    <dgm:pt modelId="{3B81999E-36D0-4E33-BFBC-23DF65DCBF4F}">
      <dgm:prSet phldrT="[Text]"/>
      <dgm:spPr/>
      <dgm:t>
        <a:bodyPr/>
        <a:lstStyle/>
        <a:p>
          <a:endParaRPr lang="en-US"/>
        </a:p>
      </dgm:t>
    </dgm:pt>
    <dgm:pt modelId="{F45782E4-EA48-4193-8E00-4060BA84A927}" type="parTrans" cxnId="{D5FFCE21-FAF3-48CA-A43E-EA32CB284302}">
      <dgm:prSet/>
      <dgm:spPr/>
      <dgm:t>
        <a:bodyPr/>
        <a:lstStyle/>
        <a:p>
          <a:endParaRPr lang="en-US"/>
        </a:p>
      </dgm:t>
    </dgm:pt>
    <dgm:pt modelId="{AFEBCCF9-48C7-4510-A7F3-FDEE3BA38D79}" type="sibTrans" cxnId="{D5FFCE21-FAF3-48CA-A43E-EA32CB284302}">
      <dgm:prSet/>
      <dgm:spPr/>
      <dgm:t>
        <a:bodyPr/>
        <a:lstStyle/>
        <a:p>
          <a:endParaRPr lang="en-US"/>
        </a:p>
      </dgm:t>
    </dgm:pt>
    <dgm:pt modelId="{8B2D8AA9-1ED3-4299-9826-0A44E9A66887}" type="pres">
      <dgm:prSet presAssocID="{1C1D1458-DA04-420D-AEAB-E525BAE8C1F7}" presName="composite" presStyleCnt="0">
        <dgm:presLayoutVars>
          <dgm:chMax val="3"/>
          <dgm:animLvl val="lvl"/>
          <dgm:resizeHandles val="exact"/>
        </dgm:presLayoutVars>
      </dgm:prSet>
      <dgm:spPr/>
    </dgm:pt>
    <dgm:pt modelId="{A6F58985-47FE-452D-A665-95AEEA463432}" type="pres">
      <dgm:prSet presAssocID="{AD64B5FE-6EB2-4CA6-ABEE-1C27E8C7B2F1}" presName="gear1" presStyleLbl="node1" presStyleIdx="0" presStyleCnt="3">
        <dgm:presLayoutVars>
          <dgm:chMax val="1"/>
          <dgm:bulletEnabled val="1"/>
        </dgm:presLayoutVars>
      </dgm:prSet>
      <dgm:spPr/>
    </dgm:pt>
    <dgm:pt modelId="{4C1E598F-E92C-4BA7-8CCE-D10E410E3A17}" type="pres">
      <dgm:prSet presAssocID="{AD64B5FE-6EB2-4CA6-ABEE-1C27E8C7B2F1}" presName="gear1srcNode" presStyleLbl="node1" presStyleIdx="0" presStyleCnt="3"/>
      <dgm:spPr/>
    </dgm:pt>
    <dgm:pt modelId="{D1CC35F1-9671-46B3-910D-DD26CB704605}" type="pres">
      <dgm:prSet presAssocID="{AD64B5FE-6EB2-4CA6-ABEE-1C27E8C7B2F1}" presName="gear1dstNode" presStyleLbl="node1" presStyleIdx="0" presStyleCnt="3"/>
      <dgm:spPr/>
    </dgm:pt>
    <dgm:pt modelId="{FB659CDC-234E-4F5C-9C51-394B4A84263F}" type="pres">
      <dgm:prSet presAssocID="{EE6668FD-BB9C-4961-895F-DE5CA64637A2}" presName="gear2" presStyleLbl="node1" presStyleIdx="1" presStyleCnt="3">
        <dgm:presLayoutVars>
          <dgm:chMax val="1"/>
          <dgm:bulletEnabled val="1"/>
        </dgm:presLayoutVars>
      </dgm:prSet>
      <dgm:spPr/>
    </dgm:pt>
    <dgm:pt modelId="{45A0AF65-8670-4757-AB7B-EE31634C3AD0}" type="pres">
      <dgm:prSet presAssocID="{EE6668FD-BB9C-4961-895F-DE5CA64637A2}" presName="gear2srcNode" presStyleLbl="node1" presStyleIdx="1" presStyleCnt="3"/>
      <dgm:spPr/>
    </dgm:pt>
    <dgm:pt modelId="{C1DBE69E-98D7-4AFD-91C9-D76F10AE8F94}" type="pres">
      <dgm:prSet presAssocID="{EE6668FD-BB9C-4961-895F-DE5CA64637A2}" presName="gear2dstNode" presStyleLbl="node1" presStyleIdx="1" presStyleCnt="3"/>
      <dgm:spPr/>
    </dgm:pt>
    <dgm:pt modelId="{3788A2E7-7FAF-482E-ABFF-E4D484EAE70B}" type="pres">
      <dgm:prSet presAssocID="{3D853C5B-5609-4CC7-ADA9-F37E8D17692A}" presName="gear3" presStyleLbl="node1" presStyleIdx="2" presStyleCnt="3"/>
      <dgm:spPr/>
    </dgm:pt>
    <dgm:pt modelId="{9C87D96E-D95C-4CE1-B317-7870BFA791EE}" type="pres">
      <dgm:prSet presAssocID="{3D853C5B-5609-4CC7-ADA9-F37E8D17692A}" presName="gear3tx" presStyleLbl="node1" presStyleIdx="2" presStyleCnt="3">
        <dgm:presLayoutVars>
          <dgm:chMax val="1"/>
          <dgm:bulletEnabled val="1"/>
        </dgm:presLayoutVars>
      </dgm:prSet>
      <dgm:spPr/>
    </dgm:pt>
    <dgm:pt modelId="{C19A711D-4AB7-4CB8-BCC7-9A6DD2994989}" type="pres">
      <dgm:prSet presAssocID="{3D853C5B-5609-4CC7-ADA9-F37E8D17692A}" presName="gear3srcNode" presStyleLbl="node1" presStyleIdx="2" presStyleCnt="3"/>
      <dgm:spPr/>
    </dgm:pt>
    <dgm:pt modelId="{1E243D5E-1298-41DF-AEB7-F2624C7E54EB}" type="pres">
      <dgm:prSet presAssocID="{3D853C5B-5609-4CC7-ADA9-F37E8D17692A}" presName="gear3dstNode" presStyleLbl="node1" presStyleIdx="2" presStyleCnt="3"/>
      <dgm:spPr/>
    </dgm:pt>
    <dgm:pt modelId="{F946BEB8-2577-49A2-A6C0-1841A6F7F437}" type="pres">
      <dgm:prSet presAssocID="{B9D8FAB3-AA9D-4470-AE53-638D5ED6697D}" presName="connector1" presStyleLbl="sibTrans2D1" presStyleIdx="0" presStyleCnt="3"/>
      <dgm:spPr/>
    </dgm:pt>
    <dgm:pt modelId="{42046126-628A-4C66-849B-C14FC848705D}" type="pres">
      <dgm:prSet presAssocID="{09053312-27E3-49CE-8955-74B6AD252243}" presName="connector2" presStyleLbl="sibTrans2D1" presStyleIdx="1" presStyleCnt="3"/>
      <dgm:spPr/>
    </dgm:pt>
    <dgm:pt modelId="{23A68D34-2FBE-4005-ADA7-D84081A3905C}" type="pres">
      <dgm:prSet presAssocID="{9E542EAF-65AE-45A0-8694-82B4CE5AF7C3}" presName="connector3" presStyleLbl="sibTrans2D1" presStyleIdx="2" presStyleCnt="3"/>
      <dgm:spPr/>
    </dgm:pt>
  </dgm:ptLst>
  <dgm:cxnLst>
    <dgm:cxn modelId="{7135FC09-AAD3-4280-8E15-7276D58305A4}" type="presOf" srcId="{3D853C5B-5609-4CC7-ADA9-F37E8D17692A}" destId="{1E243D5E-1298-41DF-AEB7-F2624C7E54EB}" srcOrd="3" destOrd="0" presId="urn:microsoft.com/office/officeart/2005/8/layout/gear1"/>
    <dgm:cxn modelId="{04A61411-14EF-43DC-BDEE-42FA3EA756D1}" type="presOf" srcId="{9E542EAF-65AE-45A0-8694-82B4CE5AF7C3}" destId="{23A68D34-2FBE-4005-ADA7-D84081A3905C}" srcOrd="0" destOrd="0" presId="urn:microsoft.com/office/officeart/2005/8/layout/gear1"/>
    <dgm:cxn modelId="{D5FFCE21-FAF3-48CA-A43E-EA32CB284302}" srcId="{1C1D1458-DA04-420D-AEAB-E525BAE8C1F7}" destId="{3B81999E-36D0-4E33-BFBC-23DF65DCBF4F}" srcOrd="3" destOrd="0" parTransId="{F45782E4-EA48-4193-8E00-4060BA84A927}" sibTransId="{AFEBCCF9-48C7-4510-A7F3-FDEE3BA38D79}"/>
    <dgm:cxn modelId="{8B157625-E8C6-4BF5-93DD-58AF3B98709A}" type="presOf" srcId="{3D853C5B-5609-4CC7-ADA9-F37E8D17692A}" destId="{9C87D96E-D95C-4CE1-B317-7870BFA791EE}" srcOrd="1" destOrd="0" presId="urn:microsoft.com/office/officeart/2005/8/layout/gear1"/>
    <dgm:cxn modelId="{DE791334-48FF-4E46-8922-9328AC1BED5F}" type="presOf" srcId="{AD64B5FE-6EB2-4CA6-ABEE-1C27E8C7B2F1}" destId="{4C1E598F-E92C-4BA7-8CCE-D10E410E3A17}" srcOrd="1" destOrd="0" presId="urn:microsoft.com/office/officeart/2005/8/layout/gear1"/>
    <dgm:cxn modelId="{23076639-37F7-4709-901E-C09E8B4A9CD3}" srcId="{1C1D1458-DA04-420D-AEAB-E525BAE8C1F7}" destId="{EE6668FD-BB9C-4961-895F-DE5CA64637A2}" srcOrd="1" destOrd="0" parTransId="{9EF41278-854C-4779-A2ED-40953AD8B83E}" sibTransId="{09053312-27E3-49CE-8955-74B6AD252243}"/>
    <dgm:cxn modelId="{B042EE62-A0A2-4D6B-A341-6BBA3F6E9A48}" type="presOf" srcId="{B9D8FAB3-AA9D-4470-AE53-638D5ED6697D}" destId="{F946BEB8-2577-49A2-A6C0-1841A6F7F437}" srcOrd="0" destOrd="0" presId="urn:microsoft.com/office/officeart/2005/8/layout/gear1"/>
    <dgm:cxn modelId="{5C707F6A-936F-4ABE-892A-79D883D9A975}" srcId="{1C1D1458-DA04-420D-AEAB-E525BAE8C1F7}" destId="{3D853C5B-5609-4CC7-ADA9-F37E8D17692A}" srcOrd="2" destOrd="0" parTransId="{8A989FB0-9245-4D1F-96EF-7C81080E82CC}" sibTransId="{9E542EAF-65AE-45A0-8694-82B4CE5AF7C3}"/>
    <dgm:cxn modelId="{51236673-DB59-4C00-9668-60042023416A}" type="presOf" srcId="{3D853C5B-5609-4CC7-ADA9-F37E8D17692A}" destId="{3788A2E7-7FAF-482E-ABFF-E4D484EAE70B}" srcOrd="0" destOrd="0" presId="urn:microsoft.com/office/officeart/2005/8/layout/gear1"/>
    <dgm:cxn modelId="{5D81C054-8035-459F-A0F6-7A543904B298}" type="presOf" srcId="{EE6668FD-BB9C-4961-895F-DE5CA64637A2}" destId="{C1DBE69E-98D7-4AFD-91C9-D76F10AE8F94}" srcOrd="2" destOrd="0" presId="urn:microsoft.com/office/officeart/2005/8/layout/gear1"/>
    <dgm:cxn modelId="{E9822F7D-0095-452C-98C6-73C36AA4CE2E}" type="presOf" srcId="{AD64B5FE-6EB2-4CA6-ABEE-1C27E8C7B2F1}" destId="{A6F58985-47FE-452D-A665-95AEEA463432}" srcOrd="0" destOrd="0" presId="urn:microsoft.com/office/officeart/2005/8/layout/gear1"/>
    <dgm:cxn modelId="{63AD689B-28C7-4B46-9A6F-3338AF2F9563}" srcId="{1C1D1458-DA04-420D-AEAB-E525BAE8C1F7}" destId="{AD64B5FE-6EB2-4CA6-ABEE-1C27E8C7B2F1}" srcOrd="0" destOrd="0" parTransId="{7859DC46-32C2-493E-A643-829EACAF4CEF}" sibTransId="{B9D8FAB3-AA9D-4470-AE53-638D5ED6697D}"/>
    <dgm:cxn modelId="{2F22099D-1B41-414D-B00C-087498A772C5}" type="presOf" srcId="{EE6668FD-BB9C-4961-895F-DE5CA64637A2}" destId="{45A0AF65-8670-4757-AB7B-EE31634C3AD0}" srcOrd="1" destOrd="0" presId="urn:microsoft.com/office/officeart/2005/8/layout/gear1"/>
    <dgm:cxn modelId="{08C6A0A1-175A-4939-BEE7-7B8409314560}" type="presOf" srcId="{EE6668FD-BB9C-4961-895F-DE5CA64637A2}" destId="{FB659CDC-234E-4F5C-9C51-394B4A84263F}" srcOrd="0" destOrd="0" presId="urn:microsoft.com/office/officeart/2005/8/layout/gear1"/>
    <dgm:cxn modelId="{D3B53FA3-B06B-4840-BB05-A23A7B45A51B}" type="presOf" srcId="{3D853C5B-5609-4CC7-ADA9-F37E8D17692A}" destId="{C19A711D-4AB7-4CB8-BCC7-9A6DD2994989}" srcOrd="2" destOrd="0" presId="urn:microsoft.com/office/officeart/2005/8/layout/gear1"/>
    <dgm:cxn modelId="{1CE51FA6-94C6-48D9-914C-8BD4384A30E3}" type="presOf" srcId="{1C1D1458-DA04-420D-AEAB-E525BAE8C1F7}" destId="{8B2D8AA9-1ED3-4299-9826-0A44E9A66887}" srcOrd="0" destOrd="0" presId="urn:microsoft.com/office/officeart/2005/8/layout/gear1"/>
    <dgm:cxn modelId="{DBB023DB-921C-4233-8BE7-CF2D4375B809}" type="presOf" srcId="{AD64B5FE-6EB2-4CA6-ABEE-1C27E8C7B2F1}" destId="{D1CC35F1-9671-46B3-910D-DD26CB704605}" srcOrd="2" destOrd="0" presId="urn:microsoft.com/office/officeart/2005/8/layout/gear1"/>
    <dgm:cxn modelId="{B279FAF6-448F-49D2-8048-07098736F37F}" type="presOf" srcId="{09053312-27E3-49CE-8955-74B6AD252243}" destId="{42046126-628A-4C66-849B-C14FC848705D}" srcOrd="0" destOrd="0" presId="urn:microsoft.com/office/officeart/2005/8/layout/gear1"/>
    <dgm:cxn modelId="{20AC0B4D-094A-4D7A-87DC-17B79D64F263}" type="presParOf" srcId="{8B2D8AA9-1ED3-4299-9826-0A44E9A66887}" destId="{A6F58985-47FE-452D-A665-95AEEA463432}" srcOrd="0" destOrd="0" presId="urn:microsoft.com/office/officeart/2005/8/layout/gear1"/>
    <dgm:cxn modelId="{123F3CCE-9555-479E-93E5-1F6A21A77D5D}" type="presParOf" srcId="{8B2D8AA9-1ED3-4299-9826-0A44E9A66887}" destId="{4C1E598F-E92C-4BA7-8CCE-D10E410E3A17}" srcOrd="1" destOrd="0" presId="urn:microsoft.com/office/officeart/2005/8/layout/gear1"/>
    <dgm:cxn modelId="{9FDA3CCB-3720-47DF-80B2-6B85773B70C5}" type="presParOf" srcId="{8B2D8AA9-1ED3-4299-9826-0A44E9A66887}" destId="{D1CC35F1-9671-46B3-910D-DD26CB704605}" srcOrd="2" destOrd="0" presId="urn:microsoft.com/office/officeart/2005/8/layout/gear1"/>
    <dgm:cxn modelId="{C07F0C2F-FCAB-413B-B318-8637AB9F0F57}" type="presParOf" srcId="{8B2D8AA9-1ED3-4299-9826-0A44E9A66887}" destId="{FB659CDC-234E-4F5C-9C51-394B4A84263F}" srcOrd="3" destOrd="0" presId="urn:microsoft.com/office/officeart/2005/8/layout/gear1"/>
    <dgm:cxn modelId="{2EC90A20-935A-40CF-AFF5-0AB7A97120BB}" type="presParOf" srcId="{8B2D8AA9-1ED3-4299-9826-0A44E9A66887}" destId="{45A0AF65-8670-4757-AB7B-EE31634C3AD0}" srcOrd="4" destOrd="0" presId="urn:microsoft.com/office/officeart/2005/8/layout/gear1"/>
    <dgm:cxn modelId="{3131DA83-1975-4E69-B60D-B6B240D1276D}" type="presParOf" srcId="{8B2D8AA9-1ED3-4299-9826-0A44E9A66887}" destId="{C1DBE69E-98D7-4AFD-91C9-D76F10AE8F94}" srcOrd="5" destOrd="0" presId="urn:microsoft.com/office/officeart/2005/8/layout/gear1"/>
    <dgm:cxn modelId="{1BCF794A-0A0A-4588-9484-DA6993624DE4}" type="presParOf" srcId="{8B2D8AA9-1ED3-4299-9826-0A44E9A66887}" destId="{3788A2E7-7FAF-482E-ABFF-E4D484EAE70B}" srcOrd="6" destOrd="0" presId="urn:microsoft.com/office/officeart/2005/8/layout/gear1"/>
    <dgm:cxn modelId="{E46DBC03-FA4C-4E3E-BB51-84D8216DCB54}" type="presParOf" srcId="{8B2D8AA9-1ED3-4299-9826-0A44E9A66887}" destId="{9C87D96E-D95C-4CE1-B317-7870BFA791EE}" srcOrd="7" destOrd="0" presId="urn:microsoft.com/office/officeart/2005/8/layout/gear1"/>
    <dgm:cxn modelId="{36D6533B-4E61-4590-96F4-CFFCB64F154D}" type="presParOf" srcId="{8B2D8AA9-1ED3-4299-9826-0A44E9A66887}" destId="{C19A711D-4AB7-4CB8-BCC7-9A6DD2994989}" srcOrd="8" destOrd="0" presId="urn:microsoft.com/office/officeart/2005/8/layout/gear1"/>
    <dgm:cxn modelId="{846EC731-652E-49C8-B380-E4A425FD1D44}" type="presParOf" srcId="{8B2D8AA9-1ED3-4299-9826-0A44E9A66887}" destId="{1E243D5E-1298-41DF-AEB7-F2624C7E54EB}" srcOrd="9" destOrd="0" presId="urn:microsoft.com/office/officeart/2005/8/layout/gear1"/>
    <dgm:cxn modelId="{F2368387-3A1D-4C8C-8AAA-5BF2C52820E2}" type="presParOf" srcId="{8B2D8AA9-1ED3-4299-9826-0A44E9A66887}" destId="{F946BEB8-2577-49A2-A6C0-1841A6F7F437}" srcOrd="10" destOrd="0" presId="urn:microsoft.com/office/officeart/2005/8/layout/gear1"/>
    <dgm:cxn modelId="{D8A152E6-D332-433E-AB56-1CDBA91EF142}" type="presParOf" srcId="{8B2D8AA9-1ED3-4299-9826-0A44E9A66887}" destId="{42046126-628A-4C66-849B-C14FC848705D}" srcOrd="11" destOrd="0" presId="urn:microsoft.com/office/officeart/2005/8/layout/gear1"/>
    <dgm:cxn modelId="{CAFE9107-038B-45EE-9D6B-38FB70B18124}" type="presParOf" srcId="{8B2D8AA9-1ED3-4299-9826-0A44E9A66887}" destId="{23A68D34-2FBE-4005-ADA7-D84081A3905C}" srcOrd="12" destOrd="0" presId="urn:microsoft.com/office/officeart/2005/8/layout/gear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8.xml><?xml version="1.0" encoding="utf-8"?>
<dgm:dataModel xmlns:dgm="http://schemas.openxmlformats.org/drawingml/2006/diagram" xmlns:a="http://schemas.openxmlformats.org/drawingml/2006/main">
  <dgm:ptLst>
    <dgm:pt modelId="{1C1D1458-DA04-420D-AEAB-E525BAE8C1F7}" type="doc">
      <dgm:prSet loTypeId="urn:microsoft.com/office/officeart/2005/8/layout/gear1" loCatId="process" qsTypeId="urn:microsoft.com/office/officeart/2005/8/quickstyle/simple3" qsCatId="simple" csTypeId="urn:microsoft.com/office/officeart/2005/8/colors/colorful5" csCatId="colorful" phldr="1"/>
      <dgm:spPr/>
      <dgm:t>
        <a:bodyPr/>
        <a:lstStyle/>
        <a:p>
          <a:endParaRPr lang="en-US"/>
        </a:p>
      </dgm:t>
    </dgm:pt>
    <dgm:pt modelId="{AD64B5FE-6EB2-4CA6-ABEE-1C27E8C7B2F1}">
      <dgm:prSet phldrT="[Text]"/>
      <dgm:spPr/>
      <dgm:t>
        <a:bodyPr/>
        <a:lstStyle/>
        <a:p>
          <a:r>
            <a:rPr lang="en-US" dirty="0"/>
            <a:t>Mandatory Disclosure</a:t>
          </a:r>
        </a:p>
      </dgm:t>
    </dgm:pt>
    <dgm:pt modelId="{7859DC46-32C2-493E-A643-829EACAF4CEF}" type="parTrans" cxnId="{63AD689B-28C7-4B46-9A6F-3338AF2F9563}">
      <dgm:prSet/>
      <dgm:spPr/>
      <dgm:t>
        <a:bodyPr/>
        <a:lstStyle/>
        <a:p>
          <a:endParaRPr lang="en-US"/>
        </a:p>
      </dgm:t>
    </dgm:pt>
    <dgm:pt modelId="{B9D8FAB3-AA9D-4470-AE53-638D5ED6697D}" type="sibTrans" cxnId="{63AD689B-28C7-4B46-9A6F-3338AF2F9563}">
      <dgm:prSet/>
      <dgm:spPr/>
      <dgm:t>
        <a:bodyPr/>
        <a:lstStyle/>
        <a:p>
          <a:endParaRPr lang="en-US"/>
        </a:p>
      </dgm:t>
    </dgm:pt>
    <dgm:pt modelId="{EE6668FD-BB9C-4961-895F-DE5CA64637A2}">
      <dgm:prSet phldrT="[Text]"/>
      <dgm:spPr/>
      <dgm:t>
        <a:bodyPr/>
        <a:lstStyle/>
        <a:p>
          <a:r>
            <a:rPr lang="en-US" dirty="0"/>
            <a:t>Voluntary Disclosure</a:t>
          </a:r>
        </a:p>
      </dgm:t>
    </dgm:pt>
    <dgm:pt modelId="{9EF41278-854C-4779-A2ED-40953AD8B83E}" type="parTrans" cxnId="{23076639-37F7-4709-901E-C09E8B4A9CD3}">
      <dgm:prSet/>
      <dgm:spPr/>
      <dgm:t>
        <a:bodyPr/>
        <a:lstStyle/>
        <a:p>
          <a:endParaRPr lang="en-US"/>
        </a:p>
      </dgm:t>
    </dgm:pt>
    <dgm:pt modelId="{09053312-27E3-49CE-8955-74B6AD252243}" type="sibTrans" cxnId="{23076639-37F7-4709-901E-C09E8B4A9CD3}">
      <dgm:prSet/>
      <dgm:spPr/>
      <dgm:t>
        <a:bodyPr/>
        <a:lstStyle/>
        <a:p>
          <a:endParaRPr lang="en-US"/>
        </a:p>
      </dgm:t>
    </dgm:pt>
    <dgm:pt modelId="{3D853C5B-5609-4CC7-ADA9-F37E8D17692A}">
      <dgm:prSet phldrT="[Text]"/>
      <dgm:spPr/>
      <dgm:t>
        <a:bodyPr/>
        <a:lstStyle/>
        <a:p>
          <a:r>
            <a:rPr lang="en-US" dirty="0"/>
            <a:t>Whistleblower</a:t>
          </a:r>
        </a:p>
      </dgm:t>
    </dgm:pt>
    <dgm:pt modelId="{8A989FB0-9245-4D1F-96EF-7C81080E82CC}" type="parTrans" cxnId="{5C707F6A-936F-4ABE-892A-79D883D9A975}">
      <dgm:prSet/>
      <dgm:spPr/>
      <dgm:t>
        <a:bodyPr/>
        <a:lstStyle/>
        <a:p>
          <a:endParaRPr lang="en-US"/>
        </a:p>
      </dgm:t>
    </dgm:pt>
    <dgm:pt modelId="{9E542EAF-65AE-45A0-8694-82B4CE5AF7C3}" type="sibTrans" cxnId="{5C707F6A-936F-4ABE-892A-79D883D9A975}">
      <dgm:prSet/>
      <dgm:spPr/>
      <dgm:t>
        <a:bodyPr/>
        <a:lstStyle/>
        <a:p>
          <a:endParaRPr lang="en-US"/>
        </a:p>
      </dgm:t>
    </dgm:pt>
    <dgm:pt modelId="{3B81999E-36D0-4E33-BFBC-23DF65DCBF4F}">
      <dgm:prSet phldrT="[Text]"/>
      <dgm:spPr/>
      <dgm:t>
        <a:bodyPr/>
        <a:lstStyle/>
        <a:p>
          <a:endParaRPr lang="en-US"/>
        </a:p>
      </dgm:t>
    </dgm:pt>
    <dgm:pt modelId="{F45782E4-EA48-4193-8E00-4060BA84A927}" type="parTrans" cxnId="{D5FFCE21-FAF3-48CA-A43E-EA32CB284302}">
      <dgm:prSet/>
      <dgm:spPr/>
      <dgm:t>
        <a:bodyPr/>
        <a:lstStyle/>
        <a:p>
          <a:endParaRPr lang="en-US"/>
        </a:p>
      </dgm:t>
    </dgm:pt>
    <dgm:pt modelId="{AFEBCCF9-48C7-4510-A7F3-FDEE3BA38D79}" type="sibTrans" cxnId="{D5FFCE21-FAF3-48CA-A43E-EA32CB284302}">
      <dgm:prSet/>
      <dgm:spPr/>
      <dgm:t>
        <a:bodyPr/>
        <a:lstStyle/>
        <a:p>
          <a:endParaRPr lang="en-US"/>
        </a:p>
      </dgm:t>
    </dgm:pt>
    <dgm:pt modelId="{8B2D8AA9-1ED3-4299-9826-0A44E9A66887}" type="pres">
      <dgm:prSet presAssocID="{1C1D1458-DA04-420D-AEAB-E525BAE8C1F7}" presName="composite" presStyleCnt="0">
        <dgm:presLayoutVars>
          <dgm:chMax val="3"/>
          <dgm:animLvl val="lvl"/>
          <dgm:resizeHandles val="exact"/>
        </dgm:presLayoutVars>
      </dgm:prSet>
      <dgm:spPr/>
    </dgm:pt>
    <dgm:pt modelId="{A6F58985-47FE-452D-A665-95AEEA463432}" type="pres">
      <dgm:prSet presAssocID="{AD64B5FE-6EB2-4CA6-ABEE-1C27E8C7B2F1}" presName="gear1" presStyleLbl="node1" presStyleIdx="0" presStyleCnt="3">
        <dgm:presLayoutVars>
          <dgm:chMax val="1"/>
          <dgm:bulletEnabled val="1"/>
        </dgm:presLayoutVars>
      </dgm:prSet>
      <dgm:spPr/>
    </dgm:pt>
    <dgm:pt modelId="{4C1E598F-E92C-4BA7-8CCE-D10E410E3A17}" type="pres">
      <dgm:prSet presAssocID="{AD64B5FE-6EB2-4CA6-ABEE-1C27E8C7B2F1}" presName="gear1srcNode" presStyleLbl="node1" presStyleIdx="0" presStyleCnt="3"/>
      <dgm:spPr/>
    </dgm:pt>
    <dgm:pt modelId="{D1CC35F1-9671-46B3-910D-DD26CB704605}" type="pres">
      <dgm:prSet presAssocID="{AD64B5FE-6EB2-4CA6-ABEE-1C27E8C7B2F1}" presName="gear1dstNode" presStyleLbl="node1" presStyleIdx="0" presStyleCnt="3"/>
      <dgm:spPr/>
    </dgm:pt>
    <dgm:pt modelId="{FB659CDC-234E-4F5C-9C51-394B4A84263F}" type="pres">
      <dgm:prSet presAssocID="{EE6668FD-BB9C-4961-895F-DE5CA64637A2}" presName="gear2" presStyleLbl="node1" presStyleIdx="1" presStyleCnt="3">
        <dgm:presLayoutVars>
          <dgm:chMax val="1"/>
          <dgm:bulletEnabled val="1"/>
        </dgm:presLayoutVars>
      </dgm:prSet>
      <dgm:spPr/>
    </dgm:pt>
    <dgm:pt modelId="{45A0AF65-8670-4757-AB7B-EE31634C3AD0}" type="pres">
      <dgm:prSet presAssocID="{EE6668FD-BB9C-4961-895F-DE5CA64637A2}" presName="gear2srcNode" presStyleLbl="node1" presStyleIdx="1" presStyleCnt="3"/>
      <dgm:spPr/>
    </dgm:pt>
    <dgm:pt modelId="{C1DBE69E-98D7-4AFD-91C9-D76F10AE8F94}" type="pres">
      <dgm:prSet presAssocID="{EE6668FD-BB9C-4961-895F-DE5CA64637A2}" presName="gear2dstNode" presStyleLbl="node1" presStyleIdx="1" presStyleCnt="3"/>
      <dgm:spPr/>
    </dgm:pt>
    <dgm:pt modelId="{3788A2E7-7FAF-482E-ABFF-E4D484EAE70B}" type="pres">
      <dgm:prSet presAssocID="{3D853C5B-5609-4CC7-ADA9-F37E8D17692A}" presName="gear3" presStyleLbl="node1" presStyleIdx="2" presStyleCnt="3"/>
      <dgm:spPr/>
    </dgm:pt>
    <dgm:pt modelId="{9C87D96E-D95C-4CE1-B317-7870BFA791EE}" type="pres">
      <dgm:prSet presAssocID="{3D853C5B-5609-4CC7-ADA9-F37E8D17692A}" presName="gear3tx" presStyleLbl="node1" presStyleIdx="2" presStyleCnt="3">
        <dgm:presLayoutVars>
          <dgm:chMax val="1"/>
          <dgm:bulletEnabled val="1"/>
        </dgm:presLayoutVars>
      </dgm:prSet>
      <dgm:spPr/>
    </dgm:pt>
    <dgm:pt modelId="{C19A711D-4AB7-4CB8-BCC7-9A6DD2994989}" type="pres">
      <dgm:prSet presAssocID="{3D853C5B-5609-4CC7-ADA9-F37E8D17692A}" presName="gear3srcNode" presStyleLbl="node1" presStyleIdx="2" presStyleCnt="3"/>
      <dgm:spPr/>
    </dgm:pt>
    <dgm:pt modelId="{1E243D5E-1298-41DF-AEB7-F2624C7E54EB}" type="pres">
      <dgm:prSet presAssocID="{3D853C5B-5609-4CC7-ADA9-F37E8D17692A}" presName="gear3dstNode" presStyleLbl="node1" presStyleIdx="2" presStyleCnt="3"/>
      <dgm:spPr/>
    </dgm:pt>
    <dgm:pt modelId="{F946BEB8-2577-49A2-A6C0-1841A6F7F437}" type="pres">
      <dgm:prSet presAssocID="{B9D8FAB3-AA9D-4470-AE53-638D5ED6697D}" presName="connector1" presStyleLbl="sibTrans2D1" presStyleIdx="0" presStyleCnt="3"/>
      <dgm:spPr/>
    </dgm:pt>
    <dgm:pt modelId="{42046126-628A-4C66-849B-C14FC848705D}" type="pres">
      <dgm:prSet presAssocID="{09053312-27E3-49CE-8955-74B6AD252243}" presName="connector2" presStyleLbl="sibTrans2D1" presStyleIdx="1" presStyleCnt="3"/>
      <dgm:spPr/>
    </dgm:pt>
    <dgm:pt modelId="{23A68D34-2FBE-4005-ADA7-D84081A3905C}" type="pres">
      <dgm:prSet presAssocID="{9E542EAF-65AE-45A0-8694-82B4CE5AF7C3}" presName="connector3" presStyleLbl="sibTrans2D1" presStyleIdx="2" presStyleCnt="3"/>
      <dgm:spPr/>
    </dgm:pt>
  </dgm:ptLst>
  <dgm:cxnLst>
    <dgm:cxn modelId="{BBDC5915-82F2-4B87-9186-80965F277162}" type="presOf" srcId="{9E542EAF-65AE-45A0-8694-82B4CE5AF7C3}" destId="{23A68D34-2FBE-4005-ADA7-D84081A3905C}" srcOrd="0" destOrd="0" presId="urn:microsoft.com/office/officeart/2005/8/layout/gear1"/>
    <dgm:cxn modelId="{9E1CFE1F-13E6-4E20-90D2-D902351457BE}" type="presOf" srcId="{3D853C5B-5609-4CC7-ADA9-F37E8D17692A}" destId="{1E243D5E-1298-41DF-AEB7-F2624C7E54EB}" srcOrd="3" destOrd="0" presId="urn:microsoft.com/office/officeart/2005/8/layout/gear1"/>
    <dgm:cxn modelId="{D5FFCE21-FAF3-48CA-A43E-EA32CB284302}" srcId="{1C1D1458-DA04-420D-AEAB-E525BAE8C1F7}" destId="{3B81999E-36D0-4E33-BFBC-23DF65DCBF4F}" srcOrd="3" destOrd="0" parTransId="{F45782E4-EA48-4193-8E00-4060BA84A927}" sibTransId="{AFEBCCF9-48C7-4510-A7F3-FDEE3BA38D79}"/>
    <dgm:cxn modelId="{C9F6A92E-E56E-4217-BB6F-D14060907EEC}" type="presOf" srcId="{3D853C5B-5609-4CC7-ADA9-F37E8D17692A}" destId="{9C87D96E-D95C-4CE1-B317-7870BFA791EE}" srcOrd="1" destOrd="0" presId="urn:microsoft.com/office/officeart/2005/8/layout/gear1"/>
    <dgm:cxn modelId="{09AF2530-5FEB-49AE-9DF5-1CE7BC76D199}" type="presOf" srcId="{3D853C5B-5609-4CC7-ADA9-F37E8D17692A}" destId="{3788A2E7-7FAF-482E-ABFF-E4D484EAE70B}" srcOrd="0" destOrd="0" presId="urn:microsoft.com/office/officeart/2005/8/layout/gear1"/>
    <dgm:cxn modelId="{23076639-37F7-4709-901E-C09E8B4A9CD3}" srcId="{1C1D1458-DA04-420D-AEAB-E525BAE8C1F7}" destId="{EE6668FD-BB9C-4961-895F-DE5CA64637A2}" srcOrd="1" destOrd="0" parTransId="{9EF41278-854C-4779-A2ED-40953AD8B83E}" sibTransId="{09053312-27E3-49CE-8955-74B6AD252243}"/>
    <dgm:cxn modelId="{D74E8E3C-16B3-450B-B891-E5CCFB74AB82}" type="presOf" srcId="{EE6668FD-BB9C-4961-895F-DE5CA64637A2}" destId="{45A0AF65-8670-4757-AB7B-EE31634C3AD0}" srcOrd="1" destOrd="0" presId="urn:microsoft.com/office/officeart/2005/8/layout/gear1"/>
    <dgm:cxn modelId="{A17F1B44-ADA1-4D96-87FC-D31B56EE0789}" type="presOf" srcId="{EE6668FD-BB9C-4961-895F-DE5CA64637A2}" destId="{C1DBE69E-98D7-4AFD-91C9-D76F10AE8F94}" srcOrd="2" destOrd="0" presId="urn:microsoft.com/office/officeart/2005/8/layout/gear1"/>
    <dgm:cxn modelId="{5C707F6A-936F-4ABE-892A-79D883D9A975}" srcId="{1C1D1458-DA04-420D-AEAB-E525BAE8C1F7}" destId="{3D853C5B-5609-4CC7-ADA9-F37E8D17692A}" srcOrd="2" destOrd="0" parTransId="{8A989FB0-9245-4D1F-96EF-7C81080E82CC}" sibTransId="{9E542EAF-65AE-45A0-8694-82B4CE5AF7C3}"/>
    <dgm:cxn modelId="{E929B057-373B-4D93-9D99-A2AEF198FE5A}" type="presOf" srcId="{3D853C5B-5609-4CC7-ADA9-F37E8D17692A}" destId="{C19A711D-4AB7-4CB8-BCC7-9A6DD2994989}" srcOrd="2" destOrd="0" presId="urn:microsoft.com/office/officeart/2005/8/layout/gear1"/>
    <dgm:cxn modelId="{A437B677-7339-40E0-85C5-7DAEF432773C}" type="presOf" srcId="{AD64B5FE-6EB2-4CA6-ABEE-1C27E8C7B2F1}" destId="{D1CC35F1-9671-46B3-910D-DD26CB704605}" srcOrd="2" destOrd="0" presId="urn:microsoft.com/office/officeart/2005/8/layout/gear1"/>
    <dgm:cxn modelId="{115EBD89-8C10-42B8-ADA6-DE42C265FDEC}" type="presOf" srcId="{09053312-27E3-49CE-8955-74B6AD252243}" destId="{42046126-628A-4C66-849B-C14FC848705D}" srcOrd="0" destOrd="0" presId="urn:microsoft.com/office/officeart/2005/8/layout/gear1"/>
    <dgm:cxn modelId="{CAEB1B8B-ED88-4FAA-8EBC-A997A696CB03}" type="presOf" srcId="{B9D8FAB3-AA9D-4470-AE53-638D5ED6697D}" destId="{F946BEB8-2577-49A2-A6C0-1841A6F7F437}" srcOrd="0" destOrd="0" presId="urn:microsoft.com/office/officeart/2005/8/layout/gear1"/>
    <dgm:cxn modelId="{63AD689B-28C7-4B46-9A6F-3338AF2F9563}" srcId="{1C1D1458-DA04-420D-AEAB-E525BAE8C1F7}" destId="{AD64B5FE-6EB2-4CA6-ABEE-1C27E8C7B2F1}" srcOrd="0" destOrd="0" parTransId="{7859DC46-32C2-493E-A643-829EACAF4CEF}" sibTransId="{B9D8FAB3-AA9D-4470-AE53-638D5ED6697D}"/>
    <dgm:cxn modelId="{B1842FC3-741D-4FE7-BC4A-53202A40000F}" type="presOf" srcId="{1C1D1458-DA04-420D-AEAB-E525BAE8C1F7}" destId="{8B2D8AA9-1ED3-4299-9826-0A44E9A66887}" srcOrd="0" destOrd="0" presId="urn:microsoft.com/office/officeart/2005/8/layout/gear1"/>
    <dgm:cxn modelId="{E5B40ECC-7B9E-46D1-B639-7D844816BB00}" type="presOf" srcId="{AD64B5FE-6EB2-4CA6-ABEE-1C27E8C7B2F1}" destId="{4C1E598F-E92C-4BA7-8CCE-D10E410E3A17}" srcOrd="1" destOrd="0" presId="urn:microsoft.com/office/officeart/2005/8/layout/gear1"/>
    <dgm:cxn modelId="{4BDEA1DC-8462-4256-989F-CD2AB090B262}" type="presOf" srcId="{EE6668FD-BB9C-4961-895F-DE5CA64637A2}" destId="{FB659CDC-234E-4F5C-9C51-394B4A84263F}" srcOrd="0" destOrd="0" presId="urn:microsoft.com/office/officeart/2005/8/layout/gear1"/>
    <dgm:cxn modelId="{453555FB-4B19-4BE6-83D0-7C8B31474BB0}" type="presOf" srcId="{AD64B5FE-6EB2-4CA6-ABEE-1C27E8C7B2F1}" destId="{A6F58985-47FE-452D-A665-95AEEA463432}" srcOrd="0" destOrd="0" presId="urn:microsoft.com/office/officeart/2005/8/layout/gear1"/>
    <dgm:cxn modelId="{A25F402B-2472-4486-9FA4-CCCB24721304}" type="presParOf" srcId="{8B2D8AA9-1ED3-4299-9826-0A44E9A66887}" destId="{A6F58985-47FE-452D-A665-95AEEA463432}" srcOrd="0" destOrd="0" presId="urn:microsoft.com/office/officeart/2005/8/layout/gear1"/>
    <dgm:cxn modelId="{E771CDA0-0F88-42C7-ACFE-5B7C56F523DF}" type="presParOf" srcId="{8B2D8AA9-1ED3-4299-9826-0A44E9A66887}" destId="{4C1E598F-E92C-4BA7-8CCE-D10E410E3A17}" srcOrd="1" destOrd="0" presId="urn:microsoft.com/office/officeart/2005/8/layout/gear1"/>
    <dgm:cxn modelId="{0256E31C-BFDA-4ACB-9EF2-32439FC4ED24}" type="presParOf" srcId="{8B2D8AA9-1ED3-4299-9826-0A44E9A66887}" destId="{D1CC35F1-9671-46B3-910D-DD26CB704605}" srcOrd="2" destOrd="0" presId="urn:microsoft.com/office/officeart/2005/8/layout/gear1"/>
    <dgm:cxn modelId="{F93A5A4E-A482-40CD-89C1-2DFA2306AA2D}" type="presParOf" srcId="{8B2D8AA9-1ED3-4299-9826-0A44E9A66887}" destId="{FB659CDC-234E-4F5C-9C51-394B4A84263F}" srcOrd="3" destOrd="0" presId="urn:microsoft.com/office/officeart/2005/8/layout/gear1"/>
    <dgm:cxn modelId="{84A8707A-9963-4D90-85E5-E0EB7EC1D22D}" type="presParOf" srcId="{8B2D8AA9-1ED3-4299-9826-0A44E9A66887}" destId="{45A0AF65-8670-4757-AB7B-EE31634C3AD0}" srcOrd="4" destOrd="0" presId="urn:microsoft.com/office/officeart/2005/8/layout/gear1"/>
    <dgm:cxn modelId="{69EB11B0-A48F-4569-ADDE-937BA4BD49E6}" type="presParOf" srcId="{8B2D8AA9-1ED3-4299-9826-0A44E9A66887}" destId="{C1DBE69E-98D7-4AFD-91C9-D76F10AE8F94}" srcOrd="5" destOrd="0" presId="urn:microsoft.com/office/officeart/2005/8/layout/gear1"/>
    <dgm:cxn modelId="{F6284663-9A56-49BB-9B25-56F25BF8CCDD}" type="presParOf" srcId="{8B2D8AA9-1ED3-4299-9826-0A44E9A66887}" destId="{3788A2E7-7FAF-482E-ABFF-E4D484EAE70B}" srcOrd="6" destOrd="0" presId="urn:microsoft.com/office/officeart/2005/8/layout/gear1"/>
    <dgm:cxn modelId="{FDBBC53F-EDDF-4DBD-AA16-5851416F45D6}" type="presParOf" srcId="{8B2D8AA9-1ED3-4299-9826-0A44E9A66887}" destId="{9C87D96E-D95C-4CE1-B317-7870BFA791EE}" srcOrd="7" destOrd="0" presId="urn:microsoft.com/office/officeart/2005/8/layout/gear1"/>
    <dgm:cxn modelId="{A7ABB0CA-D3D7-4A26-99BA-6B6D6DAF9AB3}" type="presParOf" srcId="{8B2D8AA9-1ED3-4299-9826-0A44E9A66887}" destId="{C19A711D-4AB7-4CB8-BCC7-9A6DD2994989}" srcOrd="8" destOrd="0" presId="urn:microsoft.com/office/officeart/2005/8/layout/gear1"/>
    <dgm:cxn modelId="{D27AF40B-12C1-436A-9A78-D7D1627CDA70}" type="presParOf" srcId="{8B2D8AA9-1ED3-4299-9826-0A44E9A66887}" destId="{1E243D5E-1298-41DF-AEB7-F2624C7E54EB}" srcOrd="9" destOrd="0" presId="urn:microsoft.com/office/officeart/2005/8/layout/gear1"/>
    <dgm:cxn modelId="{3C987BFF-AC4B-4251-8933-78AC06EE28AD}" type="presParOf" srcId="{8B2D8AA9-1ED3-4299-9826-0A44E9A66887}" destId="{F946BEB8-2577-49A2-A6C0-1841A6F7F437}" srcOrd="10" destOrd="0" presId="urn:microsoft.com/office/officeart/2005/8/layout/gear1"/>
    <dgm:cxn modelId="{77F769A3-CB0E-475E-947F-1DBE7F7ECBF6}" type="presParOf" srcId="{8B2D8AA9-1ED3-4299-9826-0A44E9A66887}" destId="{42046126-628A-4C66-849B-C14FC848705D}" srcOrd="11" destOrd="0" presId="urn:microsoft.com/office/officeart/2005/8/layout/gear1"/>
    <dgm:cxn modelId="{30A8D37B-4DDA-4EDE-8603-A5FCC3DB15EE}" type="presParOf" srcId="{8B2D8AA9-1ED3-4299-9826-0A44E9A66887}" destId="{23A68D34-2FBE-4005-ADA7-D84081A3905C}" srcOrd="12" destOrd="0" presId="urn:microsoft.com/office/officeart/2005/8/layout/gear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10FA302F-B3C2-4263-8029-627A1B2C4EC5}" type="doc">
      <dgm:prSet loTypeId="urn:microsoft.com/office/officeart/2005/8/layout/arrow2" loCatId="process" qsTypeId="urn:microsoft.com/office/officeart/2005/8/quickstyle/simple1" qsCatId="simple" csTypeId="urn:microsoft.com/office/officeart/2005/8/colors/accent1_2" csCatId="accent1" phldr="1"/>
      <dgm:spPr/>
    </dgm:pt>
    <dgm:pt modelId="{283217B2-67F6-4FD1-B1AE-87BD23D71F89}">
      <dgm:prSet phldrT="[Text]"/>
      <dgm:spPr/>
      <dgm:t>
        <a:bodyPr/>
        <a:lstStyle/>
        <a:p>
          <a:r>
            <a:rPr lang="en-US" b="1" dirty="0">
              <a:solidFill>
                <a:srgbClr val="FFC000"/>
              </a:solidFill>
            </a:rPr>
            <a:t>Political</a:t>
          </a:r>
        </a:p>
      </dgm:t>
    </dgm:pt>
    <dgm:pt modelId="{E5394B60-A507-431B-882F-785F424DB75F}" type="parTrans" cxnId="{A6486AFE-82C9-421C-A7E2-58616AACA03B}">
      <dgm:prSet/>
      <dgm:spPr/>
      <dgm:t>
        <a:bodyPr/>
        <a:lstStyle/>
        <a:p>
          <a:endParaRPr lang="en-US"/>
        </a:p>
      </dgm:t>
    </dgm:pt>
    <dgm:pt modelId="{999CBB26-DA71-409D-AD8C-64BC5685E973}" type="sibTrans" cxnId="{A6486AFE-82C9-421C-A7E2-58616AACA03B}">
      <dgm:prSet/>
      <dgm:spPr/>
      <dgm:t>
        <a:bodyPr/>
        <a:lstStyle/>
        <a:p>
          <a:endParaRPr lang="en-US"/>
        </a:p>
      </dgm:t>
    </dgm:pt>
    <dgm:pt modelId="{D7599F66-EF71-4E71-9731-557C8A00B6ED}">
      <dgm:prSet phldrT="[Text]"/>
      <dgm:spPr/>
      <dgm:t>
        <a:bodyPr/>
        <a:lstStyle/>
        <a:p>
          <a:endParaRPr lang="en-US" b="1" dirty="0">
            <a:solidFill>
              <a:srgbClr val="FFC000"/>
            </a:solidFill>
          </a:endParaRPr>
        </a:p>
        <a:p>
          <a:r>
            <a:rPr lang="en-US" b="1" dirty="0" err="1">
              <a:solidFill>
                <a:srgbClr val="FFC000"/>
              </a:solidFill>
            </a:rPr>
            <a:t>EcoLabel</a:t>
          </a:r>
          <a:endParaRPr lang="en-US" b="1" dirty="0">
            <a:solidFill>
              <a:srgbClr val="FFC000"/>
            </a:solidFill>
          </a:endParaRPr>
        </a:p>
      </dgm:t>
    </dgm:pt>
    <dgm:pt modelId="{BC005ADF-B0F3-4C54-BDB4-762E7F21D1A4}" type="parTrans" cxnId="{73703E99-09A5-497C-B7B3-DC274BA3BE8D}">
      <dgm:prSet/>
      <dgm:spPr/>
      <dgm:t>
        <a:bodyPr/>
        <a:lstStyle/>
        <a:p>
          <a:endParaRPr lang="en-US"/>
        </a:p>
      </dgm:t>
    </dgm:pt>
    <dgm:pt modelId="{9D3768BB-CBCF-4620-BC87-36B6D422112E}" type="sibTrans" cxnId="{73703E99-09A5-497C-B7B3-DC274BA3BE8D}">
      <dgm:prSet/>
      <dgm:spPr/>
      <dgm:t>
        <a:bodyPr/>
        <a:lstStyle/>
        <a:p>
          <a:endParaRPr lang="en-US"/>
        </a:p>
      </dgm:t>
    </dgm:pt>
    <dgm:pt modelId="{A3583B04-D80C-4CD2-8404-662B6CEBFF45}">
      <dgm:prSet phldrT="[Text]"/>
      <dgm:spPr/>
      <dgm:t>
        <a:bodyPr/>
        <a:lstStyle/>
        <a:p>
          <a:endParaRPr lang="en-US" b="1" dirty="0">
            <a:solidFill>
              <a:srgbClr val="FFC000"/>
            </a:solidFill>
          </a:endParaRPr>
        </a:p>
        <a:p>
          <a:r>
            <a:rPr lang="it-IT" b="1" dirty="0">
              <a:solidFill>
                <a:srgbClr val="FFC000"/>
              </a:solidFill>
            </a:rPr>
            <a:t>Carbon </a:t>
          </a:r>
          <a:r>
            <a:rPr lang="it-IT" b="1" dirty="0" err="1">
              <a:solidFill>
                <a:srgbClr val="FFC000"/>
              </a:solidFill>
            </a:rPr>
            <a:t>Footprint</a:t>
          </a:r>
          <a:r>
            <a:rPr lang="it-IT" b="1" dirty="0">
              <a:solidFill>
                <a:srgbClr val="FFC000"/>
              </a:solidFill>
            </a:rPr>
            <a:t> </a:t>
          </a:r>
          <a:r>
            <a:rPr lang="it-IT" b="1" dirty="0" err="1">
              <a:solidFill>
                <a:srgbClr val="FFC000"/>
              </a:solidFill>
            </a:rPr>
            <a:t>as</a:t>
          </a:r>
          <a:r>
            <a:rPr lang="it-IT" b="1" dirty="0">
              <a:solidFill>
                <a:srgbClr val="FFC000"/>
              </a:solidFill>
            </a:rPr>
            <a:t> Evaluation </a:t>
          </a:r>
          <a:r>
            <a:rPr lang="it-IT" b="1" dirty="0" err="1">
              <a:solidFill>
                <a:srgbClr val="FFC000"/>
              </a:solidFill>
            </a:rPr>
            <a:t>Factor</a:t>
          </a:r>
          <a:endParaRPr lang="en-US" b="1" dirty="0">
            <a:solidFill>
              <a:srgbClr val="FFC000"/>
            </a:solidFill>
          </a:endParaRPr>
        </a:p>
      </dgm:t>
    </dgm:pt>
    <dgm:pt modelId="{6D69C73A-358B-43B8-8922-484E379E205A}" type="parTrans" cxnId="{98B9205C-5CD5-4404-9519-149ED7AE9090}">
      <dgm:prSet/>
      <dgm:spPr/>
      <dgm:t>
        <a:bodyPr/>
        <a:lstStyle/>
        <a:p>
          <a:endParaRPr lang="en-US"/>
        </a:p>
      </dgm:t>
    </dgm:pt>
    <dgm:pt modelId="{30D119D2-2292-4B50-A973-34637961DC08}" type="sibTrans" cxnId="{98B9205C-5CD5-4404-9519-149ED7AE9090}">
      <dgm:prSet/>
      <dgm:spPr/>
      <dgm:t>
        <a:bodyPr/>
        <a:lstStyle/>
        <a:p>
          <a:endParaRPr lang="en-US"/>
        </a:p>
      </dgm:t>
    </dgm:pt>
    <dgm:pt modelId="{739DFBA9-DBDA-4546-8700-3A33388C8ACD}" type="pres">
      <dgm:prSet presAssocID="{10FA302F-B3C2-4263-8029-627A1B2C4EC5}" presName="arrowDiagram" presStyleCnt="0">
        <dgm:presLayoutVars>
          <dgm:chMax val="5"/>
          <dgm:dir/>
          <dgm:resizeHandles val="exact"/>
        </dgm:presLayoutVars>
      </dgm:prSet>
      <dgm:spPr/>
    </dgm:pt>
    <dgm:pt modelId="{AB104E11-2787-4C7E-B4AE-1667BE79EE9C}" type="pres">
      <dgm:prSet presAssocID="{10FA302F-B3C2-4263-8029-627A1B2C4EC5}" presName="arrow" presStyleLbl="bgShp" presStyleIdx="0" presStyleCnt="1" custLinFactNeighborX="313" custLinFactNeighborY="-2795"/>
      <dgm:spPr/>
    </dgm:pt>
    <dgm:pt modelId="{A6A227A9-267B-4BAE-989B-DD0E83041391}" type="pres">
      <dgm:prSet presAssocID="{10FA302F-B3C2-4263-8029-627A1B2C4EC5}" presName="arrowDiagram3" presStyleCnt="0"/>
      <dgm:spPr/>
    </dgm:pt>
    <dgm:pt modelId="{48C5DEF3-054F-44E8-84E4-70E7CA699B19}" type="pres">
      <dgm:prSet presAssocID="{283217B2-67F6-4FD1-B1AE-87BD23D71F89}" presName="bullet3a" presStyleLbl="node1" presStyleIdx="0" presStyleCnt="3"/>
      <dgm:spPr/>
    </dgm:pt>
    <dgm:pt modelId="{7E890501-628E-4676-AF9E-647504D37C30}" type="pres">
      <dgm:prSet presAssocID="{283217B2-67F6-4FD1-B1AE-87BD23D71F89}" presName="textBox3a" presStyleLbl="revTx" presStyleIdx="0" presStyleCnt="3">
        <dgm:presLayoutVars>
          <dgm:bulletEnabled val="1"/>
        </dgm:presLayoutVars>
      </dgm:prSet>
      <dgm:spPr/>
    </dgm:pt>
    <dgm:pt modelId="{7DEB2203-F6FF-41F8-B14E-97EF5CEDA6EC}" type="pres">
      <dgm:prSet presAssocID="{D7599F66-EF71-4E71-9731-557C8A00B6ED}" presName="bullet3b" presStyleLbl="node1" presStyleIdx="1" presStyleCnt="3"/>
      <dgm:spPr/>
    </dgm:pt>
    <dgm:pt modelId="{43D7CA39-7FB9-486D-9A7A-69FD3E639A28}" type="pres">
      <dgm:prSet presAssocID="{D7599F66-EF71-4E71-9731-557C8A00B6ED}" presName="textBox3b" presStyleLbl="revTx" presStyleIdx="1" presStyleCnt="3" custLinFactNeighborX="-5756" custLinFactNeighborY="12638">
        <dgm:presLayoutVars>
          <dgm:bulletEnabled val="1"/>
        </dgm:presLayoutVars>
      </dgm:prSet>
      <dgm:spPr/>
    </dgm:pt>
    <dgm:pt modelId="{BED482F4-94AD-49DD-9414-8C4D494F4F45}" type="pres">
      <dgm:prSet presAssocID="{A3583B04-D80C-4CD2-8404-662B6CEBFF45}" presName="bullet3c" presStyleLbl="node1" presStyleIdx="2" presStyleCnt="3"/>
      <dgm:spPr/>
    </dgm:pt>
    <dgm:pt modelId="{B7016493-4F90-4BF9-9C1A-5DDDC72D68E2}" type="pres">
      <dgm:prSet presAssocID="{A3583B04-D80C-4CD2-8404-662B6CEBFF45}" presName="textBox3c" presStyleLbl="revTx" presStyleIdx="2" presStyleCnt="3" custLinFactNeighborX="-2344" custLinFactNeighborY="8813">
        <dgm:presLayoutVars>
          <dgm:bulletEnabled val="1"/>
        </dgm:presLayoutVars>
      </dgm:prSet>
      <dgm:spPr/>
    </dgm:pt>
  </dgm:ptLst>
  <dgm:cxnLst>
    <dgm:cxn modelId="{98B9205C-5CD5-4404-9519-149ED7AE9090}" srcId="{10FA302F-B3C2-4263-8029-627A1B2C4EC5}" destId="{A3583B04-D80C-4CD2-8404-662B6CEBFF45}" srcOrd="2" destOrd="0" parTransId="{6D69C73A-358B-43B8-8922-484E379E205A}" sibTransId="{30D119D2-2292-4B50-A973-34637961DC08}"/>
    <dgm:cxn modelId="{8422B46D-99E8-4B7F-8E67-0BAC6E7D22B9}" type="presOf" srcId="{D7599F66-EF71-4E71-9731-557C8A00B6ED}" destId="{43D7CA39-7FB9-486D-9A7A-69FD3E639A28}" srcOrd="0" destOrd="0" presId="urn:microsoft.com/office/officeart/2005/8/layout/arrow2"/>
    <dgm:cxn modelId="{73703E99-09A5-497C-B7B3-DC274BA3BE8D}" srcId="{10FA302F-B3C2-4263-8029-627A1B2C4EC5}" destId="{D7599F66-EF71-4E71-9731-557C8A00B6ED}" srcOrd="1" destOrd="0" parTransId="{BC005ADF-B0F3-4C54-BDB4-762E7F21D1A4}" sibTransId="{9D3768BB-CBCF-4620-BC87-36B6D422112E}"/>
    <dgm:cxn modelId="{90854BB5-DEB5-4B88-B6CF-1DC11158083E}" type="presOf" srcId="{283217B2-67F6-4FD1-B1AE-87BD23D71F89}" destId="{7E890501-628E-4676-AF9E-647504D37C30}" srcOrd="0" destOrd="0" presId="urn:microsoft.com/office/officeart/2005/8/layout/arrow2"/>
    <dgm:cxn modelId="{52F038C3-E037-4F88-BE9C-6F3A66E49230}" type="presOf" srcId="{A3583B04-D80C-4CD2-8404-662B6CEBFF45}" destId="{B7016493-4F90-4BF9-9C1A-5DDDC72D68E2}" srcOrd="0" destOrd="0" presId="urn:microsoft.com/office/officeart/2005/8/layout/arrow2"/>
    <dgm:cxn modelId="{4333E8CC-CB7C-4D5F-8A49-E25810022C36}" type="presOf" srcId="{10FA302F-B3C2-4263-8029-627A1B2C4EC5}" destId="{739DFBA9-DBDA-4546-8700-3A33388C8ACD}" srcOrd="0" destOrd="0" presId="urn:microsoft.com/office/officeart/2005/8/layout/arrow2"/>
    <dgm:cxn modelId="{A6486AFE-82C9-421C-A7E2-58616AACA03B}" srcId="{10FA302F-B3C2-4263-8029-627A1B2C4EC5}" destId="{283217B2-67F6-4FD1-B1AE-87BD23D71F89}" srcOrd="0" destOrd="0" parTransId="{E5394B60-A507-431B-882F-785F424DB75F}" sibTransId="{999CBB26-DA71-409D-AD8C-64BC5685E973}"/>
    <dgm:cxn modelId="{20948F39-FA26-4B56-9007-0FF694FEFA18}" type="presParOf" srcId="{739DFBA9-DBDA-4546-8700-3A33388C8ACD}" destId="{AB104E11-2787-4C7E-B4AE-1667BE79EE9C}" srcOrd="0" destOrd="0" presId="urn:microsoft.com/office/officeart/2005/8/layout/arrow2"/>
    <dgm:cxn modelId="{669AE02E-DF6B-4EF1-8365-6A5C41922155}" type="presParOf" srcId="{739DFBA9-DBDA-4546-8700-3A33388C8ACD}" destId="{A6A227A9-267B-4BAE-989B-DD0E83041391}" srcOrd="1" destOrd="0" presId="urn:microsoft.com/office/officeart/2005/8/layout/arrow2"/>
    <dgm:cxn modelId="{F1C62B66-81BE-4298-82E5-C1CF6F4F74A6}" type="presParOf" srcId="{A6A227A9-267B-4BAE-989B-DD0E83041391}" destId="{48C5DEF3-054F-44E8-84E4-70E7CA699B19}" srcOrd="0" destOrd="0" presId="urn:microsoft.com/office/officeart/2005/8/layout/arrow2"/>
    <dgm:cxn modelId="{8805F2B5-79C1-4588-A436-F237E4800F4D}" type="presParOf" srcId="{A6A227A9-267B-4BAE-989B-DD0E83041391}" destId="{7E890501-628E-4676-AF9E-647504D37C30}" srcOrd="1" destOrd="0" presId="urn:microsoft.com/office/officeart/2005/8/layout/arrow2"/>
    <dgm:cxn modelId="{625C794E-A405-4E72-906F-1C046B3F1475}" type="presParOf" srcId="{A6A227A9-267B-4BAE-989B-DD0E83041391}" destId="{7DEB2203-F6FF-41F8-B14E-97EF5CEDA6EC}" srcOrd="2" destOrd="0" presId="urn:microsoft.com/office/officeart/2005/8/layout/arrow2"/>
    <dgm:cxn modelId="{BABCE268-6520-4F33-94B8-2F6D024D3295}" type="presParOf" srcId="{A6A227A9-267B-4BAE-989B-DD0E83041391}" destId="{43D7CA39-7FB9-486D-9A7A-69FD3E639A28}" srcOrd="3" destOrd="0" presId="urn:microsoft.com/office/officeart/2005/8/layout/arrow2"/>
    <dgm:cxn modelId="{3BE734F5-8A3B-4530-9C18-7BD30841DF9C}" type="presParOf" srcId="{A6A227A9-267B-4BAE-989B-DD0E83041391}" destId="{BED482F4-94AD-49DD-9414-8C4D494F4F45}" srcOrd="4" destOrd="0" presId="urn:microsoft.com/office/officeart/2005/8/layout/arrow2"/>
    <dgm:cxn modelId="{5D4ED75D-298D-447A-950D-49917FDF1425}" type="presParOf" srcId="{A6A227A9-267B-4BAE-989B-DD0E83041391}" destId="{B7016493-4F90-4BF9-9C1A-5DDDC72D68E2}" srcOrd="5" destOrd="0" presId="urn:microsoft.com/office/officeart/2005/8/layout/arrow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F6B9CABC-9CEE-4239-B2D1-14DD16E6475F}" type="doc">
      <dgm:prSet loTypeId="urn:microsoft.com/office/officeart/2005/8/layout/process5" loCatId="process" qsTypeId="urn:microsoft.com/office/officeart/2005/8/quickstyle/simple1" qsCatId="simple" csTypeId="urn:microsoft.com/office/officeart/2005/8/colors/accent1_2" csCatId="accent1" phldr="1"/>
      <dgm:spPr/>
      <dgm:t>
        <a:bodyPr/>
        <a:lstStyle/>
        <a:p>
          <a:endParaRPr lang="en-US"/>
        </a:p>
      </dgm:t>
    </dgm:pt>
    <dgm:pt modelId="{687A938A-7F4A-4188-A814-24F320038D56}">
      <dgm:prSet phldrT="[Text]"/>
      <dgm:spPr>
        <a:solidFill>
          <a:srgbClr val="C0C25E"/>
        </a:solidFill>
      </dgm:spPr>
      <dgm:t>
        <a:bodyPr/>
        <a:lstStyle/>
        <a:p>
          <a:r>
            <a:rPr lang="en-US" b="1" dirty="0"/>
            <a:t>Cybersecurity Defense</a:t>
          </a:r>
        </a:p>
      </dgm:t>
    </dgm:pt>
    <dgm:pt modelId="{F48232E9-A81B-4E83-966F-D3BBA0F3D849}" type="parTrans" cxnId="{4B0E26D3-71A7-4E15-BAA7-4AF10BC13F0D}">
      <dgm:prSet/>
      <dgm:spPr/>
      <dgm:t>
        <a:bodyPr/>
        <a:lstStyle/>
        <a:p>
          <a:endParaRPr lang="en-US"/>
        </a:p>
      </dgm:t>
    </dgm:pt>
    <dgm:pt modelId="{E9EA3267-E231-48F8-89BF-D4EBE95B9472}" type="sibTrans" cxnId="{4B0E26D3-71A7-4E15-BAA7-4AF10BC13F0D}">
      <dgm:prSet/>
      <dgm:spPr/>
      <dgm:t>
        <a:bodyPr/>
        <a:lstStyle/>
        <a:p>
          <a:endParaRPr lang="en-US"/>
        </a:p>
      </dgm:t>
    </dgm:pt>
    <dgm:pt modelId="{582A53DE-1035-4D3E-8707-00F6826CB141}">
      <dgm:prSet phldrT="[Text]"/>
      <dgm:spPr>
        <a:solidFill>
          <a:schemeClr val="accent2"/>
        </a:solidFill>
      </dgm:spPr>
      <dgm:t>
        <a:bodyPr/>
        <a:lstStyle/>
        <a:p>
          <a:r>
            <a:rPr lang="en-US" b="1" dirty="0"/>
            <a:t>Non-USA?</a:t>
          </a:r>
        </a:p>
      </dgm:t>
    </dgm:pt>
    <dgm:pt modelId="{90B86186-F2CC-4480-8497-623C4AC958CF}" type="parTrans" cxnId="{026006D7-09A8-4B97-BDC3-C03F036B14B3}">
      <dgm:prSet/>
      <dgm:spPr/>
      <dgm:t>
        <a:bodyPr/>
        <a:lstStyle/>
        <a:p>
          <a:endParaRPr lang="en-US"/>
        </a:p>
      </dgm:t>
    </dgm:pt>
    <dgm:pt modelId="{D2270420-9D7D-4037-A1F4-27E7CA172C72}" type="sibTrans" cxnId="{026006D7-09A8-4B97-BDC3-C03F036B14B3}">
      <dgm:prSet/>
      <dgm:spPr/>
      <dgm:t>
        <a:bodyPr/>
        <a:lstStyle/>
        <a:p>
          <a:endParaRPr lang="en-US"/>
        </a:p>
      </dgm:t>
    </dgm:pt>
    <dgm:pt modelId="{477A80BE-1A89-406E-A22B-520717DE79B5}">
      <dgm:prSet phldrT="[Text]"/>
      <dgm:spPr>
        <a:solidFill>
          <a:schemeClr val="tx2">
            <a:lumMod val="25000"/>
          </a:schemeClr>
        </a:solidFill>
      </dgm:spPr>
      <dgm:t>
        <a:bodyPr/>
        <a:lstStyle/>
        <a:p>
          <a:r>
            <a:rPr lang="en-US" b="1" dirty="0"/>
            <a:t>Chief Information Officer (CIO)</a:t>
          </a:r>
        </a:p>
      </dgm:t>
    </dgm:pt>
    <dgm:pt modelId="{171FDDDA-84A5-47F6-A376-BE7494C05319}" type="parTrans" cxnId="{4D9E99EB-C499-4D49-83B4-4A3812E9CF12}">
      <dgm:prSet/>
      <dgm:spPr/>
      <dgm:t>
        <a:bodyPr/>
        <a:lstStyle/>
        <a:p>
          <a:endParaRPr lang="en-US"/>
        </a:p>
      </dgm:t>
    </dgm:pt>
    <dgm:pt modelId="{A47E6198-7F91-4C77-9C81-9B1F239A9440}" type="sibTrans" cxnId="{4D9E99EB-C499-4D49-83B4-4A3812E9CF12}">
      <dgm:prSet/>
      <dgm:spPr/>
      <dgm:t>
        <a:bodyPr/>
        <a:lstStyle/>
        <a:p>
          <a:endParaRPr lang="en-US"/>
        </a:p>
      </dgm:t>
    </dgm:pt>
    <dgm:pt modelId="{7BC9FD56-7144-4E49-A644-265A65D57725}">
      <dgm:prSet phldrT="[Text]"/>
      <dgm:spPr>
        <a:solidFill>
          <a:srgbClr val="00B050"/>
        </a:solidFill>
      </dgm:spPr>
      <dgm:t>
        <a:bodyPr/>
        <a:lstStyle/>
        <a:p>
          <a:r>
            <a:rPr lang="en-US" b="1" dirty="0"/>
            <a:t>Reviews and approves</a:t>
          </a:r>
        </a:p>
      </dgm:t>
    </dgm:pt>
    <dgm:pt modelId="{A911AD9B-FB74-4E2C-9242-C4E1CF62300D}" type="parTrans" cxnId="{15058F04-3C94-4DB6-9C3C-CF1B415AFC44}">
      <dgm:prSet/>
      <dgm:spPr/>
      <dgm:t>
        <a:bodyPr/>
        <a:lstStyle/>
        <a:p>
          <a:endParaRPr lang="en-US"/>
        </a:p>
      </dgm:t>
    </dgm:pt>
    <dgm:pt modelId="{E3C23A0A-FC50-4B26-97FB-7658FF883275}" type="sibTrans" cxnId="{15058F04-3C94-4DB6-9C3C-CF1B415AFC44}">
      <dgm:prSet/>
      <dgm:spPr/>
      <dgm:t>
        <a:bodyPr/>
        <a:lstStyle/>
        <a:p>
          <a:endParaRPr lang="en-US"/>
        </a:p>
      </dgm:t>
    </dgm:pt>
    <dgm:pt modelId="{3210851B-282C-458C-8CA8-36D8435DB67D}">
      <dgm:prSet phldrT="[Text]"/>
      <dgm:spPr>
        <a:solidFill>
          <a:srgbClr val="0070C0"/>
        </a:solidFill>
      </dgm:spPr>
      <dgm:t>
        <a:bodyPr/>
        <a:lstStyle/>
        <a:p>
          <a:r>
            <a:rPr lang="en-US" b="1" dirty="0"/>
            <a:t>Competition and Award</a:t>
          </a:r>
        </a:p>
      </dgm:t>
    </dgm:pt>
    <dgm:pt modelId="{AC8835D1-34E7-45E7-8D7B-999483D28CE5}" type="parTrans" cxnId="{27EC0656-E5E1-4686-B76F-7D1CE8DE1B69}">
      <dgm:prSet/>
      <dgm:spPr/>
      <dgm:t>
        <a:bodyPr/>
        <a:lstStyle/>
        <a:p>
          <a:endParaRPr lang="en-US"/>
        </a:p>
      </dgm:t>
    </dgm:pt>
    <dgm:pt modelId="{1E484E56-F1AB-4C67-88CF-2B660137B9A9}" type="sibTrans" cxnId="{27EC0656-E5E1-4686-B76F-7D1CE8DE1B69}">
      <dgm:prSet/>
      <dgm:spPr/>
      <dgm:t>
        <a:bodyPr/>
        <a:lstStyle/>
        <a:p>
          <a:endParaRPr lang="en-US"/>
        </a:p>
      </dgm:t>
    </dgm:pt>
    <dgm:pt modelId="{544CD342-3D58-490E-B807-69F5247EB21A}" type="pres">
      <dgm:prSet presAssocID="{F6B9CABC-9CEE-4239-B2D1-14DD16E6475F}" presName="diagram" presStyleCnt="0">
        <dgm:presLayoutVars>
          <dgm:dir/>
          <dgm:resizeHandles val="exact"/>
        </dgm:presLayoutVars>
      </dgm:prSet>
      <dgm:spPr/>
    </dgm:pt>
    <dgm:pt modelId="{A9AF53DB-6A49-40F8-92E2-1D2EF15526E3}" type="pres">
      <dgm:prSet presAssocID="{687A938A-7F4A-4188-A814-24F320038D56}" presName="node" presStyleLbl="node1" presStyleIdx="0" presStyleCnt="5">
        <dgm:presLayoutVars>
          <dgm:bulletEnabled val="1"/>
        </dgm:presLayoutVars>
      </dgm:prSet>
      <dgm:spPr/>
    </dgm:pt>
    <dgm:pt modelId="{A2DA2B4C-C604-4C8D-912C-D33AF92D1929}" type="pres">
      <dgm:prSet presAssocID="{E9EA3267-E231-48F8-89BF-D4EBE95B9472}" presName="sibTrans" presStyleLbl="sibTrans2D1" presStyleIdx="0" presStyleCnt="4"/>
      <dgm:spPr/>
    </dgm:pt>
    <dgm:pt modelId="{F7BCEE67-12F4-42BA-9A06-63236523C145}" type="pres">
      <dgm:prSet presAssocID="{E9EA3267-E231-48F8-89BF-D4EBE95B9472}" presName="connectorText" presStyleLbl="sibTrans2D1" presStyleIdx="0" presStyleCnt="4"/>
      <dgm:spPr/>
    </dgm:pt>
    <dgm:pt modelId="{78615F8F-91E1-446B-9AF4-3E55BBA848CF}" type="pres">
      <dgm:prSet presAssocID="{582A53DE-1035-4D3E-8707-00F6826CB141}" presName="node" presStyleLbl="node1" presStyleIdx="1" presStyleCnt="5">
        <dgm:presLayoutVars>
          <dgm:bulletEnabled val="1"/>
        </dgm:presLayoutVars>
      </dgm:prSet>
      <dgm:spPr/>
    </dgm:pt>
    <dgm:pt modelId="{95922FDE-06D1-485A-9DA0-1AE7E4C4ADF3}" type="pres">
      <dgm:prSet presAssocID="{D2270420-9D7D-4037-A1F4-27E7CA172C72}" presName="sibTrans" presStyleLbl="sibTrans2D1" presStyleIdx="1" presStyleCnt="4"/>
      <dgm:spPr/>
    </dgm:pt>
    <dgm:pt modelId="{09677E27-F3FB-44FE-84AA-5B7477EAEBC4}" type="pres">
      <dgm:prSet presAssocID="{D2270420-9D7D-4037-A1F4-27E7CA172C72}" presName="connectorText" presStyleLbl="sibTrans2D1" presStyleIdx="1" presStyleCnt="4"/>
      <dgm:spPr/>
    </dgm:pt>
    <dgm:pt modelId="{EB0AE66F-EC49-4B37-86F2-0FF2FB84BF1B}" type="pres">
      <dgm:prSet presAssocID="{477A80BE-1A89-406E-A22B-520717DE79B5}" presName="node" presStyleLbl="node1" presStyleIdx="2" presStyleCnt="5">
        <dgm:presLayoutVars>
          <dgm:bulletEnabled val="1"/>
        </dgm:presLayoutVars>
      </dgm:prSet>
      <dgm:spPr/>
    </dgm:pt>
    <dgm:pt modelId="{962CB296-4898-4B43-83C1-8E8004632CE2}" type="pres">
      <dgm:prSet presAssocID="{A47E6198-7F91-4C77-9C81-9B1F239A9440}" presName="sibTrans" presStyleLbl="sibTrans2D1" presStyleIdx="2" presStyleCnt="4"/>
      <dgm:spPr/>
    </dgm:pt>
    <dgm:pt modelId="{F792B521-A494-4960-8B42-6BE51EC65465}" type="pres">
      <dgm:prSet presAssocID="{A47E6198-7F91-4C77-9C81-9B1F239A9440}" presName="connectorText" presStyleLbl="sibTrans2D1" presStyleIdx="2" presStyleCnt="4"/>
      <dgm:spPr/>
    </dgm:pt>
    <dgm:pt modelId="{A011FC8F-E411-439F-B5A5-3D1DBB704447}" type="pres">
      <dgm:prSet presAssocID="{7BC9FD56-7144-4E49-A644-265A65D57725}" presName="node" presStyleLbl="node1" presStyleIdx="3" presStyleCnt="5">
        <dgm:presLayoutVars>
          <dgm:bulletEnabled val="1"/>
        </dgm:presLayoutVars>
      </dgm:prSet>
      <dgm:spPr/>
    </dgm:pt>
    <dgm:pt modelId="{6DA494B6-5B50-4225-A17F-2673154F72AE}" type="pres">
      <dgm:prSet presAssocID="{E3C23A0A-FC50-4B26-97FB-7658FF883275}" presName="sibTrans" presStyleLbl="sibTrans2D1" presStyleIdx="3" presStyleCnt="4"/>
      <dgm:spPr/>
    </dgm:pt>
    <dgm:pt modelId="{0CD32D5F-6A8A-4761-AE5F-86586EAB3CEC}" type="pres">
      <dgm:prSet presAssocID="{E3C23A0A-FC50-4B26-97FB-7658FF883275}" presName="connectorText" presStyleLbl="sibTrans2D1" presStyleIdx="3" presStyleCnt="4"/>
      <dgm:spPr/>
    </dgm:pt>
    <dgm:pt modelId="{EF4DD46D-2F26-43DC-B4ED-08758E0D2BF8}" type="pres">
      <dgm:prSet presAssocID="{3210851B-282C-458C-8CA8-36D8435DB67D}" presName="node" presStyleLbl="node1" presStyleIdx="4" presStyleCnt="5">
        <dgm:presLayoutVars>
          <dgm:bulletEnabled val="1"/>
        </dgm:presLayoutVars>
      </dgm:prSet>
      <dgm:spPr/>
    </dgm:pt>
  </dgm:ptLst>
  <dgm:cxnLst>
    <dgm:cxn modelId="{15058F04-3C94-4DB6-9C3C-CF1B415AFC44}" srcId="{F6B9CABC-9CEE-4239-B2D1-14DD16E6475F}" destId="{7BC9FD56-7144-4E49-A644-265A65D57725}" srcOrd="3" destOrd="0" parTransId="{A911AD9B-FB74-4E2C-9242-C4E1CF62300D}" sibTransId="{E3C23A0A-FC50-4B26-97FB-7658FF883275}"/>
    <dgm:cxn modelId="{00BEF61A-0642-4702-950F-8B57E13FA577}" type="presOf" srcId="{E9EA3267-E231-48F8-89BF-D4EBE95B9472}" destId="{F7BCEE67-12F4-42BA-9A06-63236523C145}" srcOrd="1" destOrd="0" presId="urn:microsoft.com/office/officeart/2005/8/layout/process5"/>
    <dgm:cxn modelId="{7F2E5122-FAD3-4C05-98D0-165946B56E70}" type="presOf" srcId="{F6B9CABC-9CEE-4239-B2D1-14DD16E6475F}" destId="{544CD342-3D58-490E-B807-69F5247EB21A}" srcOrd="0" destOrd="0" presId="urn:microsoft.com/office/officeart/2005/8/layout/process5"/>
    <dgm:cxn modelId="{9CA2D52A-1FBA-47E6-9C79-2442B3E63C85}" type="presOf" srcId="{E3C23A0A-FC50-4B26-97FB-7658FF883275}" destId="{6DA494B6-5B50-4225-A17F-2673154F72AE}" srcOrd="0" destOrd="0" presId="urn:microsoft.com/office/officeart/2005/8/layout/process5"/>
    <dgm:cxn modelId="{2F3E5A3F-9E39-42A8-8502-7F6ABA1B21C1}" type="presOf" srcId="{7BC9FD56-7144-4E49-A644-265A65D57725}" destId="{A011FC8F-E411-439F-B5A5-3D1DBB704447}" srcOrd="0" destOrd="0" presId="urn:microsoft.com/office/officeart/2005/8/layout/process5"/>
    <dgm:cxn modelId="{227DAF5D-70EA-4BEA-9CF5-224A66ABCB4C}" type="presOf" srcId="{D2270420-9D7D-4037-A1F4-27E7CA172C72}" destId="{95922FDE-06D1-485A-9DA0-1AE7E4C4ADF3}" srcOrd="0" destOrd="0" presId="urn:microsoft.com/office/officeart/2005/8/layout/process5"/>
    <dgm:cxn modelId="{F3B74748-0ED5-422E-BB59-B3ED764147E7}" type="presOf" srcId="{582A53DE-1035-4D3E-8707-00F6826CB141}" destId="{78615F8F-91E1-446B-9AF4-3E55BBA848CF}" srcOrd="0" destOrd="0" presId="urn:microsoft.com/office/officeart/2005/8/layout/process5"/>
    <dgm:cxn modelId="{8B803E6D-6414-45AE-8088-0B0F5C24E2B0}" type="presOf" srcId="{E9EA3267-E231-48F8-89BF-D4EBE95B9472}" destId="{A2DA2B4C-C604-4C8D-912C-D33AF92D1929}" srcOrd="0" destOrd="0" presId="urn:microsoft.com/office/officeart/2005/8/layout/process5"/>
    <dgm:cxn modelId="{F4218671-3266-43FA-905D-AE65A4F7505F}" type="presOf" srcId="{D2270420-9D7D-4037-A1F4-27E7CA172C72}" destId="{09677E27-F3FB-44FE-84AA-5B7477EAEBC4}" srcOrd="1" destOrd="0" presId="urn:microsoft.com/office/officeart/2005/8/layout/process5"/>
    <dgm:cxn modelId="{6E63CE53-2D45-4B4D-A9BC-03E99C4C2551}" type="presOf" srcId="{A47E6198-7F91-4C77-9C81-9B1F239A9440}" destId="{F792B521-A494-4960-8B42-6BE51EC65465}" srcOrd="1" destOrd="0" presId="urn:microsoft.com/office/officeart/2005/8/layout/process5"/>
    <dgm:cxn modelId="{27EC0656-E5E1-4686-B76F-7D1CE8DE1B69}" srcId="{F6B9CABC-9CEE-4239-B2D1-14DD16E6475F}" destId="{3210851B-282C-458C-8CA8-36D8435DB67D}" srcOrd="4" destOrd="0" parTransId="{AC8835D1-34E7-45E7-8D7B-999483D28CE5}" sibTransId="{1E484E56-F1AB-4C67-88CF-2B660137B9A9}"/>
    <dgm:cxn modelId="{AE03AE9C-A474-4E16-98AD-4000AE82A687}" type="presOf" srcId="{687A938A-7F4A-4188-A814-24F320038D56}" destId="{A9AF53DB-6A49-40F8-92E2-1D2EF15526E3}" srcOrd="0" destOrd="0" presId="urn:microsoft.com/office/officeart/2005/8/layout/process5"/>
    <dgm:cxn modelId="{0E0B5A9E-3DCE-4138-A2C3-217658D90F45}" type="presOf" srcId="{E3C23A0A-FC50-4B26-97FB-7658FF883275}" destId="{0CD32D5F-6A8A-4761-AE5F-86586EAB3CEC}" srcOrd="1" destOrd="0" presId="urn:microsoft.com/office/officeart/2005/8/layout/process5"/>
    <dgm:cxn modelId="{84FAAAA5-1539-4545-BBA8-D5070C1D37C1}" type="presOf" srcId="{3210851B-282C-458C-8CA8-36D8435DB67D}" destId="{EF4DD46D-2F26-43DC-B4ED-08758E0D2BF8}" srcOrd="0" destOrd="0" presId="urn:microsoft.com/office/officeart/2005/8/layout/process5"/>
    <dgm:cxn modelId="{4B0E26D3-71A7-4E15-BAA7-4AF10BC13F0D}" srcId="{F6B9CABC-9CEE-4239-B2D1-14DD16E6475F}" destId="{687A938A-7F4A-4188-A814-24F320038D56}" srcOrd="0" destOrd="0" parTransId="{F48232E9-A81B-4E83-966F-D3BBA0F3D849}" sibTransId="{E9EA3267-E231-48F8-89BF-D4EBE95B9472}"/>
    <dgm:cxn modelId="{026006D7-09A8-4B97-BDC3-C03F036B14B3}" srcId="{F6B9CABC-9CEE-4239-B2D1-14DD16E6475F}" destId="{582A53DE-1035-4D3E-8707-00F6826CB141}" srcOrd="1" destOrd="0" parTransId="{90B86186-F2CC-4480-8497-623C4AC958CF}" sibTransId="{D2270420-9D7D-4037-A1F4-27E7CA172C72}"/>
    <dgm:cxn modelId="{79952DE6-3710-4FDC-BEF5-C6E18FB728E4}" type="presOf" srcId="{477A80BE-1A89-406E-A22B-520717DE79B5}" destId="{EB0AE66F-EC49-4B37-86F2-0FF2FB84BF1B}" srcOrd="0" destOrd="0" presId="urn:microsoft.com/office/officeart/2005/8/layout/process5"/>
    <dgm:cxn modelId="{4D9E99EB-C499-4D49-83B4-4A3812E9CF12}" srcId="{F6B9CABC-9CEE-4239-B2D1-14DD16E6475F}" destId="{477A80BE-1A89-406E-A22B-520717DE79B5}" srcOrd="2" destOrd="0" parTransId="{171FDDDA-84A5-47F6-A376-BE7494C05319}" sibTransId="{A47E6198-7F91-4C77-9C81-9B1F239A9440}"/>
    <dgm:cxn modelId="{8A0337F3-AA0B-447B-9E5E-7784A85B4AF2}" type="presOf" srcId="{A47E6198-7F91-4C77-9C81-9B1F239A9440}" destId="{962CB296-4898-4B43-83C1-8E8004632CE2}" srcOrd="0" destOrd="0" presId="urn:microsoft.com/office/officeart/2005/8/layout/process5"/>
    <dgm:cxn modelId="{61B01259-8500-4EE1-8381-F39927E033DB}" type="presParOf" srcId="{544CD342-3D58-490E-B807-69F5247EB21A}" destId="{A9AF53DB-6A49-40F8-92E2-1D2EF15526E3}" srcOrd="0" destOrd="0" presId="urn:microsoft.com/office/officeart/2005/8/layout/process5"/>
    <dgm:cxn modelId="{5C8EDD0A-D761-4552-B0C6-D133AE4AAB38}" type="presParOf" srcId="{544CD342-3D58-490E-B807-69F5247EB21A}" destId="{A2DA2B4C-C604-4C8D-912C-D33AF92D1929}" srcOrd="1" destOrd="0" presId="urn:microsoft.com/office/officeart/2005/8/layout/process5"/>
    <dgm:cxn modelId="{8E1BEA8C-C3F0-4C66-8908-620E53C628A3}" type="presParOf" srcId="{A2DA2B4C-C604-4C8D-912C-D33AF92D1929}" destId="{F7BCEE67-12F4-42BA-9A06-63236523C145}" srcOrd="0" destOrd="0" presId="urn:microsoft.com/office/officeart/2005/8/layout/process5"/>
    <dgm:cxn modelId="{C1BE4157-3CE9-4EC9-858D-FB11521891B7}" type="presParOf" srcId="{544CD342-3D58-490E-B807-69F5247EB21A}" destId="{78615F8F-91E1-446B-9AF4-3E55BBA848CF}" srcOrd="2" destOrd="0" presId="urn:microsoft.com/office/officeart/2005/8/layout/process5"/>
    <dgm:cxn modelId="{76EE5412-8C52-45DD-AF6B-E49C0F13896F}" type="presParOf" srcId="{544CD342-3D58-490E-B807-69F5247EB21A}" destId="{95922FDE-06D1-485A-9DA0-1AE7E4C4ADF3}" srcOrd="3" destOrd="0" presId="urn:microsoft.com/office/officeart/2005/8/layout/process5"/>
    <dgm:cxn modelId="{59DF236D-363E-446F-92EE-D1A26DE2D048}" type="presParOf" srcId="{95922FDE-06D1-485A-9DA0-1AE7E4C4ADF3}" destId="{09677E27-F3FB-44FE-84AA-5B7477EAEBC4}" srcOrd="0" destOrd="0" presId="urn:microsoft.com/office/officeart/2005/8/layout/process5"/>
    <dgm:cxn modelId="{B9BFD97C-20FF-4903-A0BC-F5D18C363385}" type="presParOf" srcId="{544CD342-3D58-490E-B807-69F5247EB21A}" destId="{EB0AE66F-EC49-4B37-86F2-0FF2FB84BF1B}" srcOrd="4" destOrd="0" presId="urn:microsoft.com/office/officeart/2005/8/layout/process5"/>
    <dgm:cxn modelId="{C5FC782C-834E-4863-BD68-AC07F6170B6A}" type="presParOf" srcId="{544CD342-3D58-490E-B807-69F5247EB21A}" destId="{962CB296-4898-4B43-83C1-8E8004632CE2}" srcOrd="5" destOrd="0" presId="urn:microsoft.com/office/officeart/2005/8/layout/process5"/>
    <dgm:cxn modelId="{87B74B06-E742-4063-A5EE-A355B446E4FD}" type="presParOf" srcId="{962CB296-4898-4B43-83C1-8E8004632CE2}" destId="{F792B521-A494-4960-8B42-6BE51EC65465}" srcOrd="0" destOrd="0" presId="urn:microsoft.com/office/officeart/2005/8/layout/process5"/>
    <dgm:cxn modelId="{5E668FE7-ECBD-415D-A41E-D1B0B5B9C1D0}" type="presParOf" srcId="{544CD342-3D58-490E-B807-69F5247EB21A}" destId="{A011FC8F-E411-439F-B5A5-3D1DBB704447}" srcOrd="6" destOrd="0" presId="urn:microsoft.com/office/officeart/2005/8/layout/process5"/>
    <dgm:cxn modelId="{87C849EC-DF0C-4CE1-8E1D-2F23FCDE1A99}" type="presParOf" srcId="{544CD342-3D58-490E-B807-69F5247EB21A}" destId="{6DA494B6-5B50-4225-A17F-2673154F72AE}" srcOrd="7" destOrd="0" presId="urn:microsoft.com/office/officeart/2005/8/layout/process5"/>
    <dgm:cxn modelId="{9BD0A8C4-411F-418A-98A8-61FA3142479C}" type="presParOf" srcId="{6DA494B6-5B50-4225-A17F-2673154F72AE}" destId="{0CD32D5F-6A8A-4761-AE5F-86586EAB3CEC}" srcOrd="0" destOrd="0" presId="urn:microsoft.com/office/officeart/2005/8/layout/process5"/>
    <dgm:cxn modelId="{60D9F181-353F-49E2-8D7C-FB2B39B6DE7E}" type="presParOf" srcId="{544CD342-3D58-490E-B807-69F5247EB21A}" destId="{EF4DD46D-2F26-43DC-B4ED-08758E0D2BF8}" srcOrd="8" destOrd="0" presId="urn:microsoft.com/office/officeart/2005/8/layout/process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2B2E572E-F61C-47C7-942F-673B55C116C4}" type="doc">
      <dgm:prSet loTypeId="urn:microsoft.com/office/officeart/2005/8/layout/process2" loCatId="process" qsTypeId="urn:microsoft.com/office/officeart/2005/8/quickstyle/simple1" qsCatId="simple" csTypeId="urn:microsoft.com/office/officeart/2005/8/colors/accent1_2" csCatId="accent1" phldr="1"/>
      <dgm:spPr/>
    </dgm:pt>
    <dgm:pt modelId="{5D9DBE38-2245-43FA-A34A-28EC73EB8847}">
      <dgm:prSet phldrT="[Text]"/>
      <dgm:spPr/>
      <dgm:t>
        <a:bodyPr/>
        <a:lstStyle/>
        <a:p>
          <a:r>
            <a:rPr lang="en-US" dirty="0"/>
            <a:t>Research Funding</a:t>
          </a:r>
        </a:p>
      </dgm:t>
    </dgm:pt>
    <dgm:pt modelId="{DCCD0899-D524-4563-982D-EFFE497811A9}" type="parTrans" cxnId="{B4A4E07B-EF70-447C-8FBB-BF2BC4689064}">
      <dgm:prSet/>
      <dgm:spPr/>
      <dgm:t>
        <a:bodyPr/>
        <a:lstStyle/>
        <a:p>
          <a:endParaRPr lang="en-US"/>
        </a:p>
      </dgm:t>
    </dgm:pt>
    <dgm:pt modelId="{4ACFBE3C-2819-48C4-817C-9C0CD117AF62}" type="sibTrans" cxnId="{B4A4E07B-EF70-447C-8FBB-BF2BC4689064}">
      <dgm:prSet/>
      <dgm:spPr/>
      <dgm:t>
        <a:bodyPr/>
        <a:lstStyle/>
        <a:p>
          <a:endParaRPr lang="en-US"/>
        </a:p>
      </dgm:t>
    </dgm:pt>
    <dgm:pt modelId="{4DCE8AC5-26B6-4125-B904-931366D19B18}">
      <dgm:prSet phldrT="[Text]"/>
      <dgm:spPr/>
      <dgm:t>
        <a:bodyPr/>
        <a:lstStyle/>
        <a:p>
          <a:r>
            <a:rPr lang="en-US" dirty="0"/>
            <a:t>Priority Areas Agreed by Member States</a:t>
          </a:r>
        </a:p>
      </dgm:t>
    </dgm:pt>
    <dgm:pt modelId="{832E826E-AEBC-41A9-97CF-CBE8845546B6}" type="parTrans" cxnId="{34223BBD-E877-4E33-884D-B554BF658579}">
      <dgm:prSet/>
      <dgm:spPr/>
      <dgm:t>
        <a:bodyPr/>
        <a:lstStyle/>
        <a:p>
          <a:endParaRPr lang="en-US"/>
        </a:p>
      </dgm:t>
    </dgm:pt>
    <dgm:pt modelId="{2553070B-2057-4720-8E94-A0D2EB6051F0}" type="sibTrans" cxnId="{34223BBD-E877-4E33-884D-B554BF658579}">
      <dgm:prSet/>
      <dgm:spPr/>
      <dgm:t>
        <a:bodyPr/>
        <a:lstStyle/>
        <a:p>
          <a:endParaRPr lang="en-US"/>
        </a:p>
      </dgm:t>
    </dgm:pt>
    <dgm:pt modelId="{1C04B50F-3401-447B-82E8-8EDD4E731E91}">
      <dgm:prSet phldrT="[Text]" custT="1"/>
      <dgm:spPr/>
      <dgm:t>
        <a:bodyPr/>
        <a:lstStyle/>
        <a:p>
          <a:r>
            <a:rPr lang="en-US" sz="1800" b="1" i="0" dirty="0">
              <a:solidFill>
                <a:srgbClr val="FFC000"/>
              </a:solidFill>
              <a:effectLst/>
              <a:latin typeface="+mn-lt"/>
              <a:ea typeface="+mn-ea"/>
              <a:cs typeface="+mn-cs"/>
            </a:rPr>
            <a:t>€500 million</a:t>
          </a:r>
          <a:r>
            <a:rPr lang="en-US" sz="1800" b="0" i="0" dirty="0">
              <a:solidFill>
                <a:srgbClr val="FFC000"/>
              </a:solidFill>
              <a:effectLst/>
              <a:latin typeface="+mn-lt"/>
              <a:ea typeface="+mn-ea"/>
              <a:cs typeface="+mn-cs"/>
            </a:rPr>
            <a:t> per year after 2020</a:t>
          </a:r>
          <a:endParaRPr lang="en-US" sz="1800" dirty="0">
            <a:solidFill>
              <a:srgbClr val="FFC000"/>
            </a:solidFill>
          </a:endParaRPr>
        </a:p>
      </dgm:t>
    </dgm:pt>
    <dgm:pt modelId="{93D27388-55AD-4C5F-AA0C-763FFCD6CEB3}" type="parTrans" cxnId="{BC9C5903-C364-4368-B972-AF7EEA6FCB1B}">
      <dgm:prSet/>
      <dgm:spPr/>
      <dgm:t>
        <a:bodyPr/>
        <a:lstStyle/>
        <a:p>
          <a:endParaRPr lang="en-US"/>
        </a:p>
      </dgm:t>
    </dgm:pt>
    <dgm:pt modelId="{518B25AA-39F9-4FFA-BB30-3467A95729C8}" type="sibTrans" cxnId="{BC9C5903-C364-4368-B972-AF7EEA6FCB1B}">
      <dgm:prSet/>
      <dgm:spPr/>
      <dgm:t>
        <a:bodyPr/>
        <a:lstStyle/>
        <a:p>
          <a:endParaRPr lang="en-US"/>
        </a:p>
      </dgm:t>
    </dgm:pt>
    <dgm:pt modelId="{5E94B42D-B34E-48E2-86D5-647B3E34D943}" type="pres">
      <dgm:prSet presAssocID="{2B2E572E-F61C-47C7-942F-673B55C116C4}" presName="linearFlow" presStyleCnt="0">
        <dgm:presLayoutVars>
          <dgm:resizeHandles val="exact"/>
        </dgm:presLayoutVars>
      </dgm:prSet>
      <dgm:spPr/>
    </dgm:pt>
    <dgm:pt modelId="{26C72B91-3A3D-4C0D-B35E-6D6A7C27B6AB}" type="pres">
      <dgm:prSet presAssocID="{5D9DBE38-2245-43FA-A34A-28EC73EB8847}" presName="node" presStyleLbl="node1" presStyleIdx="0" presStyleCnt="3" custLinFactNeighborX="0" custLinFactNeighborY="10000">
        <dgm:presLayoutVars>
          <dgm:bulletEnabled val="1"/>
        </dgm:presLayoutVars>
      </dgm:prSet>
      <dgm:spPr/>
    </dgm:pt>
    <dgm:pt modelId="{80F4681D-CE01-43EB-94F0-3129200F4911}" type="pres">
      <dgm:prSet presAssocID="{4ACFBE3C-2819-48C4-817C-9C0CD117AF62}" presName="sibTrans" presStyleLbl="sibTrans2D1" presStyleIdx="0" presStyleCnt="2"/>
      <dgm:spPr/>
    </dgm:pt>
    <dgm:pt modelId="{24FB56BE-9C99-421B-A008-1B2B1704CD89}" type="pres">
      <dgm:prSet presAssocID="{4ACFBE3C-2819-48C4-817C-9C0CD117AF62}" presName="connectorText" presStyleLbl="sibTrans2D1" presStyleIdx="0" presStyleCnt="2"/>
      <dgm:spPr/>
    </dgm:pt>
    <dgm:pt modelId="{BB730468-2E27-4FC0-B711-F8A890B36E20}" type="pres">
      <dgm:prSet presAssocID="{4DCE8AC5-26B6-4125-B904-931366D19B18}" presName="node" presStyleLbl="node1" presStyleIdx="1" presStyleCnt="3">
        <dgm:presLayoutVars>
          <dgm:bulletEnabled val="1"/>
        </dgm:presLayoutVars>
      </dgm:prSet>
      <dgm:spPr/>
    </dgm:pt>
    <dgm:pt modelId="{60808051-E860-4FF4-8798-9ED5DBFBBCFC}" type="pres">
      <dgm:prSet presAssocID="{2553070B-2057-4720-8E94-A0D2EB6051F0}" presName="sibTrans" presStyleLbl="sibTrans2D1" presStyleIdx="1" presStyleCnt="2"/>
      <dgm:spPr/>
    </dgm:pt>
    <dgm:pt modelId="{1B262356-D21F-4CFE-A743-D760CDAD0665}" type="pres">
      <dgm:prSet presAssocID="{2553070B-2057-4720-8E94-A0D2EB6051F0}" presName="connectorText" presStyleLbl="sibTrans2D1" presStyleIdx="1" presStyleCnt="2"/>
      <dgm:spPr/>
    </dgm:pt>
    <dgm:pt modelId="{80851B12-83F7-4BF8-82D5-A90EFEF81A2F}" type="pres">
      <dgm:prSet presAssocID="{1C04B50F-3401-447B-82E8-8EDD4E731E91}" presName="node" presStyleLbl="node1" presStyleIdx="2" presStyleCnt="3">
        <dgm:presLayoutVars>
          <dgm:bulletEnabled val="1"/>
        </dgm:presLayoutVars>
      </dgm:prSet>
      <dgm:spPr/>
    </dgm:pt>
  </dgm:ptLst>
  <dgm:cxnLst>
    <dgm:cxn modelId="{BC9C5903-C364-4368-B972-AF7EEA6FCB1B}" srcId="{2B2E572E-F61C-47C7-942F-673B55C116C4}" destId="{1C04B50F-3401-447B-82E8-8EDD4E731E91}" srcOrd="2" destOrd="0" parTransId="{93D27388-55AD-4C5F-AA0C-763FFCD6CEB3}" sibTransId="{518B25AA-39F9-4FFA-BB30-3467A95729C8}"/>
    <dgm:cxn modelId="{574D321E-4E61-4FB1-87F5-90B57840013B}" type="presOf" srcId="{2553070B-2057-4720-8E94-A0D2EB6051F0}" destId="{60808051-E860-4FF4-8798-9ED5DBFBBCFC}" srcOrd="0" destOrd="0" presId="urn:microsoft.com/office/officeart/2005/8/layout/process2"/>
    <dgm:cxn modelId="{FED5482A-6504-4C18-ACD2-2916C9046103}" type="presOf" srcId="{2553070B-2057-4720-8E94-A0D2EB6051F0}" destId="{1B262356-D21F-4CFE-A743-D760CDAD0665}" srcOrd="1" destOrd="0" presId="urn:microsoft.com/office/officeart/2005/8/layout/process2"/>
    <dgm:cxn modelId="{585AA348-DD0A-40CC-9D25-76A40A4228FC}" type="presOf" srcId="{4ACFBE3C-2819-48C4-817C-9C0CD117AF62}" destId="{80F4681D-CE01-43EB-94F0-3129200F4911}" srcOrd="0" destOrd="0" presId="urn:microsoft.com/office/officeart/2005/8/layout/process2"/>
    <dgm:cxn modelId="{7FCF6F57-12DB-49FD-82AB-B6C78715DEF3}" type="presOf" srcId="{5D9DBE38-2245-43FA-A34A-28EC73EB8847}" destId="{26C72B91-3A3D-4C0D-B35E-6D6A7C27B6AB}" srcOrd="0" destOrd="0" presId="urn:microsoft.com/office/officeart/2005/8/layout/process2"/>
    <dgm:cxn modelId="{B4A4E07B-EF70-447C-8FBB-BF2BC4689064}" srcId="{2B2E572E-F61C-47C7-942F-673B55C116C4}" destId="{5D9DBE38-2245-43FA-A34A-28EC73EB8847}" srcOrd="0" destOrd="0" parTransId="{DCCD0899-D524-4563-982D-EFFE497811A9}" sibTransId="{4ACFBE3C-2819-48C4-817C-9C0CD117AF62}"/>
    <dgm:cxn modelId="{7C5AD4A2-8A59-475B-946C-F9E2812C1DA5}" type="presOf" srcId="{1C04B50F-3401-447B-82E8-8EDD4E731E91}" destId="{80851B12-83F7-4BF8-82D5-A90EFEF81A2F}" srcOrd="0" destOrd="0" presId="urn:microsoft.com/office/officeart/2005/8/layout/process2"/>
    <dgm:cxn modelId="{61AF8BB4-0FE8-4B63-81AA-CA90FE9AEAEE}" type="presOf" srcId="{4DCE8AC5-26B6-4125-B904-931366D19B18}" destId="{BB730468-2E27-4FC0-B711-F8A890B36E20}" srcOrd="0" destOrd="0" presId="urn:microsoft.com/office/officeart/2005/8/layout/process2"/>
    <dgm:cxn modelId="{34223BBD-E877-4E33-884D-B554BF658579}" srcId="{2B2E572E-F61C-47C7-942F-673B55C116C4}" destId="{4DCE8AC5-26B6-4125-B904-931366D19B18}" srcOrd="1" destOrd="0" parTransId="{832E826E-AEBC-41A9-97CF-CBE8845546B6}" sibTransId="{2553070B-2057-4720-8E94-A0D2EB6051F0}"/>
    <dgm:cxn modelId="{D75729C7-1B58-4012-87C3-3626D24ACF72}" type="presOf" srcId="{4ACFBE3C-2819-48C4-817C-9C0CD117AF62}" destId="{24FB56BE-9C99-421B-A008-1B2B1704CD89}" srcOrd="1" destOrd="0" presId="urn:microsoft.com/office/officeart/2005/8/layout/process2"/>
    <dgm:cxn modelId="{B8D5F0F7-E49B-483D-9274-2E2970327656}" type="presOf" srcId="{2B2E572E-F61C-47C7-942F-673B55C116C4}" destId="{5E94B42D-B34E-48E2-86D5-647B3E34D943}" srcOrd="0" destOrd="0" presId="urn:microsoft.com/office/officeart/2005/8/layout/process2"/>
    <dgm:cxn modelId="{1E8D78C5-B860-4C10-8AAA-B3A7B8700139}" type="presParOf" srcId="{5E94B42D-B34E-48E2-86D5-647B3E34D943}" destId="{26C72B91-3A3D-4C0D-B35E-6D6A7C27B6AB}" srcOrd="0" destOrd="0" presId="urn:microsoft.com/office/officeart/2005/8/layout/process2"/>
    <dgm:cxn modelId="{A9B782F4-F821-467D-8093-BE9AA07360B2}" type="presParOf" srcId="{5E94B42D-B34E-48E2-86D5-647B3E34D943}" destId="{80F4681D-CE01-43EB-94F0-3129200F4911}" srcOrd="1" destOrd="0" presId="urn:microsoft.com/office/officeart/2005/8/layout/process2"/>
    <dgm:cxn modelId="{8EC785CA-0563-46B2-870E-48791C5628A2}" type="presParOf" srcId="{80F4681D-CE01-43EB-94F0-3129200F4911}" destId="{24FB56BE-9C99-421B-A008-1B2B1704CD89}" srcOrd="0" destOrd="0" presId="urn:microsoft.com/office/officeart/2005/8/layout/process2"/>
    <dgm:cxn modelId="{58E69A3D-6459-4729-95E0-5F82BEB6706C}" type="presParOf" srcId="{5E94B42D-B34E-48E2-86D5-647B3E34D943}" destId="{BB730468-2E27-4FC0-B711-F8A890B36E20}" srcOrd="2" destOrd="0" presId="urn:microsoft.com/office/officeart/2005/8/layout/process2"/>
    <dgm:cxn modelId="{4752A9BC-9435-4D35-946B-704334C86770}" type="presParOf" srcId="{5E94B42D-B34E-48E2-86D5-647B3E34D943}" destId="{60808051-E860-4FF4-8798-9ED5DBFBBCFC}" srcOrd="3" destOrd="0" presId="urn:microsoft.com/office/officeart/2005/8/layout/process2"/>
    <dgm:cxn modelId="{31F4F307-0454-4306-8F9E-9A77EB1872D8}" type="presParOf" srcId="{60808051-E860-4FF4-8798-9ED5DBFBBCFC}" destId="{1B262356-D21F-4CFE-A743-D760CDAD0665}" srcOrd="0" destOrd="0" presId="urn:microsoft.com/office/officeart/2005/8/layout/process2"/>
    <dgm:cxn modelId="{E6D9C887-8FE9-4022-A672-C70ABC5B7C0C}" type="presParOf" srcId="{5E94B42D-B34E-48E2-86D5-647B3E34D943}" destId="{80851B12-83F7-4BF8-82D5-A90EFEF81A2F}" srcOrd="4" destOrd="0" presId="urn:microsoft.com/office/officeart/2005/8/layout/process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2B2E572E-F61C-47C7-942F-673B55C116C4}" type="doc">
      <dgm:prSet loTypeId="urn:microsoft.com/office/officeart/2005/8/layout/process2" loCatId="process" qsTypeId="urn:microsoft.com/office/officeart/2005/8/quickstyle/simple1" qsCatId="simple" csTypeId="urn:microsoft.com/office/officeart/2005/8/colors/accent1_2" csCatId="accent1" phldr="1"/>
      <dgm:spPr/>
    </dgm:pt>
    <dgm:pt modelId="{5D9DBE38-2245-43FA-A34A-28EC73EB8847}">
      <dgm:prSet phldrT="[Text]"/>
      <dgm:spPr>
        <a:solidFill>
          <a:srgbClr val="C00000"/>
        </a:solidFill>
      </dgm:spPr>
      <dgm:t>
        <a:bodyPr/>
        <a:lstStyle/>
        <a:p>
          <a:r>
            <a:rPr lang="en-US" dirty="0"/>
            <a:t>Development and Acquisition</a:t>
          </a:r>
        </a:p>
      </dgm:t>
    </dgm:pt>
    <dgm:pt modelId="{DCCD0899-D524-4563-982D-EFFE497811A9}" type="parTrans" cxnId="{B4A4E07B-EF70-447C-8FBB-BF2BC4689064}">
      <dgm:prSet/>
      <dgm:spPr/>
      <dgm:t>
        <a:bodyPr/>
        <a:lstStyle/>
        <a:p>
          <a:endParaRPr lang="en-US"/>
        </a:p>
      </dgm:t>
    </dgm:pt>
    <dgm:pt modelId="{4ACFBE3C-2819-48C4-817C-9C0CD117AF62}" type="sibTrans" cxnId="{B4A4E07B-EF70-447C-8FBB-BF2BC4689064}">
      <dgm:prSet/>
      <dgm:spPr/>
      <dgm:t>
        <a:bodyPr/>
        <a:lstStyle/>
        <a:p>
          <a:endParaRPr lang="en-US"/>
        </a:p>
      </dgm:t>
    </dgm:pt>
    <dgm:pt modelId="{4DCE8AC5-26B6-4125-B904-931366D19B18}">
      <dgm:prSet phldrT="[Text]"/>
      <dgm:spPr>
        <a:solidFill>
          <a:srgbClr val="C00000"/>
        </a:solidFill>
      </dgm:spPr>
      <dgm:t>
        <a:bodyPr/>
        <a:lstStyle/>
        <a:p>
          <a:r>
            <a:rPr lang="en-US" dirty="0"/>
            <a:t>C0-Financing and Commission Support</a:t>
          </a:r>
        </a:p>
      </dgm:t>
    </dgm:pt>
    <dgm:pt modelId="{832E826E-AEBC-41A9-97CF-CBE8845546B6}" type="parTrans" cxnId="{34223BBD-E877-4E33-884D-B554BF658579}">
      <dgm:prSet/>
      <dgm:spPr/>
      <dgm:t>
        <a:bodyPr/>
        <a:lstStyle/>
        <a:p>
          <a:endParaRPr lang="en-US"/>
        </a:p>
      </dgm:t>
    </dgm:pt>
    <dgm:pt modelId="{2553070B-2057-4720-8E94-A0D2EB6051F0}" type="sibTrans" cxnId="{34223BBD-E877-4E33-884D-B554BF658579}">
      <dgm:prSet/>
      <dgm:spPr/>
      <dgm:t>
        <a:bodyPr/>
        <a:lstStyle/>
        <a:p>
          <a:endParaRPr lang="en-US"/>
        </a:p>
      </dgm:t>
    </dgm:pt>
    <dgm:pt modelId="{1C04B50F-3401-447B-82E8-8EDD4E731E91}">
      <dgm:prSet phldrT="[Text]" custT="1"/>
      <dgm:spPr>
        <a:solidFill>
          <a:srgbClr val="C00000"/>
        </a:solidFill>
      </dgm:spPr>
      <dgm:t>
        <a:bodyPr/>
        <a:lstStyle/>
        <a:p>
          <a:r>
            <a:rPr lang="en-US" sz="1800" dirty="0">
              <a:solidFill>
                <a:srgbClr val="FFC000"/>
              </a:solidFill>
            </a:rPr>
            <a:t>Members State Collaborative Projects Only </a:t>
          </a:r>
        </a:p>
      </dgm:t>
    </dgm:pt>
    <dgm:pt modelId="{93D27388-55AD-4C5F-AA0C-763FFCD6CEB3}" type="parTrans" cxnId="{BC9C5903-C364-4368-B972-AF7EEA6FCB1B}">
      <dgm:prSet/>
      <dgm:spPr/>
      <dgm:t>
        <a:bodyPr/>
        <a:lstStyle/>
        <a:p>
          <a:endParaRPr lang="en-US"/>
        </a:p>
      </dgm:t>
    </dgm:pt>
    <dgm:pt modelId="{518B25AA-39F9-4FFA-BB30-3467A95729C8}" type="sibTrans" cxnId="{BC9C5903-C364-4368-B972-AF7EEA6FCB1B}">
      <dgm:prSet/>
      <dgm:spPr/>
      <dgm:t>
        <a:bodyPr/>
        <a:lstStyle/>
        <a:p>
          <a:endParaRPr lang="en-US"/>
        </a:p>
      </dgm:t>
    </dgm:pt>
    <dgm:pt modelId="{71E565D1-54CC-4725-8025-8E8D8E732035}">
      <dgm:prSet/>
      <dgm:spPr>
        <a:solidFill>
          <a:srgbClr val="C00000"/>
        </a:solidFill>
      </dgm:spPr>
      <dgm:t>
        <a:bodyPr/>
        <a:lstStyle/>
        <a:p>
          <a:r>
            <a:rPr lang="en-US" b="0" i="0" dirty="0">
              <a:solidFill>
                <a:srgbClr val="FFC000"/>
              </a:solidFill>
              <a:effectLst/>
              <a:latin typeface="+mn-lt"/>
              <a:ea typeface="+mn-ea"/>
              <a:cs typeface="+mn-cs"/>
            </a:rPr>
            <a:t>€1 billion per year after 2020</a:t>
          </a:r>
          <a:endParaRPr lang="en-US" dirty="0">
            <a:solidFill>
              <a:srgbClr val="FFC000"/>
            </a:solidFill>
          </a:endParaRPr>
        </a:p>
      </dgm:t>
    </dgm:pt>
    <dgm:pt modelId="{32413DA9-C2FF-40A0-9AD2-274BC1B80B55}" type="parTrans" cxnId="{EA85CFF3-31B8-412E-AA93-2A7A4A84ECF3}">
      <dgm:prSet/>
      <dgm:spPr/>
      <dgm:t>
        <a:bodyPr/>
        <a:lstStyle/>
        <a:p>
          <a:endParaRPr lang="en-US"/>
        </a:p>
      </dgm:t>
    </dgm:pt>
    <dgm:pt modelId="{F78B4E24-4355-4149-B889-3FF92E1A7162}" type="sibTrans" cxnId="{EA85CFF3-31B8-412E-AA93-2A7A4A84ECF3}">
      <dgm:prSet/>
      <dgm:spPr/>
      <dgm:t>
        <a:bodyPr/>
        <a:lstStyle/>
        <a:p>
          <a:endParaRPr lang="en-US"/>
        </a:p>
      </dgm:t>
    </dgm:pt>
    <dgm:pt modelId="{5E94B42D-B34E-48E2-86D5-647B3E34D943}" type="pres">
      <dgm:prSet presAssocID="{2B2E572E-F61C-47C7-942F-673B55C116C4}" presName="linearFlow" presStyleCnt="0">
        <dgm:presLayoutVars>
          <dgm:resizeHandles val="exact"/>
        </dgm:presLayoutVars>
      </dgm:prSet>
      <dgm:spPr/>
    </dgm:pt>
    <dgm:pt modelId="{26C72B91-3A3D-4C0D-B35E-6D6A7C27B6AB}" type="pres">
      <dgm:prSet presAssocID="{5D9DBE38-2245-43FA-A34A-28EC73EB8847}" presName="node" presStyleLbl="node1" presStyleIdx="0" presStyleCnt="4" custLinFactNeighborX="0" custLinFactNeighborY="10000">
        <dgm:presLayoutVars>
          <dgm:bulletEnabled val="1"/>
        </dgm:presLayoutVars>
      </dgm:prSet>
      <dgm:spPr/>
    </dgm:pt>
    <dgm:pt modelId="{80F4681D-CE01-43EB-94F0-3129200F4911}" type="pres">
      <dgm:prSet presAssocID="{4ACFBE3C-2819-48C4-817C-9C0CD117AF62}" presName="sibTrans" presStyleLbl="sibTrans2D1" presStyleIdx="0" presStyleCnt="3"/>
      <dgm:spPr/>
    </dgm:pt>
    <dgm:pt modelId="{24FB56BE-9C99-421B-A008-1B2B1704CD89}" type="pres">
      <dgm:prSet presAssocID="{4ACFBE3C-2819-48C4-817C-9C0CD117AF62}" presName="connectorText" presStyleLbl="sibTrans2D1" presStyleIdx="0" presStyleCnt="3"/>
      <dgm:spPr/>
    </dgm:pt>
    <dgm:pt modelId="{BB730468-2E27-4FC0-B711-F8A890B36E20}" type="pres">
      <dgm:prSet presAssocID="{4DCE8AC5-26B6-4125-B904-931366D19B18}" presName="node" presStyleLbl="node1" presStyleIdx="1" presStyleCnt="4">
        <dgm:presLayoutVars>
          <dgm:bulletEnabled val="1"/>
        </dgm:presLayoutVars>
      </dgm:prSet>
      <dgm:spPr/>
    </dgm:pt>
    <dgm:pt modelId="{60808051-E860-4FF4-8798-9ED5DBFBBCFC}" type="pres">
      <dgm:prSet presAssocID="{2553070B-2057-4720-8E94-A0D2EB6051F0}" presName="sibTrans" presStyleLbl="sibTrans2D1" presStyleIdx="1" presStyleCnt="3"/>
      <dgm:spPr/>
    </dgm:pt>
    <dgm:pt modelId="{1B262356-D21F-4CFE-A743-D760CDAD0665}" type="pres">
      <dgm:prSet presAssocID="{2553070B-2057-4720-8E94-A0D2EB6051F0}" presName="connectorText" presStyleLbl="sibTrans2D1" presStyleIdx="1" presStyleCnt="3"/>
      <dgm:spPr/>
    </dgm:pt>
    <dgm:pt modelId="{80851B12-83F7-4BF8-82D5-A90EFEF81A2F}" type="pres">
      <dgm:prSet presAssocID="{1C04B50F-3401-447B-82E8-8EDD4E731E91}" presName="node" presStyleLbl="node1" presStyleIdx="2" presStyleCnt="4">
        <dgm:presLayoutVars>
          <dgm:bulletEnabled val="1"/>
        </dgm:presLayoutVars>
      </dgm:prSet>
      <dgm:spPr/>
    </dgm:pt>
    <dgm:pt modelId="{76929B95-AD4B-44E7-B23D-A72FB674CE48}" type="pres">
      <dgm:prSet presAssocID="{518B25AA-39F9-4FFA-BB30-3467A95729C8}" presName="sibTrans" presStyleLbl="sibTrans2D1" presStyleIdx="2" presStyleCnt="3"/>
      <dgm:spPr/>
    </dgm:pt>
    <dgm:pt modelId="{DA85F3CF-AF6C-48A0-AD50-1078F7EFAFD5}" type="pres">
      <dgm:prSet presAssocID="{518B25AA-39F9-4FFA-BB30-3467A95729C8}" presName="connectorText" presStyleLbl="sibTrans2D1" presStyleIdx="2" presStyleCnt="3"/>
      <dgm:spPr/>
    </dgm:pt>
    <dgm:pt modelId="{F0446576-30DB-4CF9-90EB-5CBDCD077DF4}" type="pres">
      <dgm:prSet presAssocID="{71E565D1-54CC-4725-8025-8E8D8E732035}" presName="node" presStyleLbl="node1" presStyleIdx="3" presStyleCnt="4">
        <dgm:presLayoutVars>
          <dgm:bulletEnabled val="1"/>
        </dgm:presLayoutVars>
      </dgm:prSet>
      <dgm:spPr/>
    </dgm:pt>
  </dgm:ptLst>
  <dgm:cxnLst>
    <dgm:cxn modelId="{BC9C5903-C364-4368-B972-AF7EEA6FCB1B}" srcId="{2B2E572E-F61C-47C7-942F-673B55C116C4}" destId="{1C04B50F-3401-447B-82E8-8EDD4E731E91}" srcOrd="2" destOrd="0" parTransId="{93D27388-55AD-4C5F-AA0C-763FFCD6CEB3}" sibTransId="{518B25AA-39F9-4FFA-BB30-3467A95729C8}"/>
    <dgm:cxn modelId="{EAF53A16-51D1-4EA2-855F-3EB56911D7BC}" type="presOf" srcId="{71E565D1-54CC-4725-8025-8E8D8E732035}" destId="{F0446576-30DB-4CF9-90EB-5CBDCD077DF4}" srcOrd="0" destOrd="0" presId="urn:microsoft.com/office/officeart/2005/8/layout/process2"/>
    <dgm:cxn modelId="{418BF21D-AF8F-4CA8-965D-A9BE9A6AA4E2}" type="presOf" srcId="{1C04B50F-3401-447B-82E8-8EDD4E731E91}" destId="{80851B12-83F7-4BF8-82D5-A90EFEF81A2F}" srcOrd="0" destOrd="0" presId="urn:microsoft.com/office/officeart/2005/8/layout/process2"/>
    <dgm:cxn modelId="{7A52FB60-D977-430B-BA9C-26A253AD2CB1}" type="presOf" srcId="{4ACFBE3C-2819-48C4-817C-9C0CD117AF62}" destId="{24FB56BE-9C99-421B-A008-1B2B1704CD89}" srcOrd="1" destOrd="0" presId="urn:microsoft.com/office/officeart/2005/8/layout/process2"/>
    <dgm:cxn modelId="{B725D24F-AF0C-4B59-8050-BAD4AAB85AFC}" type="presOf" srcId="{4ACFBE3C-2819-48C4-817C-9C0CD117AF62}" destId="{80F4681D-CE01-43EB-94F0-3129200F4911}" srcOrd="0" destOrd="0" presId="urn:microsoft.com/office/officeart/2005/8/layout/process2"/>
    <dgm:cxn modelId="{B4A4E07B-EF70-447C-8FBB-BF2BC4689064}" srcId="{2B2E572E-F61C-47C7-942F-673B55C116C4}" destId="{5D9DBE38-2245-43FA-A34A-28EC73EB8847}" srcOrd="0" destOrd="0" parTransId="{DCCD0899-D524-4563-982D-EFFE497811A9}" sibTransId="{4ACFBE3C-2819-48C4-817C-9C0CD117AF62}"/>
    <dgm:cxn modelId="{81C64B8A-536C-4D68-9BD9-993DBD6C9BE6}" type="presOf" srcId="{2553070B-2057-4720-8E94-A0D2EB6051F0}" destId="{60808051-E860-4FF4-8798-9ED5DBFBBCFC}" srcOrd="0" destOrd="0" presId="urn:microsoft.com/office/officeart/2005/8/layout/process2"/>
    <dgm:cxn modelId="{6E9B5C98-2EB2-4DCF-9ED8-CEBD812A2E1D}" type="presOf" srcId="{2553070B-2057-4720-8E94-A0D2EB6051F0}" destId="{1B262356-D21F-4CFE-A743-D760CDAD0665}" srcOrd="1" destOrd="0" presId="urn:microsoft.com/office/officeart/2005/8/layout/process2"/>
    <dgm:cxn modelId="{C0EA2CA9-C48E-4779-A938-3F645870BD7C}" type="presOf" srcId="{518B25AA-39F9-4FFA-BB30-3467A95729C8}" destId="{DA85F3CF-AF6C-48A0-AD50-1078F7EFAFD5}" srcOrd="1" destOrd="0" presId="urn:microsoft.com/office/officeart/2005/8/layout/process2"/>
    <dgm:cxn modelId="{440550AB-9161-4261-B401-3BDB41607E3D}" type="presOf" srcId="{5D9DBE38-2245-43FA-A34A-28EC73EB8847}" destId="{26C72B91-3A3D-4C0D-B35E-6D6A7C27B6AB}" srcOrd="0" destOrd="0" presId="urn:microsoft.com/office/officeart/2005/8/layout/process2"/>
    <dgm:cxn modelId="{FAA1CFB2-5ECE-49CF-A9D2-34F8F6A31261}" type="presOf" srcId="{518B25AA-39F9-4FFA-BB30-3467A95729C8}" destId="{76929B95-AD4B-44E7-B23D-A72FB674CE48}" srcOrd="0" destOrd="0" presId="urn:microsoft.com/office/officeart/2005/8/layout/process2"/>
    <dgm:cxn modelId="{34223BBD-E877-4E33-884D-B554BF658579}" srcId="{2B2E572E-F61C-47C7-942F-673B55C116C4}" destId="{4DCE8AC5-26B6-4125-B904-931366D19B18}" srcOrd="1" destOrd="0" parTransId="{832E826E-AEBC-41A9-97CF-CBE8845546B6}" sibTransId="{2553070B-2057-4720-8E94-A0D2EB6051F0}"/>
    <dgm:cxn modelId="{D39A60E5-9A45-4520-A30E-C61808AD54C4}" type="presOf" srcId="{2B2E572E-F61C-47C7-942F-673B55C116C4}" destId="{5E94B42D-B34E-48E2-86D5-647B3E34D943}" srcOrd="0" destOrd="0" presId="urn:microsoft.com/office/officeart/2005/8/layout/process2"/>
    <dgm:cxn modelId="{EA85CFF3-31B8-412E-AA93-2A7A4A84ECF3}" srcId="{2B2E572E-F61C-47C7-942F-673B55C116C4}" destId="{71E565D1-54CC-4725-8025-8E8D8E732035}" srcOrd="3" destOrd="0" parTransId="{32413DA9-C2FF-40A0-9AD2-274BC1B80B55}" sibTransId="{F78B4E24-4355-4149-B889-3FF92E1A7162}"/>
    <dgm:cxn modelId="{BA1078F4-45C2-4194-BC58-FCF6A703FEB2}" type="presOf" srcId="{4DCE8AC5-26B6-4125-B904-931366D19B18}" destId="{BB730468-2E27-4FC0-B711-F8A890B36E20}" srcOrd="0" destOrd="0" presId="urn:microsoft.com/office/officeart/2005/8/layout/process2"/>
    <dgm:cxn modelId="{58CAAF5F-F094-4116-A54F-14E9F56E5CCC}" type="presParOf" srcId="{5E94B42D-B34E-48E2-86D5-647B3E34D943}" destId="{26C72B91-3A3D-4C0D-B35E-6D6A7C27B6AB}" srcOrd="0" destOrd="0" presId="urn:microsoft.com/office/officeart/2005/8/layout/process2"/>
    <dgm:cxn modelId="{31C2EC33-F6BF-4497-ABC0-916B70424CB7}" type="presParOf" srcId="{5E94B42D-B34E-48E2-86D5-647B3E34D943}" destId="{80F4681D-CE01-43EB-94F0-3129200F4911}" srcOrd="1" destOrd="0" presId="urn:microsoft.com/office/officeart/2005/8/layout/process2"/>
    <dgm:cxn modelId="{158641B8-5C40-4114-988D-7A3D3FA4A65E}" type="presParOf" srcId="{80F4681D-CE01-43EB-94F0-3129200F4911}" destId="{24FB56BE-9C99-421B-A008-1B2B1704CD89}" srcOrd="0" destOrd="0" presId="urn:microsoft.com/office/officeart/2005/8/layout/process2"/>
    <dgm:cxn modelId="{0E098CD7-ED89-4BDF-A2AB-AD3044BE3764}" type="presParOf" srcId="{5E94B42D-B34E-48E2-86D5-647B3E34D943}" destId="{BB730468-2E27-4FC0-B711-F8A890B36E20}" srcOrd="2" destOrd="0" presId="urn:microsoft.com/office/officeart/2005/8/layout/process2"/>
    <dgm:cxn modelId="{60127F12-60CE-4A25-8679-DFCC9B1E59A6}" type="presParOf" srcId="{5E94B42D-B34E-48E2-86D5-647B3E34D943}" destId="{60808051-E860-4FF4-8798-9ED5DBFBBCFC}" srcOrd="3" destOrd="0" presId="urn:microsoft.com/office/officeart/2005/8/layout/process2"/>
    <dgm:cxn modelId="{E743038D-47EA-4FAB-9231-23074DBC7049}" type="presParOf" srcId="{60808051-E860-4FF4-8798-9ED5DBFBBCFC}" destId="{1B262356-D21F-4CFE-A743-D760CDAD0665}" srcOrd="0" destOrd="0" presId="urn:microsoft.com/office/officeart/2005/8/layout/process2"/>
    <dgm:cxn modelId="{679463DB-A434-4FCE-AD4B-65A9638EB6E3}" type="presParOf" srcId="{5E94B42D-B34E-48E2-86D5-647B3E34D943}" destId="{80851B12-83F7-4BF8-82D5-A90EFEF81A2F}" srcOrd="4" destOrd="0" presId="urn:microsoft.com/office/officeart/2005/8/layout/process2"/>
    <dgm:cxn modelId="{B7D61280-7CC2-4B85-9CE4-1906AC99ADC1}" type="presParOf" srcId="{5E94B42D-B34E-48E2-86D5-647B3E34D943}" destId="{76929B95-AD4B-44E7-B23D-A72FB674CE48}" srcOrd="5" destOrd="0" presId="urn:microsoft.com/office/officeart/2005/8/layout/process2"/>
    <dgm:cxn modelId="{D18DCD22-8945-412B-8A04-D76B08CA0184}" type="presParOf" srcId="{76929B95-AD4B-44E7-B23D-A72FB674CE48}" destId="{DA85F3CF-AF6C-48A0-AD50-1078F7EFAFD5}" srcOrd="0" destOrd="0" presId="urn:microsoft.com/office/officeart/2005/8/layout/process2"/>
    <dgm:cxn modelId="{9BF90DCD-5E5E-4BE7-9977-416B79234AD7}" type="presParOf" srcId="{5E94B42D-B34E-48E2-86D5-647B3E34D943}" destId="{F0446576-30DB-4CF9-90EB-5CBDCD077DF4}" srcOrd="6" destOrd="0" presId="urn:microsoft.com/office/officeart/2005/8/layout/process2"/>
  </dgm:cxnLst>
  <dgm:bg/>
  <dgm:whole/>
  <dgm:extLst>
    <a:ext uri="http://schemas.microsoft.com/office/drawing/2008/diagram">
      <dsp:dataModelExt xmlns:dsp="http://schemas.microsoft.com/office/drawing/2008/diagram" relId="rId13"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2B2E572E-F61C-47C7-942F-673B55C116C4}" type="doc">
      <dgm:prSet loTypeId="urn:microsoft.com/office/officeart/2005/8/layout/process2" loCatId="process" qsTypeId="urn:microsoft.com/office/officeart/2005/8/quickstyle/simple1" qsCatId="simple" csTypeId="urn:microsoft.com/office/officeart/2005/8/colors/accent1_2" csCatId="accent1" phldr="1"/>
      <dgm:spPr/>
    </dgm:pt>
    <dgm:pt modelId="{5D9DBE38-2245-43FA-A34A-28EC73EB8847}">
      <dgm:prSet phldrT="[Text]"/>
      <dgm:spPr/>
      <dgm:t>
        <a:bodyPr/>
        <a:lstStyle/>
        <a:p>
          <a:r>
            <a:rPr lang="en-US" dirty="0"/>
            <a:t>Research Funding</a:t>
          </a:r>
        </a:p>
      </dgm:t>
    </dgm:pt>
    <dgm:pt modelId="{DCCD0899-D524-4563-982D-EFFE497811A9}" type="parTrans" cxnId="{B4A4E07B-EF70-447C-8FBB-BF2BC4689064}">
      <dgm:prSet/>
      <dgm:spPr/>
      <dgm:t>
        <a:bodyPr/>
        <a:lstStyle/>
        <a:p>
          <a:endParaRPr lang="en-US"/>
        </a:p>
      </dgm:t>
    </dgm:pt>
    <dgm:pt modelId="{4ACFBE3C-2819-48C4-817C-9C0CD117AF62}" type="sibTrans" cxnId="{B4A4E07B-EF70-447C-8FBB-BF2BC4689064}">
      <dgm:prSet/>
      <dgm:spPr/>
      <dgm:t>
        <a:bodyPr/>
        <a:lstStyle/>
        <a:p>
          <a:endParaRPr lang="en-US"/>
        </a:p>
      </dgm:t>
    </dgm:pt>
    <dgm:pt modelId="{4DCE8AC5-26B6-4125-B904-931366D19B18}">
      <dgm:prSet phldrT="[Text]"/>
      <dgm:spPr/>
      <dgm:t>
        <a:bodyPr/>
        <a:lstStyle/>
        <a:p>
          <a:r>
            <a:rPr lang="en-US" dirty="0"/>
            <a:t>Priority Areas Agreed by Member States</a:t>
          </a:r>
        </a:p>
      </dgm:t>
    </dgm:pt>
    <dgm:pt modelId="{832E826E-AEBC-41A9-97CF-CBE8845546B6}" type="parTrans" cxnId="{34223BBD-E877-4E33-884D-B554BF658579}">
      <dgm:prSet/>
      <dgm:spPr/>
      <dgm:t>
        <a:bodyPr/>
        <a:lstStyle/>
        <a:p>
          <a:endParaRPr lang="en-US"/>
        </a:p>
      </dgm:t>
    </dgm:pt>
    <dgm:pt modelId="{2553070B-2057-4720-8E94-A0D2EB6051F0}" type="sibTrans" cxnId="{34223BBD-E877-4E33-884D-B554BF658579}">
      <dgm:prSet/>
      <dgm:spPr/>
      <dgm:t>
        <a:bodyPr/>
        <a:lstStyle/>
        <a:p>
          <a:endParaRPr lang="en-US"/>
        </a:p>
      </dgm:t>
    </dgm:pt>
    <dgm:pt modelId="{1C04B50F-3401-447B-82E8-8EDD4E731E91}">
      <dgm:prSet phldrT="[Text]" custT="1"/>
      <dgm:spPr/>
      <dgm:t>
        <a:bodyPr/>
        <a:lstStyle/>
        <a:p>
          <a:r>
            <a:rPr lang="en-US" sz="1800" b="1" i="0" dirty="0">
              <a:solidFill>
                <a:schemeClr val="tx1"/>
              </a:solidFill>
              <a:effectLst/>
              <a:latin typeface="+mn-lt"/>
              <a:ea typeface="+mn-ea"/>
              <a:cs typeface="+mn-cs"/>
            </a:rPr>
            <a:t>€500 million</a:t>
          </a:r>
          <a:r>
            <a:rPr lang="en-US" sz="1800" b="0" i="0" dirty="0">
              <a:solidFill>
                <a:schemeClr val="tx1"/>
              </a:solidFill>
              <a:effectLst/>
              <a:latin typeface="+mn-lt"/>
              <a:ea typeface="+mn-ea"/>
              <a:cs typeface="+mn-cs"/>
            </a:rPr>
            <a:t> per year after 2020</a:t>
          </a:r>
          <a:endParaRPr lang="en-US" sz="1800" dirty="0">
            <a:solidFill>
              <a:schemeClr val="tx1"/>
            </a:solidFill>
          </a:endParaRPr>
        </a:p>
      </dgm:t>
    </dgm:pt>
    <dgm:pt modelId="{93D27388-55AD-4C5F-AA0C-763FFCD6CEB3}" type="parTrans" cxnId="{BC9C5903-C364-4368-B972-AF7EEA6FCB1B}">
      <dgm:prSet/>
      <dgm:spPr/>
      <dgm:t>
        <a:bodyPr/>
        <a:lstStyle/>
        <a:p>
          <a:endParaRPr lang="en-US"/>
        </a:p>
      </dgm:t>
    </dgm:pt>
    <dgm:pt modelId="{518B25AA-39F9-4FFA-BB30-3467A95729C8}" type="sibTrans" cxnId="{BC9C5903-C364-4368-B972-AF7EEA6FCB1B}">
      <dgm:prSet/>
      <dgm:spPr/>
      <dgm:t>
        <a:bodyPr/>
        <a:lstStyle/>
        <a:p>
          <a:endParaRPr lang="en-US"/>
        </a:p>
      </dgm:t>
    </dgm:pt>
    <dgm:pt modelId="{5E94B42D-B34E-48E2-86D5-647B3E34D943}" type="pres">
      <dgm:prSet presAssocID="{2B2E572E-F61C-47C7-942F-673B55C116C4}" presName="linearFlow" presStyleCnt="0">
        <dgm:presLayoutVars>
          <dgm:resizeHandles val="exact"/>
        </dgm:presLayoutVars>
      </dgm:prSet>
      <dgm:spPr/>
    </dgm:pt>
    <dgm:pt modelId="{26C72B91-3A3D-4C0D-B35E-6D6A7C27B6AB}" type="pres">
      <dgm:prSet presAssocID="{5D9DBE38-2245-43FA-A34A-28EC73EB8847}" presName="node" presStyleLbl="node1" presStyleIdx="0" presStyleCnt="3" custLinFactNeighborX="0" custLinFactNeighborY="10000">
        <dgm:presLayoutVars>
          <dgm:bulletEnabled val="1"/>
        </dgm:presLayoutVars>
      </dgm:prSet>
      <dgm:spPr/>
    </dgm:pt>
    <dgm:pt modelId="{80F4681D-CE01-43EB-94F0-3129200F4911}" type="pres">
      <dgm:prSet presAssocID="{4ACFBE3C-2819-48C4-817C-9C0CD117AF62}" presName="sibTrans" presStyleLbl="sibTrans2D1" presStyleIdx="0" presStyleCnt="2"/>
      <dgm:spPr/>
    </dgm:pt>
    <dgm:pt modelId="{24FB56BE-9C99-421B-A008-1B2B1704CD89}" type="pres">
      <dgm:prSet presAssocID="{4ACFBE3C-2819-48C4-817C-9C0CD117AF62}" presName="connectorText" presStyleLbl="sibTrans2D1" presStyleIdx="0" presStyleCnt="2"/>
      <dgm:spPr/>
    </dgm:pt>
    <dgm:pt modelId="{BB730468-2E27-4FC0-B711-F8A890B36E20}" type="pres">
      <dgm:prSet presAssocID="{4DCE8AC5-26B6-4125-B904-931366D19B18}" presName="node" presStyleLbl="node1" presStyleIdx="1" presStyleCnt="3">
        <dgm:presLayoutVars>
          <dgm:bulletEnabled val="1"/>
        </dgm:presLayoutVars>
      </dgm:prSet>
      <dgm:spPr/>
    </dgm:pt>
    <dgm:pt modelId="{60808051-E860-4FF4-8798-9ED5DBFBBCFC}" type="pres">
      <dgm:prSet presAssocID="{2553070B-2057-4720-8E94-A0D2EB6051F0}" presName="sibTrans" presStyleLbl="sibTrans2D1" presStyleIdx="1" presStyleCnt="2"/>
      <dgm:spPr/>
    </dgm:pt>
    <dgm:pt modelId="{1B262356-D21F-4CFE-A743-D760CDAD0665}" type="pres">
      <dgm:prSet presAssocID="{2553070B-2057-4720-8E94-A0D2EB6051F0}" presName="connectorText" presStyleLbl="sibTrans2D1" presStyleIdx="1" presStyleCnt="2"/>
      <dgm:spPr/>
    </dgm:pt>
    <dgm:pt modelId="{80851B12-83F7-4BF8-82D5-A90EFEF81A2F}" type="pres">
      <dgm:prSet presAssocID="{1C04B50F-3401-447B-82E8-8EDD4E731E91}" presName="node" presStyleLbl="node1" presStyleIdx="2" presStyleCnt="3">
        <dgm:presLayoutVars>
          <dgm:bulletEnabled val="1"/>
        </dgm:presLayoutVars>
      </dgm:prSet>
      <dgm:spPr/>
    </dgm:pt>
  </dgm:ptLst>
  <dgm:cxnLst>
    <dgm:cxn modelId="{BC9C5903-C364-4368-B972-AF7EEA6FCB1B}" srcId="{2B2E572E-F61C-47C7-942F-673B55C116C4}" destId="{1C04B50F-3401-447B-82E8-8EDD4E731E91}" srcOrd="2" destOrd="0" parTransId="{93D27388-55AD-4C5F-AA0C-763FFCD6CEB3}" sibTransId="{518B25AA-39F9-4FFA-BB30-3467A95729C8}"/>
    <dgm:cxn modelId="{75CFC504-985E-4E9A-9733-24D1A70196A4}" type="presOf" srcId="{2553070B-2057-4720-8E94-A0D2EB6051F0}" destId="{60808051-E860-4FF4-8798-9ED5DBFBBCFC}" srcOrd="0" destOrd="0" presId="urn:microsoft.com/office/officeart/2005/8/layout/process2"/>
    <dgm:cxn modelId="{64EFDD07-7352-4DEA-BA42-9CA34BACE519}" type="presOf" srcId="{4DCE8AC5-26B6-4125-B904-931366D19B18}" destId="{BB730468-2E27-4FC0-B711-F8A890B36E20}" srcOrd="0" destOrd="0" presId="urn:microsoft.com/office/officeart/2005/8/layout/process2"/>
    <dgm:cxn modelId="{05C3BD3F-E6D6-4EE3-B6A8-51343390C0D6}" type="presOf" srcId="{4ACFBE3C-2819-48C4-817C-9C0CD117AF62}" destId="{24FB56BE-9C99-421B-A008-1B2B1704CD89}" srcOrd="1" destOrd="0" presId="urn:microsoft.com/office/officeart/2005/8/layout/process2"/>
    <dgm:cxn modelId="{185B1351-F232-4ABA-89D7-91437E1C26DC}" type="presOf" srcId="{5D9DBE38-2245-43FA-A34A-28EC73EB8847}" destId="{26C72B91-3A3D-4C0D-B35E-6D6A7C27B6AB}" srcOrd="0" destOrd="0" presId="urn:microsoft.com/office/officeart/2005/8/layout/process2"/>
    <dgm:cxn modelId="{BC81FB52-1402-4199-8FBF-0A12B1FC6B49}" type="presOf" srcId="{1C04B50F-3401-447B-82E8-8EDD4E731E91}" destId="{80851B12-83F7-4BF8-82D5-A90EFEF81A2F}" srcOrd="0" destOrd="0" presId="urn:microsoft.com/office/officeart/2005/8/layout/process2"/>
    <dgm:cxn modelId="{B4A4E07B-EF70-447C-8FBB-BF2BC4689064}" srcId="{2B2E572E-F61C-47C7-942F-673B55C116C4}" destId="{5D9DBE38-2245-43FA-A34A-28EC73EB8847}" srcOrd="0" destOrd="0" parTransId="{DCCD0899-D524-4563-982D-EFFE497811A9}" sibTransId="{4ACFBE3C-2819-48C4-817C-9C0CD117AF62}"/>
    <dgm:cxn modelId="{321DF3A2-2FA7-4571-B7B7-8318AEA46392}" type="presOf" srcId="{2553070B-2057-4720-8E94-A0D2EB6051F0}" destId="{1B262356-D21F-4CFE-A743-D760CDAD0665}" srcOrd="1" destOrd="0" presId="urn:microsoft.com/office/officeart/2005/8/layout/process2"/>
    <dgm:cxn modelId="{8D3EB2B8-4C8B-4F3D-92E3-6CB4D137DC8A}" type="presOf" srcId="{2B2E572E-F61C-47C7-942F-673B55C116C4}" destId="{5E94B42D-B34E-48E2-86D5-647B3E34D943}" srcOrd="0" destOrd="0" presId="urn:microsoft.com/office/officeart/2005/8/layout/process2"/>
    <dgm:cxn modelId="{34223BBD-E877-4E33-884D-B554BF658579}" srcId="{2B2E572E-F61C-47C7-942F-673B55C116C4}" destId="{4DCE8AC5-26B6-4125-B904-931366D19B18}" srcOrd="1" destOrd="0" parTransId="{832E826E-AEBC-41A9-97CF-CBE8845546B6}" sibTransId="{2553070B-2057-4720-8E94-A0D2EB6051F0}"/>
    <dgm:cxn modelId="{C61A04E8-4C81-4E68-85B7-C0CEB4F502D2}" type="presOf" srcId="{4ACFBE3C-2819-48C4-817C-9C0CD117AF62}" destId="{80F4681D-CE01-43EB-94F0-3129200F4911}" srcOrd="0" destOrd="0" presId="urn:microsoft.com/office/officeart/2005/8/layout/process2"/>
    <dgm:cxn modelId="{39D46971-BDFE-4341-8CA2-E2E0B5321033}" type="presParOf" srcId="{5E94B42D-B34E-48E2-86D5-647B3E34D943}" destId="{26C72B91-3A3D-4C0D-B35E-6D6A7C27B6AB}" srcOrd="0" destOrd="0" presId="urn:microsoft.com/office/officeart/2005/8/layout/process2"/>
    <dgm:cxn modelId="{09B88F3E-59BD-4E07-9C16-F6A577DA0D35}" type="presParOf" srcId="{5E94B42D-B34E-48E2-86D5-647B3E34D943}" destId="{80F4681D-CE01-43EB-94F0-3129200F4911}" srcOrd="1" destOrd="0" presId="urn:microsoft.com/office/officeart/2005/8/layout/process2"/>
    <dgm:cxn modelId="{3032FF7E-4F64-4237-8C94-17986B1D01BC}" type="presParOf" srcId="{80F4681D-CE01-43EB-94F0-3129200F4911}" destId="{24FB56BE-9C99-421B-A008-1B2B1704CD89}" srcOrd="0" destOrd="0" presId="urn:microsoft.com/office/officeart/2005/8/layout/process2"/>
    <dgm:cxn modelId="{69D209DB-B426-44A8-8A68-9D5AF9B4EF8F}" type="presParOf" srcId="{5E94B42D-B34E-48E2-86D5-647B3E34D943}" destId="{BB730468-2E27-4FC0-B711-F8A890B36E20}" srcOrd="2" destOrd="0" presId="urn:microsoft.com/office/officeart/2005/8/layout/process2"/>
    <dgm:cxn modelId="{F4F0AAD6-0B78-4EF8-8D3E-EF70F95A5A60}" type="presParOf" srcId="{5E94B42D-B34E-48E2-86D5-647B3E34D943}" destId="{60808051-E860-4FF4-8798-9ED5DBFBBCFC}" srcOrd="3" destOrd="0" presId="urn:microsoft.com/office/officeart/2005/8/layout/process2"/>
    <dgm:cxn modelId="{681DFF4D-0217-4C3A-AE4D-7DD1006681DB}" type="presParOf" srcId="{60808051-E860-4FF4-8798-9ED5DBFBBCFC}" destId="{1B262356-D21F-4CFE-A743-D760CDAD0665}" srcOrd="0" destOrd="0" presId="urn:microsoft.com/office/officeart/2005/8/layout/process2"/>
    <dgm:cxn modelId="{1153FC8D-7984-4E10-931B-857877174572}" type="presParOf" srcId="{5E94B42D-B34E-48E2-86D5-647B3E34D943}" destId="{80851B12-83F7-4BF8-82D5-A90EFEF81A2F}" srcOrd="4" destOrd="0" presId="urn:microsoft.com/office/officeart/2005/8/layout/process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2B2E572E-F61C-47C7-942F-673B55C116C4}" type="doc">
      <dgm:prSet loTypeId="urn:microsoft.com/office/officeart/2005/8/layout/process2" loCatId="process" qsTypeId="urn:microsoft.com/office/officeart/2005/8/quickstyle/simple1" qsCatId="simple" csTypeId="urn:microsoft.com/office/officeart/2005/8/colors/accent1_2" csCatId="accent1" phldr="1"/>
      <dgm:spPr/>
    </dgm:pt>
    <dgm:pt modelId="{5D9DBE38-2245-43FA-A34A-28EC73EB8847}">
      <dgm:prSet phldrT="[Text]"/>
      <dgm:spPr>
        <a:solidFill>
          <a:srgbClr val="C00000"/>
        </a:solidFill>
      </dgm:spPr>
      <dgm:t>
        <a:bodyPr/>
        <a:lstStyle/>
        <a:p>
          <a:r>
            <a:rPr lang="en-US" dirty="0"/>
            <a:t>Development and Acquisition</a:t>
          </a:r>
        </a:p>
      </dgm:t>
    </dgm:pt>
    <dgm:pt modelId="{DCCD0899-D524-4563-982D-EFFE497811A9}" type="parTrans" cxnId="{B4A4E07B-EF70-447C-8FBB-BF2BC4689064}">
      <dgm:prSet/>
      <dgm:spPr/>
      <dgm:t>
        <a:bodyPr/>
        <a:lstStyle/>
        <a:p>
          <a:endParaRPr lang="en-US"/>
        </a:p>
      </dgm:t>
    </dgm:pt>
    <dgm:pt modelId="{4ACFBE3C-2819-48C4-817C-9C0CD117AF62}" type="sibTrans" cxnId="{B4A4E07B-EF70-447C-8FBB-BF2BC4689064}">
      <dgm:prSet/>
      <dgm:spPr/>
      <dgm:t>
        <a:bodyPr/>
        <a:lstStyle/>
        <a:p>
          <a:endParaRPr lang="en-US"/>
        </a:p>
      </dgm:t>
    </dgm:pt>
    <dgm:pt modelId="{4DCE8AC5-26B6-4125-B904-931366D19B18}">
      <dgm:prSet phldrT="[Text]"/>
      <dgm:spPr>
        <a:solidFill>
          <a:srgbClr val="C00000"/>
        </a:solidFill>
      </dgm:spPr>
      <dgm:t>
        <a:bodyPr/>
        <a:lstStyle/>
        <a:p>
          <a:r>
            <a:rPr lang="en-US" dirty="0"/>
            <a:t>C0-Financing and Commission Support</a:t>
          </a:r>
        </a:p>
      </dgm:t>
    </dgm:pt>
    <dgm:pt modelId="{832E826E-AEBC-41A9-97CF-CBE8845546B6}" type="parTrans" cxnId="{34223BBD-E877-4E33-884D-B554BF658579}">
      <dgm:prSet/>
      <dgm:spPr/>
      <dgm:t>
        <a:bodyPr/>
        <a:lstStyle/>
        <a:p>
          <a:endParaRPr lang="en-US"/>
        </a:p>
      </dgm:t>
    </dgm:pt>
    <dgm:pt modelId="{2553070B-2057-4720-8E94-A0D2EB6051F0}" type="sibTrans" cxnId="{34223BBD-E877-4E33-884D-B554BF658579}">
      <dgm:prSet/>
      <dgm:spPr/>
      <dgm:t>
        <a:bodyPr/>
        <a:lstStyle/>
        <a:p>
          <a:endParaRPr lang="en-US"/>
        </a:p>
      </dgm:t>
    </dgm:pt>
    <dgm:pt modelId="{1C04B50F-3401-447B-82E8-8EDD4E731E91}">
      <dgm:prSet phldrT="[Text]" custT="1"/>
      <dgm:spPr>
        <a:solidFill>
          <a:srgbClr val="C00000"/>
        </a:solidFill>
      </dgm:spPr>
      <dgm:t>
        <a:bodyPr/>
        <a:lstStyle/>
        <a:p>
          <a:r>
            <a:rPr lang="en-US" sz="1800" dirty="0">
              <a:solidFill>
                <a:schemeClr val="tx1"/>
              </a:solidFill>
            </a:rPr>
            <a:t>Members State Collaborative Projects Only </a:t>
          </a:r>
        </a:p>
      </dgm:t>
    </dgm:pt>
    <dgm:pt modelId="{93D27388-55AD-4C5F-AA0C-763FFCD6CEB3}" type="parTrans" cxnId="{BC9C5903-C364-4368-B972-AF7EEA6FCB1B}">
      <dgm:prSet/>
      <dgm:spPr/>
      <dgm:t>
        <a:bodyPr/>
        <a:lstStyle/>
        <a:p>
          <a:endParaRPr lang="en-US"/>
        </a:p>
      </dgm:t>
    </dgm:pt>
    <dgm:pt modelId="{518B25AA-39F9-4FFA-BB30-3467A95729C8}" type="sibTrans" cxnId="{BC9C5903-C364-4368-B972-AF7EEA6FCB1B}">
      <dgm:prSet/>
      <dgm:spPr/>
      <dgm:t>
        <a:bodyPr/>
        <a:lstStyle/>
        <a:p>
          <a:endParaRPr lang="en-US"/>
        </a:p>
      </dgm:t>
    </dgm:pt>
    <dgm:pt modelId="{71E565D1-54CC-4725-8025-8E8D8E732035}">
      <dgm:prSet/>
      <dgm:spPr>
        <a:solidFill>
          <a:srgbClr val="C00000"/>
        </a:solidFill>
      </dgm:spPr>
      <dgm:t>
        <a:bodyPr/>
        <a:lstStyle/>
        <a:p>
          <a:r>
            <a:rPr lang="en-US" b="0" i="0" dirty="0">
              <a:solidFill>
                <a:schemeClr val="bg1"/>
              </a:solidFill>
              <a:effectLst/>
              <a:latin typeface="+mn-lt"/>
              <a:ea typeface="+mn-ea"/>
              <a:cs typeface="+mn-cs"/>
            </a:rPr>
            <a:t>€</a:t>
          </a:r>
          <a:r>
            <a:rPr lang="en-US" b="0" i="0" dirty="0">
              <a:solidFill>
                <a:schemeClr val="tx1"/>
              </a:solidFill>
              <a:effectLst/>
              <a:latin typeface="+mn-lt"/>
              <a:ea typeface="+mn-ea"/>
              <a:cs typeface="+mn-cs"/>
            </a:rPr>
            <a:t>1 billion per year after 2020</a:t>
          </a:r>
          <a:endParaRPr lang="en-US" dirty="0">
            <a:solidFill>
              <a:schemeClr val="tx1"/>
            </a:solidFill>
          </a:endParaRPr>
        </a:p>
      </dgm:t>
    </dgm:pt>
    <dgm:pt modelId="{32413DA9-C2FF-40A0-9AD2-274BC1B80B55}" type="parTrans" cxnId="{EA85CFF3-31B8-412E-AA93-2A7A4A84ECF3}">
      <dgm:prSet/>
      <dgm:spPr/>
      <dgm:t>
        <a:bodyPr/>
        <a:lstStyle/>
        <a:p>
          <a:endParaRPr lang="en-US"/>
        </a:p>
      </dgm:t>
    </dgm:pt>
    <dgm:pt modelId="{F78B4E24-4355-4149-B889-3FF92E1A7162}" type="sibTrans" cxnId="{EA85CFF3-31B8-412E-AA93-2A7A4A84ECF3}">
      <dgm:prSet/>
      <dgm:spPr/>
      <dgm:t>
        <a:bodyPr/>
        <a:lstStyle/>
        <a:p>
          <a:endParaRPr lang="en-US"/>
        </a:p>
      </dgm:t>
    </dgm:pt>
    <dgm:pt modelId="{5E94B42D-B34E-48E2-86D5-647B3E34D943}" type="pres">
      <dgm:prSet presAssocID="{2B2E572E-F61C-47C7-942F-673B55C116C4}" presName="linearFlow" presStyleCnt="0">
        <dgm:presLayoutVars>
          <dgm:resizeHandles val="exact"/>
        </dgm:presLayoutVars>
      </dgm:prSet>
      <dgm:spPr/>
    </dgm:pt>
    <dgm:pt modelId="{26C72B91-3A3D-4C0D-B35E-6D6A7C27B6AB}" type="pres">
      <dgm:prSet presAssocID="{5D9DBE38-2245-43FA-A34A-28EC73EB8847}" presName="node" presStyleLbl="node1" presStyleIdx="0" presStyleCnt="4" custLinFactNeighborX="0" custLinFactNeighborY="10000">
        <dgm:presLayoutVars>
          <dgm:bulletEnabled val="1"/>
        </dgm:presLayoutVars>
      </dgm:prSet>
      <dgm:spPr/>
    </dgm:pt>
    <dgm:pt modelId="{80F4681D-CE01-43EB-94F0-3129200F4911}" type="pres">
      <dgm:prSet presAssocID="{4ACFBE3C-2819-48C4-817C-9C0CD117AF62}" presName="sibTrans" presStyleLbl="sibTrans2D1" presStyleIdx="0" presStyleCnt="3"/>
      <dgm:spPr/>
    </dgm:pt>
    <dgm:pt modelId="{24FB56BE-9C99-421B-A008-1B2B1704CD89}" type="pres">
      <dgm:prSet presAssocID="{4ACFBE3C-2819-48C4-817C-9C0CD117AF62}" presName="connectorText" presStyleLbl="sibTrans2D1" presStyleIdx="0" presStyleCnt="3"/>
      <dgm:spPr/>
    </dgm:pt>
    <dgm:pt modelId="{BB730468-2E27-4FC0-B711-F8A890B36E20}" type="pres">
      <dgm:prSet presAssocID="{4DCE8AC5-26B6-4125-B904-931366D19B18}" presName="node" presStyleLbl="node1" presStyleIdx="1" presStyleCnt="4">
        <dgm:presLayoutVars>
          <dgm:bulletEnabled val="1"/>
        </dgm:presLayoutVars>
      </dgm:prSet>
      <dgm:spPr/>
    </dgm:pt>
    <dgm:pt modelId="{60808051-E860-4FF4-8798-9ED5DBFBBCFC}" type="pres">
      <dgm:prSet presAssocID="{2553070B-2057-4720-8E94-A0D2EB6051F0}" presName="sibTrans" presStyleLbl="sibTrans2D1" presStyleIdx="1" presStyleCnt="3"/>
      <dgm:spPr/>
    </dgm:pt>
    <dgm:pt modelId="{1B262356-D21F-4CFE-A743-D760CDAD0665}" type="pres">
      <dgm:prSet presAssocID="{2553070B-2057-4720-8E94-A0D2EB6051F0}" presName="connectorText" presStyleLbl="sibTrans2D1" presStyleIdx="1" presStyleCnt="3"/>
      <dgm:spPr/>
    </dgm:pt>
    <dgm:pt modelId="{80851B12-83F7-4BF8-82D5-A90EFEF81A2F}" type="pres">
      <dgm:prSet presAssocID="{1C04B50F-3401-447B-82E8-8EDD4E731E91}" presName="node" presStyleLbl="node1" presStyleIdx="2" presStyleCnt="4">
        <dgm:presLayoutVars>
          <dgm:bulletEnabled val="1"/>
        </dgm:presLayoutVars>
      </dgm:prSet>
      <dgm:spPr/>
    </dgm:pt>
    <dgm:pt modelId="{76929B95-AD4B-44E7-B23D-A72FB674CE48}" type="pres">
      <dgm:prSet presAssocID="{518B25AA-39F9-4FFA-BB30-3467A95729C8}" presName="sibTrans" presStyleLbl="sibTrans2D1" presStyleIdx="2" presStyleCnt="3"/>
      <dgm:spPr/>
    </dgm:pt>
    <dgm:pt modelId="{DA85F3CF-AF6C-48A0-AD50-1078F7EFAFD5}" type="pres">
      <dgm:prSet presAssocID="{518B25AA-39F9-4FFA-BB30-3467A95729C8}" presName="connectorText" presStyleLbl="sibTrans2D1" presStyleIdx="2" presStyleCnt="3"/>
      <dgm:spPr/>
    </dgm:pt>
    <dgm:pt modelId="{F0446576-30DB-4CF9-90EB-5CBDCD077DF4}" type="pres">
      <dgm:prSet presAssocID="{71E565D1-54CC-4725-8025-8E8D8E732035}" presName="node" presStyleLbl="node1" presStyleIdx="3" presStyleCnt="4">
        <dgm:presLayoutVars>
          <dgm:bulletEnabled val="1"/>
        </dgm:presLayoutVars>
      </dgm:prSet>
      <dgm:spPr/>
    </dgm:pt>
  </dgm:ptLst>
  <dgm:cxnLst>
    <dgm:cxn modelId="{BC9C5903-C364-4368-B972-AF7EEA6FCB1B}" srcId="{2B2E572E-F61C-47C7-942F-673B55C116C4}" destId="{1C04B50F-3401-447B-82E8-8EDD4E731E91}" srcOrd="2" destOrd="0" parTransId="{93D27388-55AD-4C5F-AA0C-763FFCD6CEB3}" sibTransId="{518B25AA-39F9-4FFA-BB30-3467A95729C8}"/>
    <dgm:cxn modelId="{B2F54006-96C2-4D24-B336-5EED4956D717}" type="presOf" srcId="{4ACFBE3C-2819-48C4-817C-9C0CD117AF62}" destId="{80F4681D-CE01-43EB-94F0-3129200F4911}" srcOrd="0" destOrd="0" presId="urn:microsoft.com/office/officeart/2005/8/layout/process2"/>
    <dgm:cxn modelId="{EC49C83B-10C6-4145-A0CB-5BC055CE4D6D}" type="presOf" srcId="{518B25AA-39F9-4FFA-BB30-3467A95729C8}" destId="{DA85F3CF-AF6C-48A0-AD50-1078F7EFAFD5}" srcOrd="1" destOrd="0" presId="urn:microsoft.com/office/officeart/2005/8/layout/process2"/>
    <dgm:cxn modelId="{192ADB77-49C0-4A4E-9EA7-68FB98ABFCEB}" type="presOf" srcId="{2553070B-2057-4720-8E94-A0D2EB6051F0}" destId="{1B262356-D21F-4CFE-A743-D760CDAD0665}" srcOrd="1" destOrd="0" presId="urn:microsoft.com/office/officeart/2005/8/layout/process2"/>
    <dgm:cxn modelId="{27DE6C79-6BE7-4357-99C0-BFC1AD2C15E3}" type="presOf" srcId="{4DCE8AC5-26B6-4125-B904-931366D19B18}" destId="{BB730468-2E27-4FC0-B711-F8A890B36E20}" srcOrd="0" destOrd="0" presId="urn:microsoft.com/office/officeart/2005/8/layout/process2"/>
    <dgm:cxn modelId="{B4A4E07B-EF70-447C-8FBB-BF2BC4689064}" srcId="{2B2E572E-F61C-47C7-942F-673B55C116C4}" destId="{5D9DBE38-2245-43FA-A34A-28EC73EB8847}" srcOrd="0" destOrd="0" parTransId="{DCCD0899-D524-4563-982D-EFFE497811A9}" sibTransId="{4ACFBE3C-2819-48C4-817C-9C0CD117AF62}"/>
    <dgm:cxn modelId="{6A0BA985-FD05-4B49-858D-E746F3E75E51}" type="presOf" srcId="{2553070B-2057-4720-8E94-A0D2EB6051F0}" destId="{60808051-E860-4FF4-8798-9ED5DBFBBCFC}" srcOrd="0" destOrd="0" presId="urn:microsoft.com/office/officeart/2005/8/layout/process2"/>
    <dgm:cxn modelId="{2325F890-4C31-456F-A02F-A1DD172CE535}" type="presOf" srcId="{518B25AA-39F9-4FFA-BB30-3467A95729C8}" destId="{76929B95-AD4B-44E7-B23D-A72FB674CE48}" srcOrd="0" destOrd="0" presId="urn:microsoft.com/office/officeart/2005/8/layout/process2"/>
    <dgm:cxn modelId="{1D265CA1-B06D-4348-9925-8207F361EF4E}" type="presOf" srcId="{1C04B50F-3401-447B-82E8-8EDD4E731E91}" destId="{80851B12-83F7-4BF8-82D5-A90EFEF81A2F}" srcOrd="0" destOrd="0" presId="urn:microsoft.com/office/officeart/2005/8/layout/process2"/>
    <dgm:cxn modelId="{0E6FC1A5-768E-459E-9673-8BE6479F62C4}" type="presOf" srcId="{71E565D1-54CC-4725-8025-8E8D8E732035}" destId="{F0446576-30DB-4CF9-90EB-5CBDCD077DF4}" srcOrd="0" destOrd="0" presId="urn:microsoft.com/office/officeart/2005/8/layout/process2"/>
    <dgm:cxn modelId="{9BD99FB8-BF86-4DF5-8B2D-D1064FDD2465}" type="presOf" srcId="{5D9DBE38-2245-43FA-A34A-28EC73EB8847}" destId="{26C72B91-3A3D-4C0D-B35E-6D6A7C27B6AB}" srcOrd="0" destOrd="0" presId="urn:microsoft.com/office/officeart/2005/8/layout/process2"/>
    <dgm:cxn modelId="{34223BBD-E877-4E33-884D-B554BF658579}" srcId="{2B2E572E-F61C-47C7-942F-673B55C116C4}" destId="{4DCE8AC5-26B6-4125-B904-931366D19B18}" srcOrd="1" destOrd="0" parTransId="{832E826E-AEBC-41A9-97CF-CBE8845546B6}" sibTransId="{2553070B-2057-4720-8E94-A0D2EB6051F0}"/>
    <dgm:cxn modelId="{7AEE18E6-ABEB-4F52-A440-C959BDAE31ED}" type="presOf" srcId="{4ACFBE3C-2819-48C4-817C-9C0CD117AF62}" destId="{24FB56BE-9C99-421B-A008-1B2B1704CD89}" srcOrd="1" destOrd="0" presId="urn:microsoft.com/office/officeart/2005/8/layout/process2"/>
    <dgm:cxn modelId="{EC7845E9-D15E-4074-92A5-128A59C3FCBF}" type="presOf" srcId="{2B2E572E-F61C-47C7-942F-673B55C116C4}" destId="{5E94B42D-B34E-48E2-86D5-647B3E34D943}" srcOrd="0" destOrd="0" presId="urn:microsoft.com/office/officeart/2005/8/layout/process2"/>
    <dgm:cxn modelId="{EA85CFF3-31B8-412E-AA93-2A7A4A84ECF3}" srcId="{2B2E572E-F61C-47C7-942F-673B55C116C4}" destId="{71E565D1-54CC-4725-8025-8E8D8E732035}" srcOrd="3" destOrd="0" parTransId="{32413DA9-C2FF-40A0-9AD2-274BC1B80B55}" sibTransId="{F78B4E24-4355-4149-B889-3FF92E1A7162}"/>
    <dgm:cxn modelId="{34A12FE7-33AC-4210-93A6-74B1E859545E}" type="presParOf" srcId="{5E94B42D-B34E-48E2-86D5-647B3E34D943}" destId="{26C72B91-3A3D-4C0D-B35E-6D6A7C27B6AB}" srcOrd="0" destOrd="0" presId="urn:microsoft.com/office/officeart/2005/8/layout/process2"/>
    <dgm:cxn modelId="{9F68CADD-C366-4952-B8BD-75599138AC6C}" type="presParOf" srcId="{5E94B42D-B34E-48E2-86D5-647B3E34D943}" destId="{80F4681D-CE01-43EB-94F0-3129200F4911}" srcOrd="1" destOrd="0" presId="urn:microsoft.com/office/officeart/2005/8/layout/process2"/>
    <dgm:cxn modelId="{B8EC9BB9-2193-4890-B47B-435C79668507}" type="presParOf" srcId="{80F4681D-CE01-43EB-94F0-3129200F4911}" destId="{24FB56BE-9C99-421B-A008-1B2B1704CD89}" srcOrd="0" destOrd="0" presId="urn:microsoft.com/office/officeart/2005/8/layout/process2"/>
    <dgm:cxn modelId="{516D1D69-0199-433B-9051-5898622EE928}" type="presParOf" srcId="{5E94B42D-B34E-48E2-86D5-647B3E34D943}" destId="{BB730468-2E27-4FC0-B711-F8A890B36E20}" srcOrd="2" destOrd="0" presId="urn:microsoft.com/office/officeart/2005/8/layout/process2"/>
    <dgm:cxn modelId="{A392C127-34E1-4BC9-B840-ED9F3B61B694}" type="presParOf" srcId="{5E94B42D-B34E-48E2-86D5-647B3E34D943}" destId="{60808051-E860-4FF4-8798-9ED5DBFBBCFC}" srcOrd="3" destOrd="0" presId="urn:microsoft.com/office/officeart/2005/8/layout/process2"/>
    <dgm:cxn modelId="{B34682DE-3EE4-4D39-8FF8-533BAF2769ED}" type="presParOf" srcId="{60808051-E860-4FF4-8798-9ED5DBFBBCFC}" destId="{1B262356-D21F-4CFE-A743-D760CDAD0665}" srcOrd="0" destOrd="0" presId="urn:microsoft.com/office/officeart/2005/8/layout/process2"/>
    <dgm:cxn modelId="{DCCECD57-BD18-4DD6-9AB1-735C034001DA}" type="presParOf" srcId="{5E94B42D-B34E-48E2-86D5-647B3E34D943}" destId="{80851B12-83F7-4BF8-82D5-A90EFEF81A2F}" srcOrd="4" destOrd="0" presId="urn:microsoft.com/office/officeart/2005/8/layout/process2"/>
    <dgm:cxn modelId="{C35D1E42-9EDB-4E5E-8555-74C33114E247}" type="presParOf" srcId="{5E94B42D-B34E-48E2-86D5-647B3E34D943}" destId="{76929B95-AD4B-44E7-B23D-A72FB674CE48}" srcOrd="5" destOrd="0" presId="urn:microsoft.com/office/officeart/2005/8/layout/process2"/>
    <dgm:cxn modelId="{0E1A3C0B-C4D9-4DA0-86C3-B08463CE489E}" type="presParOf" srcId="{76929B95-AD4B-44E7-B23D-A72FB674CE48}" destId="{DA85F3CF-AF6C-48A0-AD50-1078F7EFAFD5}" srcOrd="0" destOrd="0" presId="urn:microsoft.com/office/officeart/2005/8/layout/process2"/>
    <dgm:cxn modelId="{9DFEAACE-00BA-4C77-A671-5BAB48A32580}" type="presParOf" srcId="{5E94B42D-B34E-48E2-86D5-647B3E34D943}" destId="{F0446576-30DB-4CF9-90EB-5CBDCD077DF4}" srcOrd="6" destOrd="0" presId="urn:microsoft.com/office/officeart/2005/8/layout/process2"/>
  </dgm:cxnLst>
  <dgm:bg/>
  <dgm:whole/>
  <dgm:extLst>
    <a:ext uri="http://schemas.microsoft.com/office/drawing/2008/diagram">
      <dsp:dataModelExt xmlns:dsp="http://schemas.microsoft.com/office/drawing/2008/diagram" relId="rId13"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2E1CBF52-26EE-43F6-801D-4AE3904E9160}" type="doc">
      <dgm:prSet loTypeId="urn:microsoft.com/office/officeart/2005/8/layout/venn1" loCatId="relationship" qsTypeId="urn:microsoft.com/office/officeart/2005/8/quickstyle/simple1" qsCatId="simple" csTypeId="urn:microsoft.com/office/officeart/2005/8/colors/accent1_2" csCatId="accent1" phldr="1"/>
      <dgm:spPr/>
    </dgm:pt>
    <dgm:pt modelId="{7D286EC9-E775-46D2-9993-561CB6BD2367}">
      <dgm:prSet phldrT="[Text]"/>
      <dgm:spPr>
        <a:solidFill>
          <a:srgbClr val="FF0000"/>
        </a:solidFill>
      </dgm:spPr>
      <dgm:t>
        <a:bodyPr/>
        <a:lstStyle/>
        <a:p>
          <a:r>
            <a:rPr lang="en-US" dirty="0"/>
            <a:t>Reputation</a:t>
          </a:r>
        </a:p>
      </dgm:t>
    </dgm:pt>
    <dgm:pt modelId="{1E2D6458-FD8D-47A7-B2C9-97F0E21F58A6}" type="parTrans" cxnId="{E5D6294B-3964-4F8B-A219-7ABEBA238C44}">
      <dgm:prSet/>
      <dgm:spPr/>
    </dgm:pt>
    <dgm:pt modelId="{E4CA5DD8-77DA-40C8-B524-5CEDB12EDEDA}" type="sibTrans" cxnId="{E5D6294B-3964-4F8B-A219-7ABEBA238C44}">
      <dgm:prSet/>
      <dgm:spPr/>
    </dgm:pt>
    <dgm:pt modelId="{F1A00A78-773C-454A-98CB-5408DE177B94}">
      <dgm:prSet phldrT="[Text]"/>
      <dgm:spPr>
        <a:solidFill>
          <a:srgbClr val="0070C0">
            <a:alpha val="50000"/>
          </a:srgbClr>
        </a:solidFill>
      </dgm:spPr>
      <dgm:t>
        <a:bodyPr/>
        <a:lstStyle/>
        <a:p>
          <a:r>
            <a:rPr lang="en-US" dirty="0"/>
            <a:t>Performance</a:t>
          </a:r>
        </a:p>
      </dgm:t>
    </dgm:pt>
    <dgm:pt modelId="{18E70BD3-1334-4948-B57B-FEAE77EE8BE4}" type="parTrans" cxnId="{AB6B24BC-C7BC-4976-A026-B34C86CE5E95}">
      <dgm:prSet/>
      <dgm:spPr/>
    </dgm:pt>
    <dgm:pt modelId="{DEB37611-BB76-47D3-AF0E-DE88F4782413}" type="sibTrans" cxnId="{AB6B24BC-C7BC-4976-A026-B34C86CE5E95}">
      <dgm:prSet/>
      <dgm:spPr/>
    </dgm:pt>
    <dgm:pt modelId="{0CBD4E2C-FA6E-4627-8B85-9187A084B41A}">
      <dgm:prSet phldrT="[Text]"/>
      <dgm:spPr>
        <a:solidFill>
          <a:srgbClr val="00B050"/>
        </a:solidFill>
      </dgm:spPr>
      <dgm:t>
        <a:bodyPr/>
        <a:lstStyle/>
        <a:p>
          <a:r>
            <a:rPr lang="en-US" dirty="0"/>
            <a:t>Fiduciary</a:t>
          </a:r>
        </a:p>
      </dgm:t>
    </dgm:pt>
    <dgm:pt modelId="{954C21F7-82B4-446D-A56F-63AC41D66338}" type="parTrans" cxnId="{0C0B84C0-2C6B-4D08-8E3A-A08B1F7045BF}">
      <dgm:prSet/>
      <dgm:spPr/>
    </dgm:pt>
    <dgm:pt modelId="{1DA39041-DF60-4C11-9863-DC990B26609A}" type="sibTrans" cxnId="{0C0B84C0-2C6B-4D08-8E3A-A08B1F7045BF}">
      <dgm:prSet/>
      <dgm:spPr/>
    </dgm:pt>
    <dgm:pt modelId="{F7600ACE-CB7C-49F6-9B90-B675F9E97E95}" type="pres">
      <dgm:prSet presAssocID="{2E1CBF52-26EE-43F6-801D-4AE3904E9160}" presName="compositeShape" presStyleCnt="0">
        <dgm:presLayoutVars>
          <dgm:chMax val="7"/>
          <dgm:dir/>
          <dgm:resizeHandles val="exact"/>
        </dgm:presLayoutVars>
      </dgm:prSet>
      <dgm:spPr/>
    </dgm:pt>
    <dgm:pt modelId="{32838C51-101E-4F81-9C05-117D4D7EDA73}" type="pres">
      <dgm:prSet presAssocID="{7D286EC9-E775-46D2-9993-561CB6BD2367}" presName="circ1" presStyleLbl="vennNode1" presStyleIdx="0" presStyleCnt="3"/>
      <dgm:spPr/>
    </dgm:pt>
    <dgm:pt modelId="{6F0AC8FD-64A7-4789-84E2-28ACB2C9B8A9}" type="pres">
      <dgm:prSet presAssocID="{7D286EC9-E775-46D2-9993-561CB6BD2367}" presName="circ1Tx" presStyleLbl="revTx" presStyleIdx="0" presStyleCnt="0">
        <dgm:presLayoutVars>
          <dgm:chMax val="0"/>
          <dgm:chPref val="0"/>
          <dgm:bulletEnabled val="1"/>
        </dgm:presLayoutVars>
      </dgm:prSet>
      <dgm:spPr/>
    </dgm:pt>
    <dgm:pt modelId="{9CA544BA-4347-47C2-952A-2CBAFD7B6249}" type="pres">
      <dgm:prSet presAssocID="{F1A00A78-773C-454A-98CB-5408DE177B94}" presName="circ2" presStyleLbl="vennNode1" presStyleIdx="1" presStyleCnt="3"/>
      <dgm:spPr/>
    </dgm:pt>
    <dgm:pt modelId="{908D0A55-EC63-40A8-A707-58559F3CFD43}" type="pres">
      <dgm:prSet presAssocID="{F1A00A78-773C-454A-98CB-5408DE177B94}" presName="circ2Tx" presStyleLbl="revTx" presStyleIdx="0" presStyleCnt="0">
        <dgm:presLayoutVars>
          <dgm:chMax val="0"/>
          <dgm:chPref val="0"/>
          <dgm:bulletEnabled val="1"/>
        </dgm:presLayoutVars>
      </dgm:prSet>
      <dgm:spPr/>
    </dgm:pt>
    <dgm:pt modelId="{C0CE0E84-E2A3-4D95-8CA3-B1829247C7DD}" type="pres">
      <dgm:prSet presAssocID="{0CBD4E2C-FA6E-4627-8B85-9187A084B41A}" presName="circ3" presStyleLbl="vennNode1" presStyleIdx="2" presStyleCnt="3"/>
      <dgm:spPr/>
    </dgm:pt>
    <dgm:pt modelId="{67AD5215-FD18-4656-8B39-8D0FAD737ACD}" type="pres">
      <dgm:prSet presAssocID="{0CBD4E2C-FA6E-4627-8B85-9187A084B41A}" presName="circ3Tx" presStyleLbl="revTx" presStyleIdx="0" presStyleCnt="0">
        <dgm:presLayoutVars>
          <dgm:chMax val="0"/>
          <dgm:chPref val="0"/>
          <dgm:bulletEnabled val="1"/>
        </dgm:presLayoutVars>
      </dgm:prSet>
      <dgm:spPr/>
    </dgm:pt>
  </dgm:ptLst>
  <dgm:cxnLst>
    <dgm:cxn modelId="{C8283706-00C3-4F4D-B792-7C0829D3B8CE}" type="presOf" srcId="{F1A00A78-773C-454A-98CB-5408DE177B94}" destId="{908D0A55-EC63-40A8-A707-58559F3CFD43}" srcOrd="1" destOrd="0" presId="urn:microsoft.com/office/officeart/2005/8/layout/venn1"/>
    <dgm:cxn modelId="{01C5BC5E-5F5A-435B-B64D-D291F4553660}" type="presOf" srcId="{7D286EC9-E775-46D2-9993-561CB6BD2367}" destId="{32838C51-101E-4F81-9C05-117D4D7EDA73}" srcOrd="0" destOrd="0" presId="urn:microsoft.com/office/officeart/2005/8/layout/venn1"/>
    <dgm:cxn modelId="{2719BA5F-5E82-435E-9709-0E09EDA42C30}" type="presOf" srcId="{0CBD4E2C-FA6E-4627-8B85-9187A084B41A}" destId="{C0CE0E84-E2A3-4D95-8CA3-B1829247C7DD}" srcOrd="0" destOrd="0" presId="urn:microsoft.com/office/officeart/2005/8/layout/venn1"/>
    <dgm:cxn modelId="{E5D6294B-3964-4F8B-A219-7ABEBA238C44}" srcId="{2E1CBF52-26EE-43F6-801D-4AE3904E9160}" destId="{7D286EC9-E775-46D2-9993-561CB6BD2367}" srcOrd="0" destOrd="0" parTransId="{1E2D6458-FD8D-47A7-B2C9-97F0E21F58A6}" sibTransId="{E4CA5DD8-77DA-40C8-B524-5CEDB12EDEDA}"/>
    <dgm:cxn modelId="{E89EFD6F-C9CF-4805-A98D-56955FCFF783}" type="presOf" srcId="{0CBD4E2C-FA6E-4627-8B85-9187A084B41A}" destId="{67AD5215-FD18-4656-8B39-8D0FAD737ACD}" srcOrd="1" destOrd="0" presId="urn:microsoft.com/office/officeart/2005/8/layout/venn1"/>
    <dgm:cxn modelId="{5A41B786-2E10-4323-ADC3-FCF9F069D2BD}" type="presOf" srcId="{2E1CBF52-26EE-43F6-801D-4AE3904E9160}" destId="{F7600ACE-CB7C-49F6-9B90-B675F9E97E95}" srcOrd="0" destOrd="0" presId="urn:microsoft.com/office/officeart/2005/8/layout/venn1"/>
    <dgm:cxn modelId="{F7CEA1BB-C374-4834-8460-F701486748C4}" type="presOf" srcId="{7D286EC9-E775-46D2-9993-561CB6BD2367}" destId="{6F0AC8FD-64A7-4789-84E2-28ACB2C9B8A9}" srcOrd="1" destOrd="0" presId="urn:microsoft.com/office/officeart/2005/8/layout/venn1"/>
    <dgm:cxn modelId="{AB6B24BC-C7BC-4976-A026-B34C86CE5E95}" srcId="{2E1CBF52-26EE-43F6-801D-4AE3904E9160}" destId="{F1A00A78-773C-454A-98CB-5408DE177B94}" srcOrd="1" destOrd="0" parTransId="{18E70BD3-1334-4948-B57B-FEAE77EE8BE4}" sibTransId="{DEB37611-BB76-47D3-AF0E-DE88F4782413}"/>
    <dgm:cxn modelId="{0C0B84C0-2C6B-4D08-8E3A-A08B1F7045BF}" srcId="{2E1CBF52-26EE-43F6-801D-4AE3904E9160}" destId="{0CBD4E2C-FA6E-4627-8B85-9187A084B41A}" srcOrd="2" destOrd="0" parTransId="{954C21F7-82B4-446D-A56F-63AC41D66338}" sibTransId="{1DA39041-DF60-4C11-9863-DC990B26609A}"/>
    <dgm:cxn modelId="{880356E2-182C-4009-8DE1-851C85CD2D13}" type="presOf" srcId="{F1A00A78-773C-454A-98CB-5408DE177B94}" destId="{9CA544BA-4347-47C2-952A-2CBAFD7B6249}" srcOrd="0" destOrd="0" presId="urn:microsoft.com/office/officeart/2005/8/layout/venn1"/>
    <dgm:cxn modelId="{B2EE8E19-9157-4E15-8C36-CDFC9715488F}" type="presParOf" srcId="{F7600ACE-CB7C-49F6-9B90-B675F9E97E95}" destId="{32838C51-101E-4F81-9C05-117D4D7EDA73}" srcOrd="0" destOrd="0" presId="urn:microsoft.com/office/officeart/2005/8/layout/venn1"/>
    <dgm:cxn modelId="{1D915CA1-E332-4F41-8EC6-E1422CC09F99}" type="presParOf" srcId="{F7600ACE-CB7C-49F6-9B90-B675F9E97E95}" destId="{6F0AC8FD-64A7-4789-84E2-28ACB2C9B8A9}" srcOrd="1" destOrd="0" presId="urn:microsoft.com/office/officeart/2005/8/layout/venn1"/>
    <dgm:cxn modelId="{F4535C7E-0D0A-43C4-994B-AAFAE1131627}" type="presParOf" srcId="{F7600ACE-CB7C-49F6-9B90-B675F9E97E95}" destId="{9CA544BA-4347-47C2-952A-2CBAFD7B6249}" srcOrd="2" destOrd="0" presId="urn:microsoft.com/office/officeart/2005/8/layout/venn1"/>
    <dgm:cxn modelId="{CA5C4680-0A50-4E1E-9322-F1A062AA3EAF}" type="presParOf" srcId="{F7600ACE-CB7C-49F6-9B90-B675F9E97E95}" destId="{908D0A55-EC63-40A8-A707-58559F3CFD43}" srcOrd="3" destOrd="0" presId="urn:microsoft.com/office/officeart/2005/8/layout/venn1"/>
    <dgm:cxn modelId="{03E80F57-C173-4B53-8F65-3BA8E0907285}" type="presParOf" srcId="{F7600ACE-CB7C-49F6-9B90-B675F9E97E95}" destId="{C0CE0E84-E2A3-4D95-8CA3-B1829247C7DD}" srcOrd="4" destOrd="0" presId="urn:microsoft.com/office/officeart/2005/8/layout/venn1"/>
    <dgm:cxn modelId="{9BE58F83-AE24-4043-84A4-7B4239CFFE3E}" type="presParOf" srcId="{F7600ACE-CB7C-49F6-9B90-B675F9E97E95}" destId="{67AD5215-FD18-4656-8B39-8D0FAD737ACD}" srcOrd="5" destOrd="0" presId="urn:microsoft.com/office/officeart/2005/8/layout/ven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A85B7467-249D-42F0-BB8E-1CBD3CA08182}" type="doc">
      <dgm:prSet loTypeId="urn:microsoft.com/office/officeart/2005/8/layout/default#1" loCatId="list" qsTypeId="urn:microsoft.com/office/officeart/2005/8/quickstyle/simple1" qsCatId="simple" csTypeId="urn:microsoft.com/office/officeart/2005/8/colors/accent1_2" csCatId="accent1" phldr="1"/>
      <dgm:spPr/>
      <dgm:t>
        <a:bodyPr/>
        <a:lstStyle/>
        <a:p>
          <a:endParaRPr lang="en-US"/>
        </a:p>
      </dgm:t>
    </dgm:pt>
    <dgm:pt modelId="{2ECEFA6A-8F17-49A7-BD2C-F55EE176D89A}">
      <dgm:prSet phldrT="[Text]"/>
      <dgm:spPr>
        <a:solidFill>
          <a:srgbClr val="FF0000"/>
        </a:solidFill>
      </dgm:spPr>
      <dgm:t>
        <a:bodyPr/>
        <a:lstStyle/>
        <a:p>
          <a:r>
            <a:rPr lang="en-US" dirty="0"/>
            <a:t>Excessive Commissions </a:t>
          </a:r>
        </a:p>
      </dgm:t>
    </dgm:pt>
    <dgm:pt modelId="{6EFC1432-CA2A-4EEE-8B81-888C600CFCF1}" type="parTrans" cxnId="{680767AC-3F32-4D78-80AB-85A28E2FADB6}">
      <dgm:prSet/>
      <dgm:spPr/>
      <dgm:t>
        <a:bodyPr/>
        <a:lstStyle/>
        <a:p>
          <a:endParaRPr lang="en-US"/>
        </a:p>
      </dgm:t>
    </dgm:pt>
    <dgm:pt modelId="{64DA0928-ABF3-4AC9-94FF-4FD6B5E0ACB1}" type="sibTrans" cxnId="{680767AC-3F32-4D78-80AB-85A28E2FADB6}">
      <dgm:prSet/>
      <dgm:spPr/>
      <dgm:t>
        <a:bodyPr/>
        <a:lstStyle/>
        <a:p>
          <a:endParaRPr lang="en-US"/>
        </a:p>
      </dgm:t>
    </dgm:pt>
    <dgm:pt modelId="{E1E4FC94-2D7B-48DC-8173-1A6CE687563E}">
      <dgm:prSet phldrT="[Text]"/>
      <dgm:spPr>
        <a:solidFill>
          <a:srgbClr val="FF0000"/>
        </a:solidFill>
      </dgm:spPr>
      <dgm:t>
        <a:bodyPr/>
        <a:lstStyle/>
        <a:p>
          <a:r>
            <a:rPr lang="en-US" dirty="0"/>
            <a:t>Unreasonably large discounts</a:t>
          </a:r>
        </a:p>
      </dgm:t>
    </dgm:pt>
    <dgm:pt modelId="{EB09D749-09C3-4C9C-8CBC-601BF37A65B0}" type="parTrans" cxnId="{5538A68F-5293-4F6E-B5BF-DF1B0C641833}">
      <dgm:prSet/>
      <dgm:spPr/>
      <dgm:t>
        <a:bodyPr/>
        <a:lstStyle/>
        <a:p>
          <a:endParaRPr lang="en-US"/>
        </a:p>
      </dgm:t>
    </dgm:pt>
    <dgm:pt modelId="{53457FAA-BA5C-4E2E-B695-95B7FEF2DCB7}" type="sibTrans" cxnId="{5538A68F-5293-4F6E-B5BF-DF1B0C641833}">
      <dgm:prSet/>
      <dgm:spPr/>
      <dgm:t>
        <a:bodyPr/>
        <a:lstStyle/>
        <a:p>
          <a:endParaRPr lang="en-US"/>
        </a:p>
      </dgm:t>
    </dgm:pt>
    <dgm:pt modelId="{CA2A3D1B-A305-4C87-AA95-4D271239F331}">
      <dgm:prSet phldrT="[Text]"/>
      <dgm:spPr>
        <a:solidFill>
          <a:srgbClr val="FF0000"/>
        </a:solidFill>
      </dgm:spPr>
      <dgm:t>
        <a:bodyPr/>
        <a:lstStyle/>
        <a:p>
          <a:r>
            <a:rPr lang="en-US" dirty="0"/>
            <a:t>Vague Consulting Agreements</a:t>
          </a:r>
        </a:p>
      </dgm:t>
    </dgm:pt>
    <dgm:pt modelId="{9C10910A-763B-45F8-80A9-D927CA06D111}" type="parTrans" cxnId="{AEE490DC-FE14-4FEE-B49A-E24C31E3B153}">
      <dgm:prSet/>
      <dgm:spPr/>
      <dgm:t>
        <a:bodyPr/>
        <a:lstStyle/>
        <a:p>
          <a:endParaRPr lang="en-US"/>
        </a:p>
      </dgm:t>
    </dgm:pt>
    <dgm:pt modelId="{7A72E9FF-3766-49F0-BEA8-3E6E0F584561}" type="sibTrans" cxnId="{AEE490DC-FE14-4FEE-B49A-E24C31E3B153}">
      <dgm:prSet/>
      <dgm:spPr/>
      <dgm:t>
        <a:bodyPr/>
        <a:lstStyle/>
        <a:p>
          <a:endParaRPr lang="en-US"/>
        </a:p>
      </dgm:t>
    </dgm:pt>
    <dgm:pt modelId="{9D283E92-A666-4AC2-BFDC-815F32464E7E}">
      <dgm:prSet phldrT="[Text]"/>
      <dgm:spPr>
        <a:solidFill>
          <a:srgbClr val="FF0000"/>
        </a:solidFill>
      </dgm:spPr>
      <dgm:t>
        <a:bodyPr/>
        <a:lstStyle/>
        <a:p>
          <a:r>
            <a:rPr lang="en-US" dirty="0"/>
            <a:t>Consultant in Different Line of Business</a:t>
          </a:r>
        </a:p>
      </dgm:t>
    </dgm:pt>
    <dgm:pt modelId="{68071C69-D64A-4CD0-AFF3-3A2A54840BC1}" type="parTrans" cxnId="{07823D65-A4AF-4ED7-B850-4B00A00A381A}">
      <dgm:prSet/>
      <dgm:spPr/>
      <dgm:t>
        <a:bodyPr/>
        <a:lstStyle/>
        <a:p>
          <a:endParaRPr lang="en-US"/>
        </a:p>
      </dgm:t>
    </dgm:pt>
    <dgm:pt modelId="{9C82E6E8-9172-4094-87CE-22190600C83F}" type="sibTrans" cxnId="{07823D65-A4AF-4ED7-B850-4B00A00A381A}">
      <dgm:prSet/>
      <dgm:spPr/>
      <dgm:t>
        <a:bodyPr/>
        <a:lstStyle/>
        <a:p>
          <a:endParaRPr lang="en-US"/>
        </a:p>
      </dgm:t>
    </dgm:pt>
    <dgm:pt modelId="{35B37DE5-A077-4C23-ADC0-D4030425EF37}">
      <dgm:prSet phldrT="[Text]"/>
      <dgm:spPr>
        <a:solidFill>
          <a:srgbClr val="FF0000"/>
        </a:solidFill>
      </dgm:spPr>
      <dgm:t>
        <a:bodyPr/>
        <a:lstStyle/>
        <a:p>
          <a:r>
            <a:rPr lang="en-US" dirty="0"/>
            <a:t>Consultant Related to Official</a:t>
          </a:r>
        </a:p>
      </dgm:t>
    </dgm:pt>
    <dgm:pt modelId="{690B579A-B451-475B-A8CC-E206904AE937}" type="parTrans" cxnId="{5F55506C-B224-4BD3-AC5E-94C7871D921A}">
      <dgm:prSet/>
      <dgm:spPr/>
      <dgm:t>
        <a:bodyPr/>
        <a:lstStyle/>
        <a:p>
          <a:endParaRPr lang="en-US"/>
        </a:p>
      </dgm:t>
    </dgm:pt>
    <dgm:pt modelId="{A14A7C40-A534-4372-B36B-A6FC73E752C7}" type="sibTrans" cxnId="{5F55506C-B224-4BD3-AC5E-94C7871D921A}">
      <dgm:prSet/>
      <dgm:spPr/>
      <dgm:t>
        <a:bodyPr/>
        <a:lstStyle/>
        <a:p>
          <a:endParaRPr lang="en-US"/>
        </a:p>
      </dgm:t>
    </dgm:pt>
    <dgm:pt modelId="{718F62E5-B797-435E-A53E-18CED33AD161}">
      <dgm:prSet/>
      <dgm:spPr>
        <a:solidFill>
          <a:srgbClr val="FF0000"/>
        </a:solidFill>
      </dgm:spPr>
      <dgm:t>
        <a:bodyPr/>
        <a:lstStyle/>
        <a:p>
          <a:r>
            <a:rPr lang="en-US" dirty="0"/>
            <a:t>Third Party Added at Official Insistence</a:t>
          </a:r>
        </a:p>
      </dgm:t>
    </dgm:pt>
    <dgm:pt modelId="{41BEF7AD-4545-49C3-BD2C-26ACC3F2CCF7}" type="parTrans" cxnId="{35447D8C-FE36-4017-BF85-EC3A72A4B3BC}">
      <dgm:prSet/>
      <dgm:spPr/>
      <dgm:t>
        <a:bodyPr/>
        <a:lstStyle/>
        <a:p>
          <a:endParaRPr lang="en-US"/>
        </a:p>
      </dgm:t>
    </dgm:pt>
    <dgm:pt modelId="{4BCAFB29-6CAE-4BF4-9446-353BD35F0BB6}" type="sibTrans" cxnId="{35447D8C-FE36-4017-BF85-EC3A72A4B3BC}">
      <dgm:prSet/>
      <dgm:spPr/>
      <dgm:t>
        <a:bodyPr/>
        <a:lstStyle/>
        <a:p>
          <a:endParaRPr lang="en-US"/>
        </a:p>
      </dgm:t>
    </dgm:pt>
    <dgm:pt modelId="{AA7D3B88-3B2C-46E3-A55E-ED8927CE10FC}">
      <dgm:prSet/>
      <dgm:spPr>
        <a:solidFill>
          <a:srgbClr val="FF0000"/>
        </a:solidFill>
      </dgm:spPr>
      <dgm:t>
        <a:bodyPr/>
        <a:lstStyle/>
        <a:p>
          <a:r>
            <a:rPr lang="en-US" dirty="0"/>
            <a:t>Third Party Is Mere Shell Company</a:t>
          </a:r>
        </a:p>
      </dgm:t>
    </dgm:pt>
    <dgm:pt modelId="{EDA291D5-9CC3-40FB-B59B-C223D32B2B66}" type="parTrans" cxnId="{40530F78-156C-4A9D-97F6-7953234A57A8}">
      <dgm:prSet/>
      <dgm:spPr/>
      <dgm:t>
        <a:bodyPr/>
        <a:lstStyle/>
        <a:p>
          <a:endParaRPr lang="en-US"/>
        </a:p>
      </dgm:t>
    </dgm:pt>
    <dgm:pt modelId="{4CB74507-47F9-43D6-B2A6-FFC21859BCC5}" type="sibTrans" cxnId="{40530F78-156C-4A9D-97F6-7953234A57A8}">
      <dgm:prSet/>
      <dgm:spPr/>
      <dgm:t>
        <a:bodyPr/>
        <a:lstStyle/>
        <a:p>
          <a:endParaRPr lang="en-US"/>
        </a:p>
      </dgm:t>
    </dgm:pt>
    <dgm:pt modelId="{95CCF87D-E834-443F-ABC8-604189596023}">
      <dgm:prSet/>
      <dgm:spPr>
        <a:solidFill>
          <a:srgbClr val="FF0000"/>
        </a:solidFill>
      </dgm:spPr>
      <dgm:t>
        <a:bodyPr/>
        <a:lstStyle/>
        <a:p>
          <a:r>
            <a:rPr lang="en-US" dirty="0"/>
            <a:t>Third Party Requests Payment to Offshore Accounts</a:t>
          </a:r>
        </a:p>
      </dgm:t>
    </dgm:pt>
    <dgm:pt modelId="{221ED43B-F0DA-4B09-96E7-69D43FD3307C}" type="parTrans" cxnId="{15574F28-CE3F-4243-BC96-AD6B467318C5}">
      <dgm:prSet/>
      <dgm:spPr/>
      <dgm:t>
        <a:bodyPr/>
        <a:lstStyle/>
        <a:p>
          <a:endParaRPr lang="en-US"/>
        </a:p>
      </dgm:t>
    </dgm:pt>
    <dgm:pt modelId="{2C1E774F-B34E-4C42-BE39-2E64380654E8}" type="sibTrans" cxnId="{15574F28-CE3F-4243-BC96-AD6B467318C5}">
      <dgm:prSet/>
      <dgm:spPr/>
      <dgm:t>
        <a:bodyPr/>
        <a:lstStyle/>
        <a:p>
          <a:endParaRPr lang="en-US"/>
        </a:p>
      </dgm:t>
    </dgm:pt>
    <dgm:pt modelId="{D5AFE6F5-AE48-405C-BFCD-A9A809CFC887}" type="pres">
      <dgm:prSet presAssocID="{A85B7467-249D-42F0-BB8E-1CBD3CA08182}" presName="diagram" presStyleCnt="0">
        <dgm:presLayoutVars>
          <dgm:dir/>
          <dgm:resizeHandles val="exact"/>
        </dgm:presLayoutVars>
      </dgm:prSet>
      <dgm:spPr/>
    </dgm:pt>
    <dgm:pt modelId="{B2E6A9A7-B13D-4F92-9614-CF8CD4E9E23D}" type="pres">
      <dgm:prSet presAssocID="{2ECEFA6A-8F17-49A7-BD2C-F55EE176D89A}" presName="node" presStyleLbl="node1" presStyleIdx="0" presStyleCnt="8">
        <dgm:presLayoutVars>
          <dgm:bulletEnabled val="1"/>
        </dgm:presLayoutVars>
      </dgm:prSet>
      <dgm:spPr/>
    </dgm:pt>
    <dgm:pt modelId="{A46B2CF8-AFA9-472E-A2A9-C2D1A6850F1F}" type="pres">
      <dgm:prSet presAssocID="{64DA0928-ABF3-4AC9-94FF-4FD6B5E0ACB1}" presName="sibTrans" presStyleCnt="0"/>
      <dgm:spPr/>
    </dgm:pt>
    <dgm:pt modelId="{63D55996-2EBD-4195-A191-13BC1CB689CB}" type="pres">
      <dgm:prSet presAssocID="{E1E4FC94-2D7B-48DC-8173-1A6CE687563E}" presName="node" presStyleLbl="node1" presStyleIdx="1" presStyleCnt="8">
        <dgm:presLayoutVars>
          <dgm:bulletEnabled val="1"/>
        </dgm:presLayoutVars>
      </dgm:prSet>
      <dgm:spPr/>
    </dgm:pt>
    <dgm:pt modelId="{6B5EA1CB-07AC-4C53-AB0F-7EA64D3143BD}" type="pres">
      <dgm:prSet presAssocID="{53457FAA-BA5C-4E2E-B695-95B7FEF2DCB7}" presName="sibTrans" presStyleCnt="0"/>
      <dgm:spPr/>
    </dgm:pt>
    <dgm:pt modelId="{0664CA46-67BE-47A0-AE9B-22346B8E4915}" type="pres">
      <dgm:prSet presAssocID="{CA2A3D1B-A305-4C87-AA95-4D271239F331}" presName="node" presStyleLbl="node1" presStyleIdx="2" presStyleCnt="8">
        <dgm:presLayoutVars>
          <dgm:bulletEnabled val="1"/>
        </dgm:presLayoutVars>
      </dgm:prSet>
      <dgm:spPr/>
    </dgm:pt>
    <dgm:pt modelId="{018B7C8E-83A0-4F8C-BA2D-F190CA0BDF17}" type="pres">
      <dgm:prSet presAssocID="{7A72E9FF-3766-49F0-BEA8-3E6E0F584561}" presName="sibTrans" presStyleCnt="0"/>
      <dgm:spPr/>
    </dgm:pt>
    <dgm:pt modelId="{D910B832-5BC3-4567-A296-3747EFDB6802}" type="pres">
      <dgm:prSet presAssocID="{9D283E92-A666-4AC2-BFDC-815F32464E7E}" presName="node" presStyleLbl="node1" presStyleIdx="3" presStyleCnt="8">
        <dgm:presLayoutVars>
          <dgm:bulletEnabled val="1"/>
        </dgm:presLayoutVars>
      </dgm:prSet>
      <dgm:spPr/>
    </dgm:pt>
    <dgm:pt modelId="{A21C9716-D1AF-46A7-A1C0-452C61553943}" type="pres">
      <dgm:prSet presAssocID="{9C82E6E8-9172-4094-87CE-22190600C83F}" presName="sibTrans" presStyleCnt="0"/>
      <dgm:spPr/>
    </dgm:pt>
    <dgm:pt modelId="{B7EDBC2E-8944-44E6-B4EC-A72160E3D9E7}" type="pres">
      <dgm:prSet presAssocID="{35B37DE5-A077-4C23-ADC0-D4030425EF37}" presName="node" presStyleLbl="node1" presStyleIdx="4" presStyleCnt="8">
        <dgm:presLayoutVars>
          <dgm:bulletEnabled val="1"/>
        </dgm:presLayoutVars>
      </dgm:prSet>
      <dgm:spPr/>
    </dgm:pt>
    <dgm:pt modelId="{EBC43208-031E-40DF-B37A-F46CB830C9E9}" type="pres">
      <dgm:prSet presAssocID="{A14A7C40-A534-4372-B36B-A6FC73E752C7}" presName="sibTrans" presStyleCnt="0"/>
      <dgm:spPr/>
    </dgm:pt>
    <dgm:pt modelId="{43726864-B8AC-46D3-9523-A78FC147B60D}" type="pres">
      <dgm:prSet presAssocID="{718F62E5-B797-435E-A53E-18CED33AD161}" presName="node" presStyleLbl="node1" presStyleIdx="5" presStyleCnt="8">
        <dgm:presLayoutVars>
          <dgm:bulletEnabled val="1"/>
        </dgm:presLayoutVars>
      </dgm:prSet>
      <dgm:spPr/>
    </dgm:pt>
    <dgm:pt modelId="{BC28A151-E3D3-44D3-B31D-1B9E9B9404B7}" type="pres">
      <dgm:prSet presAssocID="{4BCAFB29-6CAE-4BF4-9446-353BD35F0BB6}" presName="sibTrans" presStyleCnt="0"/>
      <dgm:spPr/>
    </dgm:pt>
    <dgm:pt modelId="{90C960EA-57E6-4BD3-B0D1-B4F5C53346A8}" type="pres">
      <dgm:prSet presAssocID="{AA7D3B88-3B2C-46E3-A55E-ED8927CE10FC}" presName="node" presStyleLbl="node1" presStyleIdx="6" presStyleCnt="8">
        <dgm:presLayoutVars>
          <dgm:bulletEnabled val="1"/>
        </dgm:presLayoutVars>
      </dgm:prSet>
      <dgm:spPr/>
    </dgm:pt>
    <dgm:pt modelId="{4FA83DBA-C82A-4CCC-9F18-218B78AEFA21}" type="pres">
      <dgm:prSet presAssocID="{4CB74507-47F9-43D6-B2A6-FFC21859BCC5}" presName="sibTrans" presStyleCnt="0"/>
      <dgm:spPr/>
    </dgm:pt>
    <dgm:pt modelId="{0C44EF3F-AC37-427F-AB10-8F6D2538F0AD}" type="pres">
      <dgm:prSet presAssocID="{95CCF87D-E834-443F-ABC8-604189596023}" presName="node" presStyleLbl="node1" presStyleIdx="7" presStyleCnt="8">
        <dgm:presLayoutVars>
          <dgm:bulletEnabled val="1"/>
        </dgm:presLayoutVars>
      </dgm:prSet>
      <dgm:spPr/>
    </dgm:pt>
  </dgm:ptLst>
  <dgm:cxnLst>
    <dgm:cxn modelId="{A9BC351E-294B-44DB-83F6-8EA7896F24A1}" type="presOf" srcId="{718F62E5-B797-435E-A53E-18CED33AD161}" destId="{43726864-B8AC-46D3-9523-A78FC147B60D}" srcOrd="0" destOrd="0" presId="urn:microsoft.com/office/officeart/2005/8/layout/default#1"/>
    <dgm:cxn modelId="{0DB7DE27-D964-4FD7-976B-ECBBFEEEF4B9}" type="presOf" srcId="{2ECEFA6A-8F17-49A7-BD2C-F55EE176D89A}" destId="{B2E6A9A7-B13D-4F92-9614-CF8CD4E9E23D}" srcOrd="0" destOrd="0" presId="urn:microsoft.com/office/officeart/2005/8/layout/default#1"/>
    <dgm:cxn modelId="{15574F28-CE3F-4243-BC96-AD6B467318C5}" srcId="{A85B7467-249D-42F0-BB8E-1CBD3CA08182}" destId="{95CCF87D-E834-443F-ABC8-604189596023}" srcOrd="7" destOrd="0" parTransId="{221ED43B-F0DA-4B09-96E7-69D43FD3307C}" sibTransId="{2C1E774F-B34E-4C42-BE39-2E64380654E8}"/>
    <dgm:cxn modelId="{2C42623D-2649-4026-863A-553BA8193E08}" type="presOf" srcId="{AA7D3B88-3B2C-46E3-A55E-ED8927CE10FC}" destId="{90C960EA-57E6-4BD3-B0D1-B4F5C53346A8}" srcOrd="0" destOrd="0" presId="urn:microsoft.com/office/officeart/2005/8/layout/default#1"/>
    <dgm:cxn modelId="{DFBFA843-0141-42A1-B9F2-A5C7A759637B}" type="presOf" srcId="{A85B7467-249D-42F0-BB8E-1CBD3CA08182}" destId="{D5AFE6F5-AE48-405C-BFCD-A9A809CFC887}" srcOrd="0" destOrd="0" presId="urn:microsoft.com/office/officeart/2005/8/layout/default#1"/>
    <dgm:cxn modelId="{07823D65-A4AF-4ED7-B850-4B00A00A381A}" srcId="{A85B7467-249D-42F0-BB8E-1CBD3CA08182}" destId="{9D283E92-A666-4AC2-BFDC-815F32464E7E}" srcOrd="3" destOrd="0" parTransId="{68071C69-D64A-4CD0-AFF3-3A2A54840BC1}" sibTransId="{9C82E6E8-9172-4094-87CE-22190600C83F}"/>
    <dgm:cxn modelId="{5F55506C-B224-4BD3-AC5E-94C7871D921A}" srcId="{A85B7467-249D-42F0-BB8E-1CBD3CA08182}" destId="{35B37DE5-A077-4C23-ADC0-D4030425EF37}" srcOrd="4" destOrd="0" parTransId="{690B579A-B451-475B-A8CC-E206904AE937}" sibTransId="{A14A7C40-A534-4372-B36B-A6FC73E752C7}"/>
    <dgm:cxn modelId="{40530F78-156C-4A9D-97F6-7953234A57A8}" srcId="{A85B7467-249D-42F0-BB8E-1CBD3CA08182}" destId="{AA7D3B88-3B2C-46E3-A55E-ED8927CE10FC}" srcOrd="6" destOrd="0" parTransId="{EDA291D5-9CC3-40FB-B59B-C223D32B2B66}" sibTransId="{4CB74507-47F9-43D6-B2A6-FFC21859BCC5}"/>
    <dgm:cxn modelId="{FACA777E-093F-450A-B3CF-08083C121431}" type="presOf" srcId="{E1E4FC94-2D7B-48DC-8173-1A6CE687563E}" destId="{63D55996-2EBD-4195-A191-13BC1CB689CB}" srcOrd="0" destOrd="0" presId="urn:microsoft.com/office/officeart/2005/8/layout/default#1"/>
    <dgm:cxn modelId="{35447D8C-FE36-4017-BF85-EC3A72A4B3BC}" srcId="{A85B7467-249D-42F0-BB8E-1CBD3CA08182}" destId="{718F62E5-B797-435E-A53E-18CED33AD161}" srcOrd="5" destOrd="0" parTransId="{41BEF7AD-4545-49C3-BD2C-26ACC3F2CCF7}" sibTransId="{4BCAFB29-6CAE-4BF4-9446-353BD35F0BB6}"/>
    <dgm:cxn modelId="{5538A68F-5293-4F6E-B5BF-DF1B0C641833}" srcId="{A85B7467-249D-42F0-BB8E-1CBD3CA08182}" destId="{E1E4FC94-2D7B-48DC-8173-1A6CE687563E}" srcOrd="1" destOrd="0" parTransId="{EB09D749-09C3-4C9C-8CBC-601BF37A65B0}" sibTransId="{53457FAA-BA5C-4E2E-B695-95B7FEF2DCB7}"/>
    <dgm:cxn modelId="{F0E3AD9A-4B65-4F56-98F8-0A3E6B39E146}" type="presOf" srcId="{CA2A3D1B-A305-4C87-AA95-4D271239F331}" destId="{0664CA46-67BE-47A0-AE9B-22346B8E4915}" srcOrd="0" destOrd="0" presId="urn:microsoft.com/office/officeart/2005/8/layout/default#1"/>
    <dgm:cxn modelId="{680767AC-3F32-4D78-80AB-85A28E2FADB6}" srcId="{A85B7467-249D-42F0-BB8E-1CBD3CA08182}" destId="{2ECEFA6A-8F17-49A7-BD2C-F55EE176D89A}" srcOrd="0" destOrd="0" parTransId="{6EFC1432-CA2A-4EEE-8B81-888C600CFCF1}" sibTransId="{64DA0928-ABF3-4AC9-94FF-4FD6B5E0ACB1}"/>
    <dgm:cxn modelId="{B0DE33BA-4A7E-463B-A7AE-E94A4EA801B1}" type="presOf" srcId="{9D283E92-A666-4AC2-BFDC-815F32464E7E}" destId="{D910B832-5BC3-4567-A296-3747EFDB6802}" srcOrd="0" destOrd="0" presId="urn:microsoft.com/office/officeart/2005/8/layout/default#1"/>
    <dgm:cxn modelId="{026332C6-D288-4E58-847C-611BD46FC8F9}" type="presOf" srcId="{95CCF87D-E834-443F-ABC8-604189596023}" destId="{0C44EF3F-AC37-427F-AB10-8F6D2538F0AD}" srcOrd="0" destOrd="0" presId="urn:microsoft.com/office/officeart/2005/8/layout/default#1"/>
    <dgm:cxn modelId="{AEE490DC-FE14-4FEE-B49A-E24C31E3B153}" srcId="{A85B7467-249D-42F0-BB8E-1CBD3CA08182}" destId="{CA2A3D1B-A305-4C87-AA95-4D271239F331}" srcOrd="2" destOrd="0" parTransId="{9C10910A-763B-45F8-80A9-D927CA06D111}" sibTransId="{7A72E9FF-3766-49F0-BEA8-3E6E0F584561}"/>
    <dgm:cxn modelId="{CD2B10E1-5F13-4FE3-888F-3AFF1D33D864}" type="presOf" srcId="{35B37DE5-A077-4C23-ADC0-D4030425EF37}" destId="{B7EDBC2E-8944-44E6-B4EC-A72160E3D9E7}" srcOrd="0" destOrd="0" presId="urn:microsoft.com/office/officeart/2005/8/layout/default#1"/>
    <dgm:cxn modelId="{B44EB764-07FB-4260-BDD0-4963582A71E5}" type="presParOf" srcId="{D5AFE6F5-AE48-405C-BFCD-A9A809CFC887}" destId="{B2E6A9A7-B13D-4F92-9614-CF8CD4E9E23D}" srcOrd="0" destOrd="0" presId="urn:microsoft.com/office/officeart/2005/8/layout/default#1"/>
    <dgm:cxn modelId="{582CE853-0C51-494E-A05C-99AAD2B209B6}" type="presParOf" srcId="{D5AFE6F5-AE48-405C-BFCD-A9A809CFC887}" destId="{A46B2CF8-AFA9-472E-A2A9-C2D1A6850F1F}" srcOrd="1" destOrd="0" presId="urn:microsoft.com/office/officeart/2005/8/layout/default#1"/>
    <dgm:cxn modelId="{019A3EF5-4CD9-4959-A43D-27DCF0591A51}" type="presParOf" srcId="{D5AFE6F5-AE48-405C-BFCD-A9A809CFC887}" destId="{63D55996-2EBD-4195-A191-13BC1CB689CB}" srcOrd="2" destOrd="0" presId="urn:microsoft.com/office/officeart/2005/8/layout/default#1"/>
    <dgm:cxn modelId="{6A6E1F0E-74D6-43E6-975F-3F7ECB8265CA}" type="presParOf" srcId="{D5AFE6F5-AE48-405C-BFCD-A9A809CFC887}" destId="{6B5EA1CB-07AC-4C53-AB0F-7EA64D3143BD}" srcOrd="3" destOrd="0" presId="urn:microsoft.com/office/officeart/2005/8/layout/default#1"/>
    <dgm:cxn modelId="{2EF80855-52A3-4B1E-847B-3C455391D2FA}" type="presParOf" srcId="{D5AFE6F5-AE48-405C-BFCD-A9A809CFC887}" destId="{0664CA46-67BE-47A0-AE9B-22346B8E4915}" srcOrd="4" destOrd="0" presId="urn:microsoft.com/office/officeart/2005/8/layout/default#1"/>
    <dgm:cxn modelId="{ADEB6DEA-E7F2-4EC2-BD9E-23B12596889F}" type="presParOf" srcId="{D5AFE6F5-AE48-405C-BFCD-A9A809CFC887}" destId="{018B7C8E-83A0-4F8C-BA2D-F190CA0BDF17}" srcOrd="5" destOrd="0" presId="urn:microsoft.com/office/officeart/2005/8/layout/default#1"/>
    <dgm:cxn modelId="{904DC2C1-014A-4F15-97B0-B8FE1042EC98}" type="presParOf" srcId="{D5AFE6F5-AE48-405C-BFCD-A9A809CFC887}" destId="{D910B832-5BC3-4567-A296-3747EFDB6802}" srcOrd="6" destOrd="0" presId="urn:microsoft.com/office/officeart/2005/8/layout/default#1"/>
    <dgm:cxn modelId="{7128E12B-E872-41B3-A852-422BC92A3B43}" type="presParOf" srcId="{D5AFE6F5-AE48-405C-BFCD-A9A809CFC887}" destId="{A21C9716-D1AF-46A7-A1C0-452C61553943}" srcOrd="7" destOrd="0" presId="urn:microsoft.com/office/officeart/2005/8/layout/default#1"/>
    <dgm:cxn modelId="{F5066829-6F75-4D23-B3B8-300878C8589D}" type="presParOf" srcId="{D5AFE6F5-AE48-405C-BFCD-A9A809CFC887}" destId="{B7EDBC2E-8944-44E6-B4EC-A72160E3D9E7}" srcOrd="8" destOrd="0" presId="urn:microsoft.com/office/officeart/2005/8/layout/default#1"/>
    <dgm:cxn modelId="{A9D054DA-5251-42B9-9C8D-972B1FEAC3A2}" type="presParOf" srcId="{D5AFE6F5-AE48-405C-BFCD-A9A809CFC887}" destId="{EBC43208-031E-40DF-B37A-F46CB830C9E9}" srcOrd="9" destOrd="0" presId="urn:microsoft.com/office/officeart/2005/8/layout/default#1"/>
    <dgm:cxn modelId="{17E2F63D-0135-4F71-96DD-7824CD359EDF}" type="presParOf" srcId="{D5AFE6F5-AE48-405C-BFCD-A9A809CFC887}" destId="{43726864-B8AC-46D3-9523-A78FC147B60D}" srcOrd="10" destOrd="0" presId="urn:microsoft.com/office/officeart/2005/8/layout/default#1"/>
    <dgm:cxn modelId="{9C029F90-9266-47B1-A240-20475F07E3CB}" type="presParOf" srcId="{D5AFE6F5-AE48-405C-BFCD-A9A809CFC887}" destId="{BC28A151-E3D3-44D3-B31D-1B9E9B9404B7}" srcOrd="11" destOrd="0" presId="urn:microsoft.com/office/officeart/2005/8/layout/default#1"/>
    <dgm:cxn modelId="{54AC9954-AA7F-44A5-909C-CA4A9BF6372B}" type="presParOf" srcId="{D5AFE6F5-AE48-405C-BFCD-A9A809CFC887}" destId="{90C960EA-57E6-4BD3-B0D1-B4F5C53346A8}" srcOrd="12" destOrd="0" presId="urn:microsoft.com/office/officeart/2005/8/layout/default#1"/>
    <dgm:cxn modelId="{6D5393EC-4A88-43A0-83B5-57654980CF69}" type="presParOf" srcId="{D5AFE6F5-AE48-405C-BFCD-A9A809CFC887}" destId="{4FA83DBA-C82A-4CCC-9F18-218B78AEFA21}" srcOrd="13" destOrd="0" presId="urn:microsoft.com/office/officeart/2005/8/layout/default#1"/>
    <dgm:cxn modelId="{A7F3E879-0BB3-498C-A620-7E193A49183C}" type="presParOf" srcId="{D5AFE6F5-AE48-405C-BFCD-A9A809CFC887}" destId="{0C44EF3F-AC37-427F-AB10-8F6D2538F0AD}" srcOrd="14" destOrd="0" presId="urn:microsoft.com/office/officeart/2005/8/layout/default#1"/>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F260C7A-102A-4DC6-A668-8B5345BCB0D5}">
      <dsp:nvSpPr>
        <dsp:cNvPr id="0" name=""/>
        <dsp:cNvSpPr/>
      </dsp:nvSpPr>
      <dsp:spPr>
        <a:xfrm rot="16200000">
          <a:off x="-1517187" y="2596183"/>
          <a:ext cx="3685032" cy="47647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420225" bIns="0" numCol="1" spcCol="1270" anchor="t" anchorCtr="0">
          <a:noAutofit/>
        </a:bodyPr>
        <a:lstStyle/>
        <a:p>
          <a:pPr marL="0" lvl="0" indent="0" algn="r" defTabSz="1555750">
            <a:lnSpc>
              <a:spcPct val="90000"/>
            </a:lnSpc>
            <a:spcBef>
              <a:spcPct val="0"/>
            </a:spcBef>
            <a:spcAft>
              <a:spcPct val="35000"/>
            </a:spcAft>
            <a:buNone/>
          </a:pPr>
          <a:endParaRPr lang="en-US" sz="3500" kern="1200" dirty="0"/>
        </a:p>
      </dsp:txBody>
      <dsp:txXfrm>
        <a:off x="-1517187" y="2596183"/>
        <a:ext cx="3685032" cy="476476"/>
      </dsp:txXfrm>
    </dsp:sp>
    <dsp:sp modelId="{6C852F19-F73C-4B32-83B6-BDF40362A537}">
      <dsp:nvSpPr>
        <dsp:cNvPr id="0" name=""/>
        <dsp:cNvSpPr/>
      </dsp:nvSpPr>
      <dsp:spPr>
        <a:xfrm>
          <a:off x="914395" y="990615"/>
          <a:ext cx="2373356" cy="3685032"/>
        </a:xfrm>
        <a:prstGeom prst="rect">
          <a:avLst/>
        </a:prstGeom>
        <a:solidFill>
          <a:schemeClr val="accent2"/>
        </a:solidFill>
        <a:ln w="127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vert270" wrap="square" lIns="341376" tIns="420225" rIns="341376" bIns="341376" numCol="1" spcCol="1270" anchor="t" anchorCtr="0">
          <a:noAutofit/>
        </a:bodyPr>
        <a:lstStyle/>
        <a:p>
          <a:pPr marL="285750" lvl="1" indent="-285750" algn="l" defTabSz="2133600">
            <a:lnSpc>
              <a:spcPct val="90000"/>
            </a:lnSpc>
            <a:spcBef>
              <a:spcPct val="0"/>
            </a:spcBef>
            <a:spcAft>
              <a:spcPct val="15000"/>
            </a:spcAft>
            <a:buChar char="•"/>
          </a:pPr>
          <a:r>
            <a:rPr lang="en-US" sz="4800" kern="1200" dirty="0"/>
            <a:t>Economy</a:t>
          </a:r>
        </a:p>
      </dsp:txBody>
      <dsp:txXfrm>
        <a:off x="914395" y="990615"/>
        <a:ext cx="2373356" cy="3685032"/>
      </dsp:txXfrm>
    </dsp:sp>
    <dsp:sp modelId="{EAB3D784-BF04-470B-AB0A-3DE2B2167B59}">
      <dsp:nvSpPr>
        <dsp:cNvPr id="0" name=""/>
        <dsp:cNvSpPr/>
      </dsp:nvSpPr>
      <dsp:spPr>
        <a:xfrm>
          <a:off x="609603" y="76203"/>
          <a:ext cx="1390585" cy="1583939"/>
        </a:xfrm>
        <a:prstGeom prst="rect">
          <a:avLst/>
        </a:prstGeom>
        <a:blipFill rotWithShape="0">
          <a:blip xmlns:r="http://schemas.openxmlformats.org/officeDocument/2006/relationships" r:embed="rId1"/>
          <a:stretch>
            <a:fillRect/>
          </a:stretch>
        </a:blipFill>
        <a:ln w="127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F14BF7C4-787F-4552-B778-01F250BE4463}">
      <dsp:nvSpPr>
        <dsp:cNvPr id="0" name=""/>
        <dsp:cNvSpPr/>
      </dsp:nvSpPr>
      <dsp:spPr>
        <a:xfrm rot="16200000">
          <a:off x="2209289" y="2544871"/>
          <a:ext cx="3685032" cy="47647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420225" bIns="0" numCol="1" spcCol="1270" anchor="t" anchorCtr="0">
          <a:noAutofit/>
        </a:bodyPr>
        <a:lstStyle/>
        <a:p>
          <a:pPr marL="0" lvl="0" indent="0" algn="r" defTabSz="1555750">
            <a:lnSpc>
              <a:spcPct val="90000"/>
            </a:lnSpc>
            <a:spcBef>
              <a:spcPct val="0"/>
            </a:spcBef>
            <a:spcAft>
              <a:spcPct val="35000"/>
            </a:spcAft>
            <a:buNone/>
          </a:pPr>
          <a:endParaRPr lang="en-US" sz="3500" kern="1200" dirty="0"/>
        </a:p>
      </dsp:txBody>
      <dsp:txXfrm>
        <a:off x="2209289" y="2544871"/>
        <a:ext cx="3685032" cy="476476"/>
      </dsp:txXfrm>
    </dsp:sp>
    <dsp:sp modelId="{66B81CDB-BA0D-47A7-BBC0-1BF77C336A95}">
      <dsp:nvSpPr>
        <dsp:cNvPr id="0" name=""/>
        <dsp:cNvSpPr/>
      </dsp:nvSpPr>
      <dsp:spPr>
        <a:xfrm>
          <a:off x="4290043" y="940593"/>
          <a:ext cx="2373356" cy="3685032"/>
        </a:xfrm>
        <a:prstGeom prst="rect">
          <a:avLst/>
        </a:prstGeom>
        <a:solidFill>
          <a:schemeClr val="accent4">
            <a:lumMod val="50000"/>
          </a:schemeClr>
        </a:solidFill>
        <a:ln w="127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vert270" wrap="square" lIns="312928" tIns="420225" rIns="312928" bIns="312928" numCol="1" spcCol="1270" anchor="t" anchorCtr="0">
          <a:noAutofit/>
        </a:bodyPr>
        <a:lstStyle/>
        <a:p>
          <a:pPr marL="285750" lvl="1" indent="-285750" algn="l" defTabSz="1955800">
            <a:lnSpc>
              <a:spcPct val="90000"/>
            </a:lnSpc>
            <a:spcBef>
              <a:spcPct val="0"/>
            </a:spcBef>
            <a:spcAft>
              <a:spcPct val="15000"/>
            </a:spcAft>
            <a:buChar char="•"/>
          </a:pPr>
          <a:r>
            <a:rPr lang="en-US" sz="4400" kern="1200" dirty="0"/>
            <a:t>Society</a:t>
          </a:r>
        </a:p>
      </dsp:txBody>
      <dsp:txXfrm>
        <a:off x="4290043" y="940593"/>
        <a:ext cx="2373356" cy="3685032"/>
      </dsp:txXfrm>
    </dsp:sp>
    <dsp:sp modelId="{03CA6F03-28F1-4B2B-A365-81AE934CEAC8}">
      <dsp:nvSpPr>
        <dsp:cNvPr id="0" name=""/>
        <dsp:cNvSpPr/>
      </dsp:nvSpPr>
      <dsp:spPr>
        <a:xfrm>
          <a:off x="3560772" y="47462"/>
          <a:ext cx="1458540" cy="1481316"/>
        </a:xfrm>
        <a:prstGeom prst="rect">
          <a:avLst/>
        </a:prstGeom>
        <a:blipFill rotWithShape="0">
          <a:blip xmlns:r="http://schemas.openxmlformats.org/officeDocument/2006/relationships" r:embed="rId2"/>
          <a:stretch>
            <a:fillRect/>
          </a:stretch>
        </a:blipFill>
        <a:ln w="127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CD4D5698-6A4A-4515-9085-290A0BFFE91A}">
      <dsp:nvSpPr>
        <dsp:cNvPr id="0" name=""/>
        <dsp:cNvSpPr/>
      </dsp:nvSpPr>
      <dsp:spPr>
        <a:xfrm rot="16200000">
          <a:off x="5964616" y="2554334"/>
          <a:ext cx="3685032" cy="47647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420225" bIns="0" numCol="1" spcCol="1270" anchor="t" anchorCtr="0">
          <a:noAutofit/>
        </a:bodyPr>
        <a:lstStyle/>
        <a:p>
          <a:pPr marL="0" lvl="0" indent="0" algn="r" defTabSz="1555750">
            <a:lnSpc>
              <a:spcPct val="90000"/>
            </a:lnSpc>
            <a:spcBef>
              <a:spcPct val="0"/>
            </a:spcBef>
            <a:spcAft>
              <a:spcPct val="35000"/>
            </a:spcAft>
            <a:buNone/>
          </a:pPr>
          <a:endParaRPr lang="en-US" sz="3500" kern="1200"/>
        </a:p>
      </dsp:txBody>
      <dsp:txXfrm>
        <a:off x="5964616" y="2554334"/>
        <a:ext cx="3685032" cy="476476"/>
      </dsp:txXfrm>
    </dsp:sp>
    <dsp:sp modelId="{B8025FCF-A365-4DE4-B723-F941D570B5DF}">
      <dsp:nvSpPr>
        <dsp:cNvPr id="0" name=""/>
        <dsp:cNvSpPr/>
      </dsp:nvSpPr>
      <dsp:spPr>
        <a:xfrm>
          <a:off x="8045370" y="950056"/>
          <a:ext cx="2373356" cy="3685032"/>
        </a:xfrm>
        <a:prstGeom prst="rect">
          <a:avLst/>
        </a:prstGeom>
        <a:solidFill>
          <a:srgbClr val="00B050"/>
        </a:solidFill>
        <a:ln w="127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vert270" wrap="square" lIns="227584" tIns="420225" rIns="227584" bIns="227584" numCol="1" spcCol="1270" anchor="t" anchorCtr="0">
          <a:noAutofit/>
        </a:bodyPr>
        <a:lstStyle/>
        <a:p>
          <a:pPr marL="285750" lvl="1" indent="-285750" algn="l" defTabSz="1422400">
            <a:lnSpc>
              <a:spcPct val="90000"/>
            </a:lnSpc>
            <a:spcBef>
              <a:spcPct val="0"/>
            </a:spcBef>
            <a:spcAft>
              <a:spcPct val="15000"/>
            </a:spcAft>
            <a:buChar char="•"/>
          </a:pPr>
          <a:r>
            <a:rPr lang="en-US" sz="3200" b="1" kern="1200" dirty="0"/>
            <a:t>Environment</a:t>
          </a:r>
          <a:endParaRPr lang="en-US" sz="2400" b="1" kern="1200" dirty="0"/>
        </a:p>
      </dsp:txBody>
      <dsp:txXfrm>
        <a:off x="8045370" y="950056"/>
        <a:ext cx="2373356" cy="3685032"/>
      </dsp:txXfrm>
    </dsp:sp>
    <dsp:sp modelId="{FDE09670-0426-4155-A6D3-D65136C1786B}">
      <dsp:nvSpPr>
        <dsp:cNvPr id="0" name=""/>
        <dsp:cNvSpPr/>
      </dsp:nvSpPr>
      <dsp:spPr>
        <a:xfrm>
          <a:off x="7287249" y="47462"/>
          <a:ext cx="1516242" cy="1500242"/>
        </a:xfrm>
        <a:prstGeom prst="rect">
          <a:avLst/>
        </a:prstGeom>
        <a:blipFill rotWithShape="0">
          <a:blip xmlns:r="http://schemas.openxmlformats.org/officeDocument/2006/relationships" r:embed="rId3"/>
          <a:stretch>
            <a:fillRect/>
          </a:stretch>
        </a:blipFill>
        <a:ln w="127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A33D52D-874E-474F-8188-D5BC6DD0C9F7}">
      <dsp:nvSpPr>
        <dsp:cNvPr id="0" name=""/>
        <dsp:cNvSpPr/>
      </dsp:nvSpPr>
      <dsp:spPr>
        <a:xfrm>
          <a:off x="3888501" y="2036683"/>
          <a:ext cx="2489279" cy="2489279"/>
        </a:xfrm>
        <a:prstGeom prst="gear9">
          <a:avLst/>
        </a:prstGeom>
        <a:solidFill>
          <a:srgbClr val="7030A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marL="0" lvl="0" indent="0" algn="ctr" defTabSz="666750">
            <a:lnSpc>
              <a:spcPct val="90000"/>
            </a:lnSpc>
            <a:spcBef>
              <a:spcPct val="0"/>
            </a:spcBef>
            <a:spcAft>
              <a:spcPct val="35000"/>
            </a:spcAft>
            <a:buNone/>
          </a:pPr>
          <a:r>
            <a:rPr lang="en-US" sz="1500" kern="1200" dirty="0"/>
            <a:t>Whistleblower - Incentivized</a:t>
          </a:r>
        </a:p>
      </dsp:txBody>
      <dsp:txXfrm>
        <a:off x="4388957" y="2619785"/>
        <a:ext cx="1488367" cy="1279541"/>
      </dsp:txXfrm>
    </dsp:sp>
    <dsp:sp modelId="{C02D147B-7E92-4313-BA6C-2AF665A8D5A1}">
      <dsp:nvSpPr>
        <dsp:cNvPr id="0" name=""/>
        <dsp:cNvSpPr/>
      </dsp:nvSpPr>
      <dsp:spPr>
        <a:xfrm>
          <a:off x="2440193" y="1448308"/>
          <a:ext cx="1810385" cy="1810385"/>
        </a:xfrm>
        <a:prstGeom prst="gear6">
          <a:avLst/>
        </a:prstGeom>
        <a:solidFill>
          <a:srgbClr val="C000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marL="0" lvl="0" indent="0" algn="ctr" defTabSz="666750">
            <a:lnSpc>
              <a:spcPct val="90000"/>
            </a:lnSpc>
            <a:spcBef>
              <a:spcPct val="0"/>
            </a:spcBef>
            <a:spcAft>
              <a:spcPct val="35000"/>
            </a:spcAft>
            <a:buNone/>
          </a:pPr>
          <a:r>
            <a:rPr lang="en-US" sz="1500" kern="1200" dirty="0"/>
            <a:t>Low Knowledge</a:t>
          </a:r>
        </a:p>
      </dsp:txBody>
      <dsp:txXfrm>
        <a:off x="2895963" y="1906833"/>
        <a:ext cx="898845" cy="893335"/>
      </dsp:txXfrm>
    </dsp:sp>
    <dsp:sp modelId="{C998FB37-FBFA-4663-95A6-EF9AACB06D28}">
      <dsp:nvSpPr>
        <dsp:cNvPr id="0" name=""/>
        <dsp:cNvSpPr/>
      </dsp:nvSpPr>
      <dsp:spPr>
        <a:xfrm rot="20700000">
          <a:off x="3454194" y="199327"/>
          <a:ext cx="1773807" cy="1773807"/>
        </a:xfrm>
        <a:prstGeom prst="gear6">
          <a:avLst/>
        </a:prstGeom>
        <a:solidFill>
          <a:srgbClr val="00206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marL="0" lvl="0" indent="0" algn="ctr" defTabSz="666750">
            <a:lnSpc>
              <a:spcPct val="90000"/>
            </a:lnSpc>
            <a:spcBef>
              <a:spcPct val="0"/>
            </a:spcBef>
            <a:spcAft>
              <a:spcPct val="35000"/>
            </a:spcAft>
            <a:buNone/>
          </a:pPr>
          <a:r>
            <a:rPr lang="en-US" sz="1500" kern="1200" dirty="0"/>
            <a:t>Steep Penalties</a:t>
          </a:r>
        </a:p>
      </dsp:txBody>
      <dsp:txXfrm rot="-20700000">
        <a:off x="3843242" y="588375"/>
        <a:ext cx="995711" cy="995711"/>
      </dsp:txXfrm>
    </dsp:sp>
    <dsp:sp modelId="{BB454440-78EE-497B-A56B-8E277199904F}">
      <dsp:nvSpPr>
        <dsp:cNvPr id="0" name=""/>
        <dsp:cNvSpPr/>
      </dsp:nvSpPr>
      <dsp:spPr>
        <a:xfrm>
          <a:off x="3700746" y="1658974"/>
          <a:ext cx="3186277" cy="3186277"/>
        </a:xfrm>
        <a:prstGeom prst="circularArrow">
          <a:avLst>
            <a:gd name="adj1" fmla="val 4687"/>
            <a:gd name="adj2" fmla="val 299029"/>
            <a:gd name="adj3" fmla="val 2523572"/>
            <a:gd name="adj4" fmla="val 15845412"/>
            <a:gd name="adj5" fmla="val 5469"/>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B1606230-FF1E-43BA-8B6F-75252B8BB0A7}">
      <dsp:nvSpPr>
        <dsp:cNvPr id="0" name=""/>
        <dsp:cNvSpPr/>
      </dsp:nvSpPr>
      <dsp:spPr>
        <a:xfrm>
          <a:off x="2119577" y="1046315"/>
          <a:ext cx="2315030" cy="2315030"/>
        </a:xfrm>
        <a:prstGeom prst="leftCircularArrow">
          <a:avLst>
            <a:gd name="adj1" fmla="val 6452"/>
            <a:gd name="adj2" fmla="val 429999"/>
            <a:gd name="adj3" fmla="val 10489124"/>
            <a:gd name="adj4" fmla="val 14837806"/>
            <a:gd name="adj5" fmla="val 7527"/>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9785098C-FD85-4CF3-8233-14FAD1791B75}">
      <dsp:nvSpPr>
        <dsp:cNvPr id="0" name=""/>
        <dsp:cNvSpPr/>
      </dsp:nvSpPr>
      <dsp:spPr>
        <a:xfrm>
          <a:off x="3043894" y="-190626"/>
          <a:ext cx="2496068" cy="2496068"/>
        </a:xfrm>
        <a:prstGeom prst="circularArrow">
          <a:avLst>
            <a:gd name="adj1" fmla="val 5984"/>
            <a:gd name="adj2" fmla="val 394124"/>
            <a:gd name="adj3" fmla="val 13313824"/>
            <a:gd name="adj4" fmla="val 10508221"/>
            <a:gd name="adj5" fmla="val 6981"/>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3D4F0D3-93CA-48A1-8034-159B6004A30B}">
      <dsp:nvSpPr>
        <dsp:cNvPr id="0" name=""/>
        <dsp:cNvSpPr/>
      </dsp:nvSpPr>
      <dsp:spPr>
        <a:xfrm rot="1756022">
          <a:off x="2457991" y="3241340"/>
          <a:ext cx="942766" cy="67939"/>
        </a:xfrm>
        <a:custGeom>
          <a:avLst/>
          <a:gdLst/>
          <a:ahLst/>
          <a:cxnLst/>
          <a:rect l="0" t="0" r="0" b="0"/>
          <a:pathLst>
            <a:path>
              <a:moveTo>
                <a:pt x="0" y="33969"/>
              </a:moveTo>
              <a:lnTo>
                <a:pt x="942766" y="33969"/>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DFD87AF9-68EC-43C0-A396-9B0704B83285}">
      <dsp:nvSpPr>
        <dsp:cNvPr id="0" name=""/>
        <dsp:cNvSpPr/>
      </dsp:nvSpPr>
      <dsp:spPr>
        <a:xfrm rot="19843978">
          <a:off x="2457991" y="1618319"/>
          <a:ext cx="942766" cy="67939"/>
        </a:xfrm>
        <a:custGeom>
          <a:avLst/>
          <a:gdLst/>
          <a:ahLst/>
          <a:cxnLst/>
          <a:rect l="0" t="0" r="0" b="0"/>
          <a:pathLst>
            <a:path>
              <a:moveTo>
                <a:pt x="0" y="33969"/>
              </a:moveTo>
              <a:lnTo>
                <a:pt x="942766" y="33969"/>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E703A7F0-974E-4E81-95D1-BB950200B996}">
      <dsp:nvSpPr>
        <dsp:cNvPr id="0" name=""/>
        <dsp:cNvSpPr/>
      </dsp:nvSpPr>
      <dsp:spPr>
        <a:xfrm>
          <a:off x="134" y="982606"/>
          <a:ext cx="2962386" cy="2962386"/>
        </a:xfrm>
        <a:prstGeom prst="ellipse">
          <a:avLst/>
        </a:prstGeom>
        <a:blipFill rotWithShape="0">
          <a:blip xmlns:r="http://schemas.openxmlformats.org/officeDocument/2006/relationships" r:embed="rId1"/>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90A907A3-4E40-4724-A64E-568F5E381EB7}">
      <dsp:nvSpPr>
        <dsp:cNvPr id="0" name=""/>
        <dsp:cNvSpPr/>
      </dsp:nvSpPr>
      <dsp:spPr>
        <a:xfrm>
          <a:off x="3227142" y="98647"/>
          <a:ext cx="1777431" cy="1777431"/>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7940" tIns="27940" rIns="27940" bIns="27940" numCol="1" spcCol="1270" anchor="ctr" anchorCtr="0">
          <a:noAutofit/>
        </a:bodyPr>
        <a:lstStyle/>
        <a:p>
          <a:pPr marL="0" lvl="0" indent="0" algn="ctr" defTabSz="1955800">
            <a:lnSpc>
              <a:spcPct val="90000"/>
            </a:lnSpc>
            <a:spcBef>
              <a:spcPct val="0"/>
            </a:spcBef>
            <a:spcAft>
              <a:spcPct val="35000"/>
            </a:spcAft>
            <a:buNone/>
          </a:pPr>
          <a:r>
            <a:rPr lang="en-US" sz="4400" kern="1200" dirty="0">
              <a:solidFill>
                <a:schemeClr val="tx1"/>
              </a:solidFill>
            </a:rPr>
            <a:t>Co. A</a:t>
          </a:r>
        </a:p>
      </dsp:txBody>
      <dsp:txXfrm>
        <a:off x="3487441" y="358946"/>
        <a:ext cx="1256833" cy="1256833"/>
      </dsp:txXfrm>
    </dsp:sp>
    <dsp:sp modelId="{EB069F1C-DB90-4934-AD10-6761609ED6F0}">
      <dsp:nvSpPr>
        <dsp:cNvPr id="0" name=""/>
        <dsp:cNvSpPr/>
      </dsp:nvSpPr>
      <dsp:spPr>
        <a:xfrm>
          <a:off x="5182317" y="98647"/>
          <a:ext cx="2666147" cy="177743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285750" lvl="1" indent="-285750" algn="l" defTabSz="1466850">
            <a:lnSpc>
              <a:spcPct val="90000"/>
            </a:lnSpc>
            <a:spcBef>
              <a:spcPct val="0"/>
            </a:spcBef>
            <a:spcAft>
              <a:spcPct val="15000"/>
            </a:spcAft>
            <a:buChar char="•"/>
          </a:pPr>
          <a:r>
            <a:rPr lang="en-US" sz="3300" kern="1200" dirty="0"/>
            <a:t>Consulting company</a:t>
          </a:r>
        </a:p>
      </dsp:txBody>
      <dsp:txXfrm>
        <a:off x="5182317" y="98647"/>
        <a:ext cx="2666147" cy="1777431"/>
      </dsp:txXfrm>
    </dsp:sp>
    <dsp:sp modelId="{171E99FB-1058-4685-9A80-F1C754E01B9D}">
      <dsp:nvSpPr>
        <dsp:cNvPr id="0" name=""/>
        <dsp:cNvSpPr/>
      </dsp:nvSpPr>
      <dsp:spPr>
        <a:xfrm>
          <a:off x="3227142" y="3051520"/>
          <a:ext cx="1777431" cy="1777431"/>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7940" tIns="27940" rIns="27940" bIns="27940" numCol="1" spcCol="1270" anchor="ctr" anchorCtr="0">
          <a:noAutofit/>
        </a:bodyPr>
        <a:lstStyle/>
        <a:p>
          <a:pPr marL="0" lvl="0" indent="0" algn="ctr" defTabSz="1955800">
            <a:lnSpc>
              <a:spcPct val="90000"/>
            </a:lnSpc>
            <a:spcBef>
              <a:spcPct val="0"/>
            </a:spcBef>
            <a:spcAft>
              <a:spcPct val="35000"/>
            </a:spcAft>
            <a:buNone/>
          </a:pPr>
          <a:r>
            <a:rPr lang="en-US" sz="4400" kern="1200" dirty="0">
              <a:solidFill>
                <a:schemeClr val="tx1"/>
              </a:solidFill>
            </a:rPr>
            <a:t>Co. B</a:t>
          </a:r>
        </a:p>
      </dsp:txBody>
      <dsp:txXfrm>
        <a:off x="3487441" y="3311819"/>
        <a:ext cx="1256833" cy="1256833"/>
      </dsp:txXfrm>
    </dsp:sp>
    <dsp:sp modelId="{BB3FF3AE-EE72-4D04-A92C-172D0F3E624A}">
      <dsp:nvSpPr>
        <dsp:cNvPr id="0" name=""/>
        <dsp:cNvSpPr/>
      </dsp:nvSpPr>
      <dsp:spPr>
        <a:xfrm>
          <a:off x="5182317" y="3051520"/>
          <a:ext cx="2666147" cy="177743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285750" lvl="1" indent="-285750" algn="l" defTabSz="1466850">
            <a:lnSpc>
              <a:spcPct val="90000"/>
            </a:lnSpc>
            <a:spcBef>
              <a:spcPct val="0"/>
            </a:spcBef>
            <a:spcAft>
              <a:spcPct val="15000"/>
            </a:spcAft>
            <a:buChar char="•"/>
          </a:pPr>
          <a:r>
            <a:rPr lang="en-US" sz="3300" kern="1200" dirty="0"/>
            <a:t>Parent of “Co. A”</a:t>
          </a:r>
        </a:p>
        <a:p>
          <a:pPr marL="285750" lvl="1" indent="-285750" algn="l" defTabSz="1466850">
            <a:lnSpc>
              <a:spcPct val="90000"/>
            </a:lnSpc>
            <a:spcBef>
              <a:spcPct val="0"/>
            </a:spcBef>
            <a:spcAft>
              <a:spcPct val="15000"/>
            </a:spcAft>
            <a:buChar char="•"/>
          </a:pPr>
          <a:r>
            <a:rPr lang="en-US" sz="3300" kern="1200" dirty="0"/>
            <a:t>Manufacturer</a:t>
          </a:r>
        </a:p>
      </dsp:txBody>
      <dsp:txXfrm>
        <a:off x="5182317" y="3051520"/>
        <a:ext cx="2666147" cy="1777431"/>
      </dsp:txXfrm>
    </dsp:sp>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E32B914-CFAA-4486-ACA3-C5BFFB290C9A}">
      <dsp:nvSpPr>
        <dsp:cNvPr id="0" name=""/>
        <dsp:cNvSpPr/>
      </dsp:nvSpPr>
      <dsp:spPr>
        <a:xfrm>
          <a:off x="2155507" y="2277603"/>
          <a:ext cx="1784985" cy="1784985"/>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335" tIns="13335" rIns="13335" bIns="13335" numCol="1" spcCol="1270" anchor="ctr" anchorCtr="0">
          <a:noAutofit/>
        </a:bodyPr>
        <a:lstStyle/>
        <a:p>
          <a:pPr marL="0" lvl="0" indent="0" algn="ctr" defTabSz="933450">
            <a:lnSpc>
              <a:spcPct val="90000"/>
            </a:lnSpc>
            <a:spcBef>
              <a:spcPct val="0"/>
            </a:spcBef>
            <a:spcAft>
              <a:spcPct val="35000"/>
            </a:spcAft>
            <a:buNone/>
          </a:pPr>
          <a:r>
            <a:rPr lang="en-US" sz="2100" kern="1200" dirty="0"/>
            <a:t>Suspension and Debarment Official</a:t>
          </a:r>
        </a:p>
      </dsp:txBody>
      <dsp:txXfrm>
        <a:off x="2416912" y="2539008"/>
        <a:ext cx="1262175" cy="1262175"/>
      </dsp:txXfrm>
    </dsp:sp>
    <dsp:sp modelId="{06101629-35E4-45AF-B2F6-AB0C250EB019}">
      <dsp:nvSpPr>
        <dsp:cNvPr id="0" name=""/>
        <dsp:cNvSpPr/>
      </dsp:nvSpPr>
      <dsp:spPr>
        <a:xfrm rot="12900000">
          <a:off x="871449" y="1920360"/>
          <a:ext cx="1510013" cy="508720"/>
        </a:xfrm>
        <a:prstGeom prst="lef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8FC512AB-68B8-4B7F-BF99-C9290B711482}">
      <dsp:nvSpPr>
        <dsp:cNvPr id="0" name=""/>
        <dsp:cNvSpPr/>
      </dsp:nvSpPr>
      <dsp:spPr>
        <a:xfrm>
          <a:off x="160123" y="1063372"/>
          <a:ext cx="1695735" cy="1356588"/>
        </a:xfrm>
        <a:prstGeom prst="roundRect">
          <a:avLst>
            <a:gd name="adj" fmla="val 10000"/>
          </a:avLst>
        </a:prstGeom>
        <a:solidFill>
          <a:srgbClr val="C000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0005" tIns="40005" rIns="40005" bIns="40005" numCol="1" spcCol="1270" anchor="ctr" anchorCtr="0">
          <a:noAutofit/>
        </a:bodyPr>
        <a:lstStyle/>
        <a:p>
          <a:pPr marL="0" lvl="0" indent="0" algn="ctr" defTabSz="933450">
            <a:lnSpc>
              <a:spcPct val="90000"/>
            </a:lnSpc>
            <a:spcBef>
              <a:spcPct val="0"/>
            </a:spcBef>
            <a:spcAft>
              <a:spcPct val="35000"/>
            </a:spcAft>
            <a:buNone/>
          </a:pPr>
          <a:r>
            <a:rPr lang="en-US" sz="2100" kern="1200" dirty="0"/>
            <a:t>Investigators/ Prosecutors</a:t>
          </a:r>
        </a:p>
      </dsp:txBody>
      <dsp:txXfrm>
        <a:off x="199856" y="1103105"/>
        <a:ext cx="1616269" cy="1277122"/>
      </dsp:txXfrm>
    </dsp:sp>
    <dsp:sp modelId="{E14F508D-D072-4528-9509-213E77BB4E76}">
      <dsp:nvSpPr>
        <dsp:cNvPr id="0" name=""/>
        <dsp:cNvSpPr/>
      </dsp:nvSpPr>
      <dsp:spPr>
        <a:xfrm rot="16200000">
          <a:off x="2292993" y="1180352"/>
          <a:ext cx="1510013" cy="508720"/>
        </a:xfrm>
        <a:prstGeom prst="lef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107DE881-6334-4B4D-8D95-4A41B9595F68}">
      <dsp:nvSpPr>
        <dsp:cNvPr id="0" name=""/>
        <dsp:cNvSpPr/>
      </dsp:nvSpPr>
      <dsp:spPr>
        <a:xfrm>
          <a:off x="2200132" y="1411"/>
          <a:ext cx="1695735" cy="1356588"/>
        </a:xfrm>
        <a:prstGeom prst="roundRect">
          <a:avLst>
            <a:gd name="adj" fmla="val 10000"/>
          </a:avLst>
        </a:prstGeom>
        <a:solidFill>
          <a:srgbClr val="7030A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0005" tIns="40005" rIns="40005" bIns="40005" numCol="1" spcCol="1270" anchor="ctr" anchorCtr="0">
          <a:noAutofit/>
        </a:bodyPr>
        <a:lstStyle/>
        <a:p>
          <a:pPr marL="0" lvl="0" indent="0" algn="ctr" defTabSz="933450">
            <a:lnSpc>
              <a:spcPct val="90000"/>
            </a:lnSpc>
            <a:spcBef>
              <a:spcPct val="0"/>
            </a:spcBef>
            <a:spcAft>
              <a:spcPct val="35000"/>
            </a:spcAft>
            <a:buNone/>
          </a:pPr>
          <a:r>
            <a:rPr lang="en-US" sz="2100" kern="1200" dirty="0"/>
            <a:t>Competitors</a:t>
          </a:r>
        </a:p>
      </dsp:txBody>
      <dsp:txXfrm>
        <a:off x="2239865" y="41144"/>
        <a:ext cx="1616269" cy="1277122"/>
      </dsp:txXfrm>
    </dsp:sp>
    <dsp:sp modelId="{76AADDC1-0743-4ED1-B93A-17B272BE91D5}">
      <dsp:nvSpPr>
        <dsp:cNvPr id="0" name=""/>
        <dsp:cNvSpPr/>
      </dsp:nvSpPr>
      <dsp:spPr>
        <a:xfrm rot="19500000">
          <a:off x="3714536" y="1920360"/>
          <a:ext cx="1510013" cy="508720"/>
        </a:xfrm>
        <a:prstGeom prst="lef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791ADCB3-5AA5-4846-B940-7EC6D829C8F8}">
      <dsp:nvSpPr>
        <dsp:cNvPr id="0" name=""/>
        <dsp:cNvSpPr/>
      </dsp:nvSpPr>
      <dsp:spPr>
        <a:xfrm>
          <a:off x="4240140" y="1063372"/>
          <a:ext cx="1695735" cy="1356588"/>
        </a:xfrm>
        <a:prstGeom prst="roundRect">
          <a:avLst>
            <a:gd name="adj" fmla="val 10000"/>
          </a:avLst>
        </a:prstGeom>
        <a:solidFill>
          <a:srgbClr val="00206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0005" tIns="40005" rIns="40005" bIns="40005" numCol="1" spcCol="1270" anchor="ctr" anchorCtr="0">
          <a:noAutofit/>
        </a:bodyPr>
        <a:lstStyle/>
        <a:p>
          <a:pPr marL="0" lvl="0" indent="0" algn="ctr" defTabSz="933450">
            <a:lnSpc>
              <a:spcPct val="90000"/>
            </a:lnSpc>
            <a:spcBef>
              <a:spcPct val="0"/>
            </a:spcBef>
            <a:spcAft>
              <a:spcPct val="35000"/>
            </a:spcAft>
            <a:buNone/>
          </a:pPr>
          <a:r>
            <a:rPr lang="en-US" sz="2100" kern="1200" dirty="0"/>
            <a:t>Contracting Officers</a:t>
          </a:r>
        </a:p>
      </dsp:txBody>
      <dsp:txXfrm>
        <a:off x="4279873" y="1103105"/>
        <a:ext cx="1616269" cy="1277122"/>
      </dsp:txXfrm>
    </dsp:sp>
  </dsp:spTree>
</dsp:drawing>
</file>

<file path=ppt/diagrams/drawing1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C987C07-D2F5-42F4-B915-A8C514492DAF}">
      <dsp:nvSpPr>
        <dsp:cNvPr id="0" name=""/>
        <dsp:cNvSpPr/>
      </dsp:nvSpPr>
      <dsp:spPr>
        <a:xfrm>
          <a:off x="1413498" y="100535"/>
          <a:ext cx="2602053" cy="4166664"/>
        </a:xfrm>
        <a:prstGeom prst="triangl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sp>
    <dsp:sp modelId="{CD7B9B62-E282-4A93-9E42-9CFA1558D6E9}">
      <dsp:nvSpPr>
        <dsp:cNvPr id="0" name=""/>
        <dsp:cNvSpPr/>
      </dsp:nvSpPr>
      <dsp:spPr>
        <a:xfrm>
          <a:off x="2666999" y="1524005"/>
          <a:ext cx="2228319" cy="823165"/>
        </a:xfrm>
        <a:prstGeom prst="roundRect">
          <a:avLst/>
        </a:prstGeom>
        <a:solidFill>
          <a:schemeClr val="lt1">
            <a:alpha val="9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b="1" kern="1200" dirty="0">
              <a:solidFill>
                <a:schemeClr val="bg1"/>
              </a:solidFill>
              <a:latin typeface="+mj-lt"/>
            </a:rPr>
            <a:t>Sanctions Board</a:t>
          </a:r>
        </a:p>
      </dsp:txBody>
      <dsp:txXfrm>
        <a:off x="2707183" y="1564189"/>
        <a:ext cx="2147951" cy="742797"/>
      </dsp:txXfrm>
    </dsp:sp>
    <dsp:sp modelId="{F987B699-42D8-476B-9CCC-EE77BB9D52A6}">
      <dsp:nvSpPr>
        <dsp:cNvPr id="0" name=""/>
        <dsp:cNvSpPr/>
      </dsp:nvSpPr>
      <dsp:spPr>
        <a:xfrm>
          <a:off x="2586631" y="2936195"/>
          <a:ext cx="2313831" cy="1112299"/>
        </a:xfrm>
        <a:prstGeom prst="roundRect">
          <a:avLst/>
        </a:prstGeom>
        <a:solidFill>
          <a:schemeClr val="lt1">
            <a:alpha val="9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b="1" kern="1200" dirty="0">
              <a:solidFill>
                <a:schemeClr val="bg1"/>
              </a:solidFill>
              <a:latin typeface="+mj-lt"/>
            </a:rPr>
            <a:t>Suspension and Debarment Officer (SDO)</a:t>
          </a:r>
        </a:p>
      </dsp:txBody>
      <dsp:txXfrm>
        <a:off x="2640929" y="2990493"/>
        <a:ext cx="2205235" cy="1003703"/>
      </dsp:txXfrm>
    </dsp:sp>
    <dsp:sp modelId="{37BFC09F-9B80-4D79-A854-28CD2DD9B77B}">
      <dsp:nvSpPr>
        <dsp:cNvPr id="0" name=""/>
        <dsp:cNvSpPr/>
      </dsp:nvSpPr>
      <dsp:spPr>
        <a:xfrm>
          <a:off x="2726744" y="76201"/>
          <a:ext cx="1997659" cy="925103"/>
        </a:xfrm>
        <a:prstGeom prst="roundRect">
          <a:avLst/>
        </a:prstGeom>
        <a:solidFill>
          <a:schemeClr val="lt1">
            <a:alpha val="9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1" kern="1200" dirty="0">
              <a:solidFill>
                <a:schemeClr val="bg1"/>
              </a:solidFill>
              <a:latin typeface="+mj-lt"/>
            </a:rPr>
            <a:t>Integrity Compliance </a:t>
          </a:r>
        </a:p>
        <a:p>
          <a:pPr marL="0" lvl="0" indent="0" algn="ctr" defTabSz="711200">
            <a:lnSpc>
              <a:spcPct val="90000"/>
            </a:lnSpc>
            <a:spcBef>
              <a:spcPct val="0"/>
            </a:spcBef>
            <a:spcAft>
              <a:spcPct val="35000"/>
            </a:spcAft>
            <a:buNone/>
          </a:pPr>
          <a:r>
            <a:rPr lang="en-US" sz="1600" b="1" kern="1200" dirty="0">
              <a:solidFill>
                <a:schemeClr val="bg1"/>
              </a:solidFill>
              <a:latin typeface="+mj-lt"/>
            </a:rPr>
            <a:t>Officers (within INT)</a:t>
          </a:r>
        </a:p>
      </dsp:txBody>
      <dsp:txXfrm>
        <a:off x="2771904" y="121361"/>
        <a:ext cx="1907339" cy="834783"/>
      </dsp:txXfrm>
    </dsp:sp>
  </dsp:spTree>
</dsp:drawing>
</file>

<file path=ppt/diagrams/drawing1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5FD1C14-F738-4F02-ABB4-F8BC669914AA}">
      <dsp:nvSpPr>
        <dsp:cNvPr id="0" name=""/>
        <dsp:cNvSpPr/>
      </dsp:nvSpPr>
      <dsp:spPr>
        <a:xfrm rot="16200000">
          <a:off x="-1410195" y="1412106"/>
          <a:ext cx="4699000" cy="1874787"/>
        </a:xfrm>
        <a:prstGeom prst="flowChartManualOperation">
          <a:avLst/>
        </a:prstGeom>
        <a:solidFill>
          <a:srgbClr val="7030A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0650" tIns="0" rIns="119957" bIns="0" numCol="1" spcCol="1270" anchor="t" anchorCtr="0">
          <a:noAutofit/>
        </a:bodyPr>
        <a:lstStyle/>
        <a:p>
          <a:pPr marL="0" lvl="0" indent="0" algn="l" defTabSz="844550">
            <a:lnSpc>
              <a:spcPct val="90000"/>
            </a:lnSpc>
            <a:spcBef>
              <a:spcPct val="0"/>
            </a:spcBef>
            <a:spcAft>
              <a:spcPct val="35000"/>
            </a:spcAft>
            <a:buNone/>
          </a:pPr>
          <a:r>
            <a:rPr lang="en-US" sz="1900" b="1" kern="1200" dirty="0"/>
            <a:t>Responsibility (Qualification)</a:t>
          </a:r>
        </a:p>
        <a:p>
          <a:pPr marL="0" lvl="0" indent="0" algn="l" defTabSz="844550">
            <a:lnSpc>
              <a:spcPct val="90000"/>
            </a:lnSpc>
            <a:spcBef>
              <a:spcPct val="0"/>
            </a:spcBef>
            <a:spcAft>
              <a:spcPct val="35000"/>
            </a:spcAft>
            <a:buNone/>
          </a:pPr>
          <a:r>
            <a:rPr lang="en-US" sz="1900" b="1" kern="1200" dirty="0"/>
            <a:t>Only</a:t>
          </a:r>
        </a:p>
        <a:p>
          <a:pPr marL="114300" lvl="1" indent="-114300" algn="l" defTabSz="666750">
            <a:lnSpc>
              <a:spcPct val="90000"/>
            </a:lnSpc>
            <a:spcBef>
              <a:spcPct val="0"/>
            </a:spcBef>
            <a:spcAft>
              <a:spcPct val="15000"/>
            </a:spcAft>
            <a:buChar char="•"/>
          </a:pPr>
          <a:r>
            <a:rPr lang="en-US" sz="1500" kern="1200" dirty="0"/>
            <a:t>On a case-by-case basis</a:t>
          </a:r>
        </a:p>
        <a:p>
          <a:pPr marL="114300" lvl="1" indent="-114300" algn="l" defTabSz="666750">
            <a:lnSpc>
              <a:spcPct val="90000"/>
            </a:lnSpc>
            <a:spcBef>
              <a:spcPct val="0"/>
            </a:spcBef>
            <a:spcAft>
              <a:spcPct val="15000"/>
            </a:spcAft>
            <a:buChar char="•"/>
          </a:pPr>
          <a:r>
            <a:rPr lang="en-US" sz="1500" kern="1200" dirty="0"/>
            <a:t>In U.S. – done by contracting officer</a:t>
          </a:r>
        </a:p>
        <a:p>
          <a:pPr marL="114300" lvl="1" indent="-114300" algn="l" defTabSz="666750">
            <a:lnSpc>
              <a:spcPct val="90000"/>
            </a:lnSpc>
            <a:spcBef>
              <a:spcPct val="0"/>
            </a:spcBef>
            <a:spcAft>
              <a:spcPct val="15000"/>
            </a:spcAft>
            <a:buChar char="•"/>
          </a:pPr>
          <a:r>
            <a:rPr lang="en-US" sz="1500" kern="1200" dirty="0"/>
            <a:t>Allowed by new EU Directives</a:t>
          </a:r>
        </a:p>
      </dsp:txBody>
      <dsp:txXfrm rot="5400000">
        <a:off x="1911" y="939800"/>
        <a:ext cx="1874787" cy="2819400"/>
      </dsp:txXfrm>
    </dsp:sp>
    <dsp:sp modelId="{BFF605F8-ACD6-4061-972B-268BE58D0A0F}">
      <dsp:nvSpPr>
        <dsp:cNvPr id="0" name=""/>
        <dsp:cNvSpPr/>
      </dsp:nvSpPr>
      <dsp:spPr>
        <a:xfrm rot="16200000">
          <a:off x="2550293" y="1412106"/>
          <a:ext cx="4699000" cy="1874787"/>
        </a:xfrm>
        <a:prstGeom prst="flowChartManualOperation">
          <a:avLst/>
        </a:prstGeom>
        <a:solidFill>
          <a:srgbClr val="FFC0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0650" tIns="0" rIns="119957" bIns="0" numCol="1" spcCol="1270" anchor="t" anchorCtr="0">
          <a:noAutofit/>
        </a:bodyPr>
        <a:lstStyle/>
        <a:p>
          <a:pPr marL="0" lvl="0" indent="0" algn="l" defTabSz="844550">
            <a:lnSpc>
              <a:spcPct val="90000"/>
            </a:lnSpc>
            <a:spcBef>
              <a:spcPct val="0"/>
            </a:spcBef>
            <a:spcAft>
              <a:spcPct val="35000"/>
            </a:spcAft>
            <a:buNone/>
          </a:pPr>
          <a:r>
            <a:rPr lang="en-US" sz="1900" b="1" kern="1200" dirty="0">
              <a:solidFill>
                <a:schemeClr val="bg1">
                  <a:lumMod val="50000"/>
                </a:schemeClr>
              </a:solidFill>
            </a:rPr>
            <a:t>Adjudicative Debarment for “Bad Acts”</a:t>
          </a:r>
        </a:p>
        <a:p>
          <a:pPr marL="114300" lvl="1" indent="-114300" algn="l" defTabSz="666750">
            <a:lnSpc>
              <a:spcPct val="90000"/>
            </a:lnSpc>
            <a:spcBef>
              <a:spcPct val="0"/>
            </a:spcBef>
            <a:spcAft>
              <a:spcPct val="15000"/>
            </a:spcAft>
            <a:buChar char="•"/>
          </a:pPr>
          <a:r>
            <a:rPr lang="en-US" sz="1500" kern="1200" dirty="0">
              <a:solidFill>
                <a:schemeClr val="bg1">
                  <a:lumMod val="50000"/>
                </a:schemeClr>
              </a:solidFill>
            </a:rPr>
            <a:t>E.g., World Bank</a:t>
          </a:r>
        </a:p>
      </dsp:txBody>
      <dsp:txXfrm rot="5400000">
        <a:off x="3962399" y="939800"/>
        <a:ext cx="1874787" cy="2819400"/>
      </dsp:txXfrm>
    </dsp:sp>
    <dsp:sp modelId="{C90C95B3-19CC-4E59-AF24-B2CA3312E7EF}">
      <dsp:nvSpPr>
        <dsp:cNvPr id="0" name=""/>
        <dsp:cNvSpPr/>
      </dsp:nvSpPr>
      <dsp:spPr>
        <a:xfrm rot="16200000">
          <a:off x="4531494" y="1412106"/>
          <a:ext cx="4699000" cy="1874787"/>
        </a:xfrm>
        <a:prstGeom prst="flowChartManualOperation">
          <a:avLst/>
        </a:prstGeom>
        <a:solidFill>
          <a:srgbClr val="14012D"/>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0650" tIns="0" rIns="119957" bIns="0" numCol="1" spcCol="1270" anchor="ctr" anchorCtr="0">
          <a:noAutofit/>
        </a:bodyPr>
        <a:lstStyle/>
        <a:p>
          <a:pPr marL="0" lvl="0" indent="0" algn="ctr" defTabSz="844550">
            <a:lnSpc>
              <a:spcPct val="90000"/>
            </a:lnSpc>
            <a:spcBef>
              <a:spcPct val="0"/>
            </a:spcBef>
            <a:spcAft>
              <a:spcPct val="35000"/>
            </a:spcAft>
            <a:buNone/>
          </a:pPr>
          <a:r>
            <a:rPr lang="en-US" sz="1900" b="1" kern="1200" dirty="0">
              <a:solidFill>
                <a:schemeClr val="tx1"/>
              </a:solidFill>
            </a:rPr>
            <a:t>Court-Ordered Debarment, After Judicial Proceedings</a:t>
          </a:r>
        </a:p>
      </dsp:txBody>
      <dsp:txXfrm rot="5400000">
        <a:off x="5943600" y="939800"/>
        <a:ext cx="1874787" cy="2819400"/>
      </dsp:txXfrm>
    </dsp:sp>
    <dsp:sp modelId="{698F460A-15EB-4594-8F12-E79B6B6D53CF}">
      <dsp:nvSpPr>
        <dsp:cNvPr id="0" name=""/>
        <dsp:cNvSpPr/>
      </dsp:nvSpPr>
      <dsp:spPr>
        <a:xfrm rot="16200000">
          <a:off x="569094" y="1412106"/>
          <a:ext cx="4699000" cy="1874787"/>
        </a:xfrm>
        <a:prstGeom prst="flowChartManualOperation">
          <a:avLst/>
        </a:prstGeom>
        <a:solidFill>
          <a:srgbClr val="00206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0650" tIns="0" rIns="119957" bIns="0" numCol="1" spcCol="1270" anchor="t" anchorCtr="0">
          <a:noAutofit/>
        </a:bodyPr>
        <a:lstStyle/>
        <a:p>
          <a:pPr marL="0" lvl="0" indent="0" algn="l" defTabSz="844550">
            <a:lnSpc>
              <a:spcPct val="90000"/>
            </a:lnSpc>
            <a:spcBef>
              <a:spcPct val="0"/>
            </a:spcBef>
            <a:spcAft>
              <a:spcPct val="35000"/>
            </a:spcAft>
            <a:buNone/>
          </a:pPr>
          <a:r>
            <a:rPr lang="en-US" sz="1900" b="1" kern="1200" dirty="0"/>
            <a:t>Discretionary Debarment – U.S. Federal</a:t>
          </a:r>
        </a:p>
        <a:p>
          <a:pPr marL="114300" lvl="1" indent="-114300" algn="l" defTabSz="666750">
            <a:lnSpc>
              <a:spcPct val="90000"/>
            </a:lnSpc>
            <a:spcBef>
              <a:spcPct val="0"/>
            </a:spcBef>
            <a:spcAft>
              <a:spcPct val="15000"/>
            </a:spcAft>
            <a:buChar char="•"/>
          </a:pPr>
          <a:r>
            <a:rPr lang="en-US" sz="1500" kern="1200" dirty="0"/>
            <a:t>Based on “present responsibility”:  focus on present status</a:t>
          </a:r>
        </a:p>
        <a:p>
          <a:pPr marL="114300" lvl="1" indent="-114300" algn="l" defTabSz="666750">
            <a:lnSpc>
              <a:spcPct val="90000"/>
            </a:lnSpc>
            <a:spcBef>
              <a:spcPct val="0"/>
            </a:spcBef>
            <a:spcAft>
              <a:spcPct val="15000"/>
            </a:spcAft>
            <a:buChar char="•"/>
          </a:pPr>
          <a:r>
            <a:rPr lang="en-US" sz="1500" kern="1200" dirty="0"/>
            <a:t>Debarment is a cross-government “meta-qualification” determination </a:t>
          </a:r>
        </a:p>
      </dsp:txBody>
      <dsp:txXfrm rot="5400000">
        <a:off x="1981200" y="939800"/>
        <a:ext cx="1874787" cy="2819400"/>
      </dsp:txXfrm>
    </dsp:sp>
  </dsp:spTree>
</dsp:drawing>
</file>

<file path=ppt/diagrams/drawing1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F0532BB-78B7-4614-B412-4E72BA2846CD}">
      <dsp:nvSpPr>
        <dsp:cNvPr id="0" name=""/>
        <dsp:cNvSpPr/>
      </dsp:nvSpPr>
      <dsp:spPr>
        <a:xfrm>
          <a:off x="1512371" y="0"/>
          <a:ext cx="4525963" cy="4525963"/>
        </a:xfrm>
        <a:prstGeom prst="triangl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D18C3750-AD98-4E92-9329-ADA50DC3C384}">
      <dsp:nvSpPr>
        <dsp:cNvPr id="0" name=""/>
        <dsp:cNvSpPr/>
      </dsp:nvSpPr>
      <dsp:spPr>
        <a:xfrm>
          <a:off x="3775352" y="455027"/>
          <a:ext cx="2941875" cy="1071380"/>
        </a:xfrm>
        <a:prstGeom prst="round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dirty="0"/>
            <a:t>“Credible Evidence”</a:t>
          </a:r>
        </a:p>
      </dsp:txBody>
      <dsp:txXfrm>
        <a:off x="3827652" y="507327"/>
        <a:ext cx="2837275" cy="966780"/>
      </dsp:txXfrm>
    </dsp:sp>
    <dsp:sp modelId="{80C2FEBA-27F6-43A9-896E-C076C4ADD7AC}">
      <dsp:nvSpPr>
        <dsp:cNvPr id="0" name=""/>
        <dsp:cNvSpPr/>
      </dsp:nvSpPr>
      <dsp:spPr>
        <a:xfrm>
          <a:off x="3775352" y="1660330"/>
          <a:ext cx="2941875" cy="1071380"/>
        </a:xfrm>
        <a:prstGeom prst="roundRect">
          <a:avLst/>
        </a:prstGeom>
        <a:solidFill>
          <a:srgbClr val="FFFF00">
            <a:alpha val="90000"/>
          </a:srgb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dirty="0"/>
            <a:t>Civil or Criminal Fraud, Bribe, Gratuity or Criminal Personal Conflict of Interest, or</a:t>
          </a:r>
        </a:p>
      </dsp:txBody>
      <dsp:txXfrm>
        <a:off x="3827652" y="1712630"/>
        <a:ext cx="2837275" cy="966780"/>
      </dsp:txXfrm>
    </dsp:sp>
    <dsp:sp modelId="{BAFAB8BA-85A0-49E7-9F2C-B7577D33ABB3}">
      <dsp:nvSpPr>
        <dsp:cNvPr id="0" name=""/>
        <dsp:cNvSpPr/>
      </dsp:nvSpPr>
      <dsp:spPr>
        <a:xfrm>
          <a:off x="3775352" y="2865632"/>
          <a:ext cx="2941875" cy="1071380"/>
        </a:xfrm>
        <a:prstGeom prst="roundRect">
          <a:avLst/>
        </a:prstGeom>
        <a:solidFill>
          <a:schemeClr val="accent6">
            <a:lumMod val="60000"/>
            <a:lumOff val="40000"/>
            <a:alpha val="9000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dirty="0"/>
            <a:t>“Significant Overpayment”</a:t>
          </a:r>
        </a:p>
      </dsp:txBody>
      <dsp:txXfrm>
        <a:off x="3827652" y="2917932"/>
        <a:ext cx="2837275" cy="966780"/>
      </dsp:txXfrm>
    </dsp:sp>
  </dsp:spTree>
</dsp:drawing>
</file>

<file path=ppt/diagrams/drawing1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20C60FE-212B-48A2-B9D7-7D72715F8512}">
      <dsp:nvSpPr>
        <dsp:cNvPr id="0" name=""/>
        <dsp:cNvSpPr/>
      </dsp:nvSpPr>
      <dsp:spPr>
        <a:xfrm>
          <a:off x="2032000" y="0"/>
          <a:ext cx="2032000" cy="2032000"/>
        </a:xfrm>
        <a:prstGeom prst="triangle">
          <a:avLst/>
        </a:prstGeom>
        <a:solidFill>
          <a:srgbClr val="C000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1300" kern="1200" dirty="0"/>
            <a:t>Disclose Investigation</a:t>
          </a:r>
        </a:p>
      </dsp:txBody>
      <dsp:txXfrm>
        <a:off x="2540000" y="1016000"/>
        <a:ext cx="1016000" cy="1016000"/>
      </dsp:txXfrm>
    </dsp:sp>
    <dsp:sp modelId="{339AE0BE-4A47-498A-9504-6AECC375CC03}">
      <dsp:nvSpPr>
        <dsp:cNvPr id="0" name=""/>
        <dsp:cNvSpPr/>
      </dsp:nvSpPr>
      <dsp:spPr>
        <a:xfrm>
          <a:off x="1016000" y="2032000"/>
          <a:ext cx="2032000" cy="2032000"/>
        </a:xfrm>
        <a:prstGeom prst="triangle">
          <a:avLst/>
        </a:prstGeom>
        <a:solidFill>
          <a:srgbClr val="0066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1300" kern="1200" dirty="0"/>
            <a:t>Avoid Debarment</a:t>
          </a:r>
        </a:p>
      </dsp:txBody>
      <dsp:txXfrm>
        <a:off x="1524000" y="3048000"/>
        <a:ext cx="1016000" cy="1016000"/>
      </dsp:txXfrm>
    </dsp:sp>
    <dsp:sp modelId="{45836877-5976-49D6-9191-1BA581720915}">
      <dsp:nvSpPr>
        <dsp:cNvPr id="0" name=""/>
        <dsp:cNvSpPr/>
      </dsp:nvSpPr>
      <dsp:spPr>
        <a:xfrm rot="10800000">
          <a:off x="2032000" y="2032000"/>
          <a:ext cx="2032000" cy="2032000"/>
        </a:xfrm>
        <a:prstGeom prst="triangle">
          <a:avLst/>
        </a:prstGeom>
        <a:solidFill>
          <a:srgbClr val="FFC0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1300" kern="1200" dirty="0">
              <a:solidFill>
                <a:schemeClr val="bg1"/>
              </a:solidFill>
            </a:rPr>
            <a:t>Past fraudulent, corrupt, collusive or </a:t>
          </a:r>
          <a:r>
            <a:rPr lang="en-US" sz="1300" kern="1200" dirty="0" err="1">
              <a:solidFill>
                <a:schemeClr val="bg1"/>
              </a:solidFill>
            </a:rPr>
            <a:t>coersive</a:t>
          </a:r>
          <a:r>
            <a:rPr lang="en-US" sz="1300" kern="1200" dirty="0">
              <a:solidFill>
                <a:schemeClr val="bg1"/>
              </a:solidFill>
            </a:rPr>
            <a:t> act</a:t>
          </a:r>
        </a:p>
      </dsp:txBody>
      <dsp:txXfrm rot="10800000">
        <a:off x="2540000" y="2032000"/>
        <a:ext cx="1016000" cy="1016000"/>
      </dsp:txXfrm>
    </dsp:sp>
    <dsp:sp modelId="{EEF31F2F-2987-48A2-A277-DE0FC3E999AD}">
      <dsp:nvSpPr>
        <dsp:cNvPr id="0" name=""/>
        <dsp:cNvSpPr/>
      </dsp:nvSpPr>
      <dsp:spPr>
        <a:xfrm>
          <a:off x="3048000" y="2032000"/>
          <a:ext cx="2032000" cy="2032000"/>
        </a:xfrm>
        <a:prstGeom prst="triangle">
          <a:avLst/>
        </a:prstGeom>
        <a:solidFill>
          <a:srgbClr val="0070C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1300" kern="1200" dirty="0"/>
            <a:t>Remain Anonymous</a:t>
          </a:r>
        </a:p>
      </dsp:txBody>
      <dsp:txXfrm>
        <a:off x="3556000" y="3048000"/>
        <a:ext cx="1016000" cy="1016000"/>
      </dsp:txXfrm>
    </dsp:sp>
  </dsp:spTree>
</dsp:drawing>
</file>

<file path=ppt/diagrams/drawing1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6F58985-47FE-452D-A665-95AEEA463432}">
      <dsp:nvSpPr>
        <dsp:cNvPr id="0" name=""/>
        <dsp:cNvSpPr/>
      </dsp:nvSpPr>
      <dsp:spPr>
        <a:xfrm>
          <a:off x="2838449" y="2228849"/>
          <a:ext cx="2724150" cy="2724150"/>
        </a:xfrm>
        <a:prstGeom prst="gear9">
          <a:avLst/>
        </a:prstGeom>
        <a:gradFill rotWithShape="0">
          <a:gsLst>
            <a:gs pos="0">
              <a:schemeClr val="accent5">
                <a:hueOff val="0"/>
                <a:satOff val="0"/>
                <a:lumOff val="0"/>
                <a:alphaOff val="0"/>
                <a:tint val="50000"/>
                <a:satMod val="300000"/>
              </a:schemeClr>
            </a:gs>
            <a:gs pos="35000">
              <a:schemeClr val="accent5">
                <a:hueOff val="0"/>
                <a:satOff val="0"/>
                <a:lumOff val="0"/>
                <a:alphaOff val="0"/>
                <a:tint val="37000"/>
                <a:satMod val="300000"/>
              </a:schemeClr>
            </a:gs>
            <a:gs pos="100000">
              <a:schemeClr val="accent5">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US" sz="1400" kern="1200" dirty="0"/>
            <a:t>Mandatory Disclosure</a:t>
          </a:r>
        </a:p>
      </dsp:txBody>
      <dsp:txXfrm>
        <a:off x="3386124" y="2866968"/>
        <a:ext cx="1628800" cy="1400269"/>
      </dsp:txXfrm>
    </dsp:sp>
    <dsp:sp modelId="{FB659CDC-234E-4F5C-9C51-394B4A84263F}">
      <dsp:nvSpPr>
        <dsp:cNvPr id="0" name=""/>
        <dsp:cNvSpPr/>
      </dsp:nvSpPr>
      <dsp:spPr>
        <a:xfrm>
          <a:off x="1253489" y="1584959"/>
          <a:ext cx="1981200" cy="1981200"/>
        </a:xfrm>
        <a:prstGeom prst="gear6">
          <a:avLst/>
        </a:prstGeom>
        <a:gradFill rotWithShape="0">
          <a:gsLst>
            <a:gs pos="0">
              <a:schemeClr val="accent5">
                <a:hueOff val="-4966938"/>
                <a:satOff val="19906"/>
                <a:lumOff val="4314"/>
                <a:alphaOff val="0"/>
                <a:tint val="50000"/>
                <a:satMod val="300000"/>
              </a:schemeClr>
            </a:gs>
            <a:gs pos="35000">
              <a:schemeClr val="accent5">
                <a:hueOff val="-4966938"/>
                <a:satOff val="19906"/>
                <a:lumOff val="4314"/>
                <a:alphaOff val="0"/>
                <a:tint val="37000"/>
                <a:satMod val="300000"/>
              </a:schemeClr>
            </a:gs>
            <a:gs pos="100000">
              <a:schemeClr val="accent5">
                <a:hueOff val="-4966938"/>
                <a:satOff val="19906"/>
                <a:lumOff val="4314"/>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US" sz="1400" kern="1200" dirty="0"/>
            <a:t>Voluntary Disclosure</a:t>
          </a:r>
        </a:p>
      </dsp:txBody>
      <dsp:txXfrm>
        <a:off x="1752262" y="2086747"/>
        <a:ext cx="983654" cy="977624"/>
      </dsp:txXfrm>
    </dsp:sp>
    <dsp:sp modelId="{3788A2E7-7FAF-482E-ABFF-E4D484EAE70B}">
      <dsp:nvSpPr>
        <dsp:cNvPr id="0" name=""/>
        <dsp:cNvSpPr/>
      </dsp:nvSpPr>
      <dsp:spPr>
        <a:xfrm rot="20700000">
          <a:off x="2363164" y="218134"/>
          <a:ext cx="1941171" cy="1941171"/>
        </a:xfrm>
        <a:prstGeom prst="gear6">
          <a:avLst/>
        </a:prstGeom>
        <a:gradFill rotWithShape="0">
          <a:gsLst>
            <a:gs pos="0">
              <a:schemeClr val="accent5">
                <a:hueOff val="-9933876"/>
                <a:satOff val="39811"/>
                <a:lumOff val="8628"/>
                <a:alphaOff val="0"/>
                <a:tint val="50000"/>
                <a:satMod val="300000"/>
              </a:schemeClr>
            </a:gs>
            <a:gs pos="35000">
              <a:schemeClr val="accent5">
                <a:hueOff val="-9933876"/>
                <a:satOff val="39811"/>
                <a:lumOff val="8628"/>
                <a:alphaOff val="0"/>
                <a:tint val="37000"/>
                <a:satMod val="300000"/>
              </a:schemeClr>
            </a:gs>
            <a:gs pos="100000">
              <a:schemeClr val="accent5">
                <a:hueOff val="-9933876"/>
                <a:satOff val="39811"/>
                <a:lumOff val="8628"/>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US" sz="1400" kern="1200" dirty="0"/>
            <a:t>Whistleblower</a:t>
          </a:r>
        </a:p>
      </dsp:txBody>
      <dsp:txXfrm rot="-20700000">
        <a:off x="2788919" y="643889"/>
        <a:ext cx="1089660" cy="1089660"/>
      </dsp:txXfrm>
    </dsp:sp>
    <dsp:sp modelId="{F946BEB8-2577-49A2-A6C0-1841A6F7F437}">
      <dsp:nvSpPr>
        <dsp:cNvPr id="0" name=""/>
        <dsp:cNvSpPr/>
      </dsp:nvSpPr>
      <dsp:spPr>
        <a:xfrm>
          <a:off x="2637398" y="1812976"/>
          <a:ext cx="3486912" cy="3486912"/>
        </a:xfrm>
        <a:prstGeom prst="circularArrow">
          <a:avLst>
            <a:gd name="adj1" fmla="val 4688"/>
            <a:gd name="adj2" fmla="val 299029"/>
            <a:gd name="adj3" fmla="val 2531722"/>
            <a:gd name="adj4" fmla="val 15828163"/>
            <a:gd name="adj5" fmla="val 5469"/>
          </a:avLst>
        </a:prstGeom>
        <a:gradFill rotWithShape="0">
          <a:gsLst>
            <a:gs pos="0">
              <a:schemeClr val="accent5">
                <a:hueOff val="0"/>
                <a:satOff val="0"/>
                <a:lumOff val="0"/>
                <a:alphaOff val="0"/>
                <a:tint val="50000"/>
                <a:satMod val="300000"/>
              </a:schemeClr>
            </a:gs>
            <a:gs pos="35000">
              <a:schemeClr val="accent5">
                <a:hueOff val="0"/>
                <a:satOff val="0"/>
                <a:lumOff val="0"/>
                <a:alphaOff val="0"/>
                <a:tint val="37000"/>
                <a:satMod val="300000"/>
              </a:schemeClr>
            </a:gs>
            <a:gs pos="100000">
              <a:schemeClr val="accent5">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dsp:spPr>
      <dsp:style>
        <a:lnRef idx="0">
          <a:scrgbClr r="0" g="0" b="0"/>
        </a:lnRef>
        <a:fillRef idx="2">
          <a:scrgbClr r="0" g="0" b="0"/>
        </a:fillRef>
        <a:effectRef idx="1">
          <a:scrgbClr r="0" g="0" b="0"/>
        </a:effectRef>
        <a:fontRef idx="minor">
          <a:schemeClr val="dk1"/>
        </a:fontRef>
      </dsp:style>
    </dsp:sp>
    <dsp:sp modelId="{42046126-628A-4C66-849B-C14FC848705D}">
      <dsp:nvSpPr>
        <dsp:cNvPr id="0" name=""/>
        <dsp:cNvSpPr/>
      </dsp:nvSpPr>
      <dsp:spPr>
        <a:xfrm>
          <a:off x="902623" y="1143339"/>
          <a:ext cx="2533459" cy="2533459"/>
        </a:xfrm>
        <a:prstGeom prst="leftCircularArrow">
          <a:avLst>
            <a:gd name="adj1" fmla="val 6452"/>
            <a:gd name="adj2" fmla="val 429999"/>
            <a:gd name="adj3" fmla="val 10489124"/>
            <a:gd name="adj4" fmla="val 14837806"/>
            <a:gd name="adj5" fmla="val 7527"/>
          </a:avLst>
        </a:prstGeom>
        <a:gradFill rotWithShape="0">
          <a:gsLst>
            <a:gs pos="0">
              <a:schemeClr val="accent5">
                <a:hueOff val="-4966938"/>
                <a:satOff val="19906"/>
                <a:lumOff val="4314"/>
                <a:alphaOff val="0"/>
                <a:tint val="50000"/>
                <a:satMod val="300000"/>
              </a:schemeClr>
            </a:gs>
            <a:gs pos="35000">
              <a:schemeClr val="accent5">
                <a:hueOff val="-4966938"/>
                <a:satOff val="19906"/>
                <a:lumOff val="4314"/>
                <a:alphaOff val="0"/>
                <a:tint val="37000"/>
                <a:satMod val="300000"/>
              </a:schemeClr>
            </a:gs>
            <a:gs pos="100000">
              <a:schemeClr val="accent5">
                <a:hueOff val="-4966938"/>
                <a:satOff val="19906"/>
                <a:lumOff val="4314"/>
                <a:alphaOff val="0"/>
                <a:tint val="15000"/>
                <a:satMod val="350000"/>
              </a:schemeClr>
            </a:gs>
          </a:gsLst>
          <a:lin ang="16200000" scaled="1"/>
        </a:gradFill>
        <a:ln>
          <a:noFill/>
        </a:ln>
        <a:effectLst>
          <a:outerShdw blurRad="40000" dist="20000" dir="5400000" rotWithShape="0">
            <a:srgbClr val="000000">
              <a:alpha val="38000"/>
            </a:srgbClr>
          </a:outerShdw>
        </a:effectLst>
      </dsp:spPr>
      <dsp:style>
        <a:lnRef idx="0">
          <a:scrgbClr r="0" g="0" b="0"/>
        </a:lnRef>
        <a:fillRef idx="2">
          <a:scrgbClr r="0" g="0" b="0"/>
        </a:fillRef>
        <a:effectRef idx="1">
          <a:scrgbClr r="0" g="0" b="0"/>
        </a:effectRef>
        <a:fontRef idx="minor">
          <a:schemeClr val="dk1"/>
        </a:fontRef>
      </dsp:style>
    </dsp:sp>
    <dsp:sp modelId="{23A68D34-2FBE-4005-ADA7-D84081A3905C}">
      <dsp:nvSpPr>
        <dsp:cNvPr id="0" name=""/>
        <dsp:cNvSpPr/>
      </dsp:nvSpPr>
      <dsp:spPr>
        <a:xfrm>
          <a:off x="1914151" y="-210311"/>
          <a:ext cx="2731579" cy="2731579"/>
        </a:xfrm>
        <a:prstGeom prst="circularArrow">
          <a:avLst>
            <a:gd name="adj1" fmla="val 5984"/>
            <a:gd name="adj2" fmla="val 394124"/>
            <a:gd name="adj3" fmla="val 13313824"/>
            <a:gd name="adj4" fmla="val 10508221"/>
            <a:gd name="adj5" fmla="val 6981"/>
          </a:avLst>
        </a:prstGeom>
        <a:gradFill rotWithShape="0">
          <a:gsLst>
            <a:gs pos="0">
              <a:schemeClr val="accent5">
                <a:hueOff val="-9933876"/>
                <a:satOff val="39811"/>
                <a:lumOff val="8628"/>
                <a:alphaOff val="0"/>
                <a:tint val="50000"/>
                <a:satMod val="300000"/>
              </a:schemeClr>
            </a:gs>
            <a:gs pos="35000">
              <a:schemeClr val="accent5">
                <a:hueOff val="-9933876"/>
                <a:satOff val="39811"/>
                <a:lumOff val="8628"/>
                <a:alphaOff val="0"/>
                <a:tint val="37000"/>
                <a:satMod val="300000"/>
              </a:schemeClr>
            </a:gs>
            <a:gs pos="100000">
              <a:schemeClr val="accent5">
                <a:hueOff val="-9933876"/>
                <a:satOff val="39811"/>
                <a:lumOff val="8628"/>
                <a:alphaOff val="0"/>
                <a:tint val="15000"/>
                <a:satMod val="350000"/>
              </a:schemeClr>
            </a:gs>
          </a:gsLst>
          <a:lin ang="16200000" scaled="1"/>
        </a:gradFill>
        <a:ln>
          <a:noFill/>
        </a:ln>
        <a:effectLst>
          <a:outerShdw blurRad="40000" dist="20000" dir="5400000" rotWithShape="0">
            <a:srgbClr val="000000">
              <a:alpha val="38000"/>
            </a:srgbClr>
          </a:outerShdw>
        </a:effectLst>
      </dsp:spPr>
      <dsp:style>
        <a:lnRef idx="0">
          <a:scrgbClr r="0" g="0" b="0"/>
        </a:lnRef>
        <a:fillRef idx="2">
          <a:scrgbClr r="0" g="0" b="0"/>
        </a:fillRef>
        <a:effectRef idx="1">
          <a:scrgbClr r="0" g="0" b="0"/>
        </a:effectRef>
        <a:fontRef idx="minor">
          <a:schemeClr val="dk1"/>
        </a:fontRef>
      </dsp:style>
    </dsp:sp>
  </dsp:spTree>
</dsp:drawing>
</file>

<file path=ppt/diagrams/drawing1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6F58985-47FE-452D-A665-95AEEA463432}">
      <dsp:nvSpPr>
        <dsp:cNvPr id="0" name=""/>
        <dsp:cNvSpPr/>
      </dsp:nvSpPr>
      <dsp:spPr>
        <a:xfrm>
          <a:off x="2838449" y="2228849"/>
          <a:ext cx="2724150" cy="2724150"/>
        </a:xfrm>
        <a:prstGeom prst="gear9">
          <a:avLst/>
        </a:prstGeom>
        <a:gradFill rotWithShape="0">
          <a:gsLst>
            <a:gs pos="0">
              <a:schemeClr val="accent5">
                <a:hueOff val="0"/>
                <a:satOff val="0"/>
                <a:lumOff val="0"/>
                <a:alphaOff val="0"/>
                <a:tint val="50000"/>
                <a:satMod val="300000"/>
              </a:schemeClr>
            </a:gs>
            <a:gs pos="35000">
              <a:schemeClr val="accent5">
                <a:hueOff val="0"/>
                <a:satOff val="0"/>
                <a:lumOff val="0"/>
                <a:alphaOff val="0"/>
                <a:tint val="37000"/>
                <a:satMod val="300000"/>
              </a:schemeClr>
            </a:gs>
            <a:gs pos="100000">
              <a:schemeClr val="accent5">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US" sz="1400" kern="1200" dirty="0"/>
            <a:t>Mandatory Disclosure</a:t>
          </a:r>
        </a:p>
      </dsp:txBody>
      <dsp:txXfrm>
        <a:off x="3386124" y="2866968"/>
        <a:ext cx="1628800" cy="1400269"/>
      </dsp:txXfrm>
    </dsp:sp>
    <dsp:sp modelId="{FB659CDC-234E-4F5C-9C51-394B4A84263F}">
      <dsp:nvSpPr>
        <dsp:cNvPr id="0" name=""/>
        <dsp:cNvSpPr/>
      </dsp:nvSpPr>
      <dsp:spPr>
        <a:xfrm>
          <a:off x="1253489" y="1584959"/>
          <a:ext cx="1981200" cy="1981200"/>
        </a:xfrm>
        <a:prstGeom prst="gear6">
          <a:avLst/>
        </a:prstGeom>
        <a:gradFill rotWithShape="0">
          <a:gsLst>
            <a:gs pos="0">
              <a:schemeClr val="accent5">
                <a:hueOff val="-4966938"/>
                <a:satOff val="19906"/>
                <a:lumOff val="4314"/>
                <a:alphaOff val="0"/>
                <a:tint val="50000"/>
                <a:satMod val="300000"/>
              </a:schemeClr>
            </a:gs>
            <a:gs pos="35000">
              <a:schemeClr val="accent5">
                <a:hueOff val="-4966938"/>
                <a:satOff val="19906"/>
                <a:lumOff val="4314"/>
                <a:alphaOff val="0"/>
                <a:tint val="37000"/>
                <a:satMod val="300000"/>
              </a:schemeClr>
            </a:gs>
            <a:gs pos="100000">
              <a:schemeClr val="accent5">
                <a:hueOff val="-4966938"/>
                <a:satOff val="19906"/>
                <a:lumOff val="4314"/>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US" sz="1400" kern="1200" dirty="0"/>
            <a:t>Voluntary Disclosure</a:t>
          </a:r>
        </a:p>
      </dsp:txBody>
      <dsp:txXfrm>
        <a:off x="1752262" y="2086747"/>
        <a:ext cx="983654" cy="977624"/>
      </dsp:txXfrm>
    </dsp:sp>
    <dsp:sp modelId="{3788A2E7-7FAF-482E-ABFF-E4D484EAE70B}">
      <dsp:nvSpPr>
        <dsp:cNvPr id="0" name=""/>
        <dsp:cNvSpPr/>
      </dsp:nvSpPr>
      <dsp:spPr>
        <a:xfrm rot="20700000">
          <a:off x="2363164" y="218134"/>
          <a:ext cx="1941171" cy="1941171"/>
        </a:xfrm>
        <a:prstGeom prst="gear6">
          <a:avLst/>
        </a:prstGeom>
        <a:gradFill rotWithShape="0">
          <a:gsLst>
            <a:gs pos="0">
              <a:schemeClr val="accent5">
                <a:hueOff val="-9933876"/>
                <a:satOff val="39811"/>
                <a:lumOff val="8628"/>
                <a:alphaOff val="0"/>
                <a:tint val="50000"/>
                <a:satMod val="300000"/>
              </a:schemeClr>
            </a:gs>
            <a:gs pos="35000">
              <a:schemeClr val="accent5">
                <a:hueOff val="-9933876"/>
                <a:satOff val="39811"/>
                <a:lumOff val="8628"/>
                <a:alphaOff val="0"/>
                <a:tint val="37000"/>
                <a:satMod val="300000"/>
              </a:schemeClr>
            </a:gs>
            <a:gs pos="100000">
              <a:schemeClr val="accent5">
                <a:hueOff val="-9933876"/>
                <a:satOff val="39811"/>
                <a:lumOff val="8628"/>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US" sz="1400" kern="1200" dirty="0"/>
            <a:t>Whistleblower</a:t>
          </a:r>
        </a:p>
      </dsp:txBody>
      <dsp:txXfrm rot="-20700000">
        <a:off x="2788919" y="643889"/>
        <a:ext cx="1089660" cy="1089660"/>
      </dsp:txXfrm>
    </dsp:sp>
    <dsp:sp modelId="{F946BEB8-2577-49A2-A6C0-1841A6F7F437}">
      <dsp:nvSpPr>
        <dsp:cNvPr id="0" name=""/>
        <dsp:cNvSpPr/>
      </dsp:nvSpPr>
      <dsp:spPr>
        <a:xfrm>
          <a:off x="2637398" y="1812976"/>
          <a:ext cx="3486912" cy="3486912"/>
        </a:xfrm>
        <a:prstGeom prst="circularArrow">
          <a:avLst>
            <a:gd name="adj1" fmla="val 4688"/>
            <a:gd name="adj2" fmla="val 299029"/>
            <a:gd name="adj3" fmla="val 2531722"/>
            <a:gd name="adj4" fmla="val 15828163"/>
            <a:gd name="adj5" fmla="val 5469"/>
          </a:avLst>
        </a:prstGeom>
        <a:gradFill rotWithShape="0">
          <a:gsLst>
            <a:gs pos="0">
              <a:schemeClr val="accent5">
                <a:hueOff val="0"/>
                <a:satOff val="0"/>
                <a:lumOff val="0"/>
                <a:alphaOff val="0"/>
                <a:tint val="50000"/>
                <a:satMod val="300000"/>
              </a:schemeClr>
            </a:gs>
            <a:gs pos="35000">
              <a:schemeClr val="accent5">
                <a:hueOff val="0"/>
                <a:satOff val="0"/>
                <a:lumOff val="0"/>
                <a:alphaOff val="0"/>
                <a:tint val="37000"/>
                <a:satMod val="300000"/>
              </a:schemeClr>
            </a:gs>
            <a:gs pos="100000">
              <a:schemeClr val="accent5">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dsp:spPr>
      <dsp:style>
        <a:lnRef idx="0">
          <a:scrgbClr r="0" g="0" b="0"/>
        </a:lnRef>
        <a:fillRef idx="2">
          <a:scrgbClr r="0" g="0" b="0"/>
        </a:fillRef>
        <a:effectRef idx="1">
          <a:scrgbClr r="0" g="0" b="0"/>
        </a:effectRef>
        <a:fontRef idx="minor">
          <a:schemeClr val="dk1"/>
        </a:fontRef>
      </dsp:style>
    </dsp:sp>
    <dsp:sp modelId="{42046126-628A-4C66-849B-C14FC848705D}">
      <dsp:nvSpPr>
        <dsp:cNvPr id="0" name=""/>
        <dsp:cNvSpPr/>
      </dsp:nvSpPr>
      <dsp:spPr>
        <a:xfrm>
          <a:off x="902623" y="1143339"/>
          <a:ext cx="2533459" cy="2533459"/>
        </a:xfrm>
        <a:prstGeom prst="leftCircularArrow">
          <a:avLst>
            <a:gd name="adj1" fmla="val 6452"/>
            <a:gd name="adj2" fmla="val 429999"/>
            <a:gd name="adj3" fmla="val 10489124"/>
            <a:gd name="adj4" fmla="val 14837806"/>
            <a:gd name="adj5" fmla="val 7527"/>
          </a:avLst>
        </a:prstGeom>
        <a:gradFill rotWithShape="0">
          <a:gsLst>
            <a:gs pos="0">
              <a:schemeClr val="accent5">
                <a:hueOff val="-4966938"/>
                <a:satOff val="19906"/>
                <a:lumOff val="4314"/>
                <a:alphaOff val="0"/>
                <a:tint val="50000"/>
                <a:satMod val="300000"/>
              </a:schemeClr>
            </a:gs>
            <a:gs pos="35000">
              <a:schemeClr val="accent5">
                <a:hueOff val="-4966938"/>
                <a:satOff val="19906"/>
                <a:lumOff val="4314"/>
                <a:alphaOff val="0"/>
                <a:tint val="37000"/>
                <a:satMod val="300000"/>
              </a:schemeClr>
            </a:gs>
            <a:gs pos="100000">
              <a:schemeClr val="accent5">
                <a:hueOff val="-4966938"/>
                <a:satOff val="19906"/>
                <a:lumOff val="4314"/>
                <a:alphaOff val="0"/>
                <a:tint val="15000"/>
                <a:satMod val="350000"/>
              </a:schemeClr>
            </a:gs>
          </a:gsLst>
          <a:lin ang="16200000" scaled="1"/>
        </a:gradFill>
        <a:ln>
          <a:noFill/>
        </a:ln>
        <a:effectLst>
          <a:outerShdw blurRad="40000" dist="20000" dir="5400000" rotWithShape="0">
            <a:srgbClr val="000000">
              <a:alpha val="38000"/>
            </a:srgbClr>
          </a:outerShdw>
        </a:effectLst>
      </dsp:spPr>
      <dsp:style>
        <a:lnRef idx="0">
          <a:scrgbClr r="0" g="0" b="0"/>
        </a:lnRef>
        <a:fillRef idx="2">
          <a:scrgbClr r="0" g="0" b="0"/>
        </a:fillRef>
        <a:effectRef idx="1">
          <a:scrgbClr r="0" g="0" b="0"/>
        </a:effectRef>
        <a:fontRef idx="minor">
          <a:schemeClr val="dk1"/>
        </a:fontRef>
      </dsp:style>
    </dsp:sp>
    <dsp:sp modelId="{23A68D34-2FBE-4005-ADA7-D84081A3905C}">
      <dsp:nvSpPr>
        <dsp:cNvPr id="0" name=""/>
        <dsp:cNvSpPr/>
      </dsp:nvSpPr>
      <dsp:spPr>
        <a:xfrm>
          <a:off x="1914151" y="-210311"/>
          <a:ext cx="2731579" cy="2731579"/>
        </a:xfrm>
        <a:prstGeom prst="circularArrow">
          <a:avLst>
            <a:gd name="adj1" fmla="val 5984"/>
            <a:gd name="adj2" fmla="val 394124"/>
            <a:gd name="adj3" fmla="val 13313824"/>
            <a:gd name="adj4" fmla="val 10508221"/>
            <a:gd name="adj5" fmla="val 6981"/>
          </a:avLst>
        </a:prstGeom>
        <a:gradFill rotWithShape="0">
          <a:gsLst>
            <a:gs pos="0">
              <a:schemeClr val="accent5">
                <a:hueOff val="-9933876"/>
                <a:satOff val="39811"/>
                <a:lumOff val="8628"/>
                <a:alphaOff val="0"/>
                <a:tint val="50000"/>
                <a:satMod val="300000"/>
              </a:schemeClr>
            </a:gs>
            <a:gs pos="35000">
              <a:schemeClr val="accent5">
                <a:hueOff val="-9933876"/>
                <a:satOff val="39811"/>
                <a:lumOff val="8628"/>
                <a:alphaOff val="0"/>
                <a:tint val="37000"/>
                <a:satMod val="300000"/>
              </a:schemeClr>
            </a:gs>
            <a:gs pos="100000">
              <a:schemeClr val="accent5">
                <a:hueOff val="-9933876"/>
                <a:satOff val="39811"/>
                <a:lumOff val="8628"/>
                <a:alphaOff val="0"/>
                <a:tint val="15000"/>
                <a:satMod val="350000"/>
              </a:schemeClr>
            </a:gs>
          </a:gsLst>
          <a:lin ang="16200000" scaled="1"/>
        </a:gradFill>
        <a:ln>
          <a:noFill/>
        </a:ln>
        <a:effectLst>
          <a:outerShdw blurRad="40000" dist="20000" dir="5400000" rotWithShape="0">
            <a:srgbClr val="000000">
              <a:alpha val="38000"/>
            </a:srgbClr>
          </a:outerShdw>
        </a:effectLst>
      </dsp:spPr>
      <dsp:style>
        <a:lnRef idx="0">
          <a:scrgbClr r="0" g="0" b="0"/>
        </a:lnRef>
        <a:fillRef idx="2">
          <a:scrgbClr r="0" g="0" b="0"/>
        </a:fillRef>
        <a:effectRef idx="1">
          <a:scrgbClr r="0" g="0" b="0"/>
        </a:effectRef>
        <a:fontRef idx="minor">
          <a:schemeClr val="dk1"/>
        </a:fontRef>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B104E11-2787-4C7E-B4AE-1667BE79EE9C}">
      <dsp:nvSpPr>
        <dsp:cNvPr id="0" name=""/>
        <dsp:cNvSpPr/>
      </dsp:nvSpPr>
      <dsp:spPr>
        <a:xfrm>
          <a:off x="533440" y="0"/>
          <a:ext cx="8128000" cy="5080000"/>
        </a:xfrm>
        <a:prstGeom prst="swooshArrow">
          <a:avLst>
            <a:gd name="adj1" fmla="val 25000"/>
            <a:gd name="adj2" fmla="val 25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48C5DEF3-054F-44E8-84E4-70E7CA699B19}">
      <dsp:nvSpPr>
        <dsp:cNvPr id="0" name=""/>
        <dsp:cNvSpPr/>
      </dsp:nvSpPr>
      <dsp:spPr>
        <a:xfrm>
          <a:off x="1540256" y="3506216"/>
          <a:ext cx="211328" cy="211328"/>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7E890501-628E-4676-AF9E-647504D37C30}">
      <dsp:nvSpPr>
        <dsp:cNvPr id="0" name=""/>
        <dsp:cNvSpPr/>
      </dsp:nvSpPr>
      <dsp:spPr>
        <a:xfrm>
          <a:off x="1645920" y="3611880"/>
          <a:ext cx="1893824" cy="14681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1978" tIns="0" rIns="0" bIns="0" numCol="1" spcCol="1270" anchor="t" anchorCtr="0">
          <a:noAutofit/>
        </a:bodyPr>
        <a:lstStyle/>
        <a:p>
          <a:pPr marL="0" lvl="0" indent="0" algn="l" defTabSz="1289050">
            <a:lnSpc>
              <a:spcPct val="90000"/>
            </a:lnSpc>
            <a:spcBef>
              <a:spcPct val="0"/>
            </a:spcBef>
            <a:spcAft>
              <a:spcPct val="35000"/>
            </a:spcAft>
            <a:buNone/>
          </a:pPr>
          <a:r>
            <a:rPr lang="en-US" sz="2900" b="1" kern="1200" dirty="0">
              <a:solidFill>
                <a:srgbClr val="FFC000"/>
              </a:solidFill>
            </a:rPr>
            <a:t>Political</a:t>
          </a:r>
        </a:p>
      </dsp:txBody>
      <dsp:txXfrm>
        <a:off x="1645920" y="3611880"/>
        <a:ext cx="1893824" cy="1468120"/>
      </dsp:txXfrm>
    </dsp:sp>
    <dsp:sp modelId="{7DEB2203-F6FF-41F8-B14E-97EF5CEDA6EC}">
      <dsp:nvSpPr>
        <dsp:cNvPr id="0" name=""/>
        <dsp:cNvSpPr/>
      </dsp:nvSpPr>
      <dsp:spPr>
        <a:xfrm>
          <a:off x="3405632" y="2125471"/>
          <a:ext cx="382016" cy="382016"/>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43D7CA39-7FB9-486D-9A7A-69FD3E639A28}">
      <dsp:nvSpPr>
        <dsp:cNvPr id="0" name=""/>
        <dsp:cNvSpPr/>
      </dsp:nvSpPr>
      <dsp:spPr>
        <a:xfrm>
          <a:off x="3484356" y="2316480"/>
          <a:ext cx="1950720" cy="27635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02422" tIns="0" rIns="0" bIns="0" numCol="1" spcCol="1270" anchor="t" anchorCtr="0">
          <a:noAutofit/>
        </a:bodyPr>
        <a:lstStyle/>
        <a:p>
          <a:pPr marL="0" lvl="0" indent="0" algn="l" defTabSz="1289050">
            <a:lnSpc>
              <a:spcPct val="90000"/>
            </a:lnSpc>
            <a:spcBef>
              <a:spcPct val="0"/>
            </a:spcBef>
            <a:spcAft>
              <a:spcPct val="35000"/>
            </a:spcAft>
            <a:buNone/>
          </a:pPr>
          <a:endParaRPr lang="en-US" sz="2900" b="1" kern="1200" dirty="0">
            <a:solidFill>
              <a:srgbClr val="FFC000"/>
            </a:solidFill>
          </a:endParaRPr>
        </a:p>
        <a:p>
          <a:pPr marL="0" lvl="0" indent="0" algn="l" defTabSz="1289050">
            <a:lnSpc>
              <a:spcPct val="90000"/>
            </a:lnSpc>
            <a:spcBef>
              <a:spcPct val="0"/>
            </a:spcBef>
            <a:spcAft>
              <a:spcPct val="35000"/>
            </a:spcAft>
            <a:buNone/>
          </a:pPr>
          <a:r>
            <a:rPr lang="en-US" sz="2900" b="1" kern="1200" dirty="0" err="1">
              <a:solidFill>
                <a:srgbClr val="FFC000"/>
              </a:solidFill>
            </a:rPr>
            <a:t>EcoLabel</a:t>
          </a:r>
          <a:endParaRPr lang="en-US" sz="2900" b="1" kern="1200" dirty="0">
            <a:solidFill>
              <a:srgbClr val="FFC000"/>
            </a:solidFill>
          </a:endParaRPr>
        </a:p>
      </dsp:txBody>
      <dsp:txXfrm>
        <a:off x="3484356" y="2316480"/>
        <a:ext cx="1950720" cy="2763520"/>
      </dsp:txXfrm>
    </dsp:sp>
    <dsp:sp modelId="{BED482F4-94AD-49DD-9414-8C4D494F4F45}">
      <dsp:nvSpPr>
        <dsp:cNvPr id="0" name=""/>
        <dsp:cNvSpPr/>
      </dsp:nvSpPr>
      <dsp:spPr>
        <a:xfrm>
          <a:off x="5648960" y="1285239"/>
          <a:ext cx="528320" cy="528320"/>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B7016493-4F90-4BF9-9C1A-5DDDC72D68E2}">
      <dsp:nvSpPr>
        <dsp:cNvPr id="0" name=""/>
        <dsp:cNvSpPr/>
      </dsp:nvSpPr>
      <dsp:spPr>
        <a:xfrm>
          <a:off x="5867395" y="1549399"/>
          <a:ext cx="1950720" cy="35306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79946" tIns="0" rIns="0" bIns="0" numCol="1" spcCol="1270" anchor="t" anchorCtr="0">
          <a:noAutofit/>
        </a:bodyPr>
        <a:lstStyle/>
        <a:p>
          <a:pPr marL="0" lvl="0" indent="0" algn="l" defTabSz="1289050">
            <a:lnSpc>
              <a:spcPct val="90000"/>
            </a:lnSpc>
            <a:spcBef>
              <a:spcPct val="0"/>
            </a:spcBef>
            <a:spcAft>
              <a:spcPct val="35000"/>
            </a:spcAft>
            <a:buNone/>
          </a:pPr>
          <a:endParaRPr lang="en-US" sz="2900" b="1" kern="1200" dirty="0">
            <a:solidFill>
              <a:srgbClr val="FFC000"/>
            </a:solidFill>
          </a:endParaRPr>
        </a:p>
        <a:p>
          <a:pPr marL="0" lvl="0" indent="0" algn="l" defTabSz="1289050">
            <a:lnSpc>
              <a:spcPct val="90000"/>
            </a:lnSpc>
            <a:spcBef>
              <a:spcPct val="0"/>
            </a:spcBef>
            <a:spcAft>
              <a:spcPct val="35000"/>
            </a:spcAft>
            <a:buNone/>
          </a:pPr>
          <a:r>
            <a:rPr lang="it-IT" sz="2900" b="1" kern="1200" dirty="0">
              <a:solidFill>
                <a:srgbClr val="FFC000"/>
              </a:solidFill>
            </a:rPr>
            <a:t>Carbon </a:t>
          </a:r>
          <a:r>
            <a:rPr lang="it-IT" sz="2900" b="1" kern="1200" dirty="0" err="1">
              <a:solidFill>
                <a:srgbClr val="FFC000"/>
              </a:solidFill>
            </a:rPr>
            <a:t>Footprint</a:t>
          </a:r>
          <a:r>
            <a:rPr lang="it-IT" sz="2900" b="1" kern="1200" dirty="0">
              <a:solidFill>
                <a:srgbClr val="FFC000"/>
              </a:solidFill>
            </a:rPr>
            <a:t> </a:t>
          </a:r>
          <a:r>
            <a:rPr lang="it-IT" sz="2900" b="1" kern="1200" dirty="0" err="1">
              <a:solidFill>
                <a:srgbClr val="FFC000"/>
              </a:solidFill>
            </a:rPr>
            <a:t>as</a:t>
          </a:r>
          <a:r>
            <a:rPr lang="it-IT" sz="2900" b="1" kern="1200" dirty="0">
              <a:solidFill>
                <a:srgbClr val="FFC000"/>
              </a:solidFill>
            </a:rPr>
            <a:t> Evaluation </a:t>
          </a:r>
          <a:r>
            <a:rPr lang="it-IT" sz="2900" b="1" kern="1200" dirty="0" err="1">
              <a:solidFill>
                <a:srgbClr val="FFC000"/>
              </a:solidFill>
            </a:rPr>
            <a:t>Factor</a:t>
          </a:r>
          <a:endParaRPr lang="en-US" sz="2900" b="1" kern="1200" dirty="0">
            <a:solidFill>
              <a:srgbClr val="FFC000"/>
            </a:solidFill>
          </a:endParaRPr>
        </a:p>
      </dsp:txBody>
      <dsp:txXfrm>
        <a:off x="5867395" y="1549399"/>
        <a:ext cx="1950720" cy="3530600"/>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9AF53DB-6A49-40F8-92E2-1D2EF15526E3}">
      <dsp:nvSpPr>
        <dsp:cNvPr id="0" name=""/>
        <dsp:cNvSpPr/>
      </dsp:nvSpPr>
      <dsp:spPr>
        <a:xfrm>
          <a:off x="7701" y="774600"/>
          <a:ext cx="2301999" cy="1381199"/>
        </a:xfrm>
        <a:prstGeom prst="roundRect">
          <a:avLst>
            <a:gd name="adj" fmla="val 10000"/>
          </a:avLst>
        </a:prstGeom>
        <a:solidFill>
          <a:srgbClr val="C0C25E"/>
        </a:solidFill>
        <a:ln w="127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ctr" defTabSz="1155700">
            <a:lnSpc>
              <a:spcPct val="90000"/>
            </a:lnSpc>
            <a:spcBef>
              <a:spcPct val="0"/>
            </a:spcBef>
            <a:spcAft>
              <a:spcPct val="35000"/>
            </a:spcAft>
            <a:buNone/>
          </a:pPr>
          <a:r>
            <a:rPr lang="en-US" sz="2600" b="1" kern="1200" dirty="0"/>
            <a:t>Cybersecurity Defense</a:t>
          </a:r>
        </a:p>
      </dsp:txBody>
      <dsp:txXfrm>
        <a:off x="48155" y="815054"/>
        <a:ext cx="2221091" cy="1300291"/>
      </dsp:txXfrm>
    </dsp:sp>
    <dsp:sp modelId="{A2DA2B4C-C604-4C8D-912C-D33AF92D1929}">
      <dsp:nvSpPr>
        <dsp:cNvPr id="0" name=""/>
        <dsp:cNvSpPr/>
      </dsp:nvSpPr>
      <dsp:spPr>
        <a:xfrm>
          <a:off x="2512276" y="1179752"/>
          <a:ext cx="488023" cy="570895"/>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933450">
            <a:lnSpc>
              <a:spcPct val="90000"/>
            </a:lnSpc>
            <a:spcBef>
              <a:spcPct val="0"/>
            </a:spcBef>
            <a:spcAft>
              <a:spcPct val="35000"/>
            </a:spcAft>
            <a:buNone/>
          </a:pPr>
          <a:endParaRPr lang="en-US" sz="2100" kern="1200"/>
        </a:p>
      </dsp:txBody>
      <dsp:txXfrm>
        <a:off x="2512276" y="1293931"/>
        <a:ext cx="341616" cy="342537"/>
      </dsp:txXfrm>
    </dsp:sp>
    <dsp:sp modelId="{78615F8F-91E1-446B-9AF4-3E55BBA848CF}">
      <dsp:nvSpPr>
        <dsp:cNvPr id="0" name=""/>
        <dsp:cNvSpPr/>
      </dsp:nvSpPr>
      <dsp:spPr>
        <a:xfrm>
          <a:off x="3230500" y="774600"/>
          <a:ext cx="2301999" cy="1381199"/>
        </a:xfrm>
        <a:prstGeom prst="roundRect">
          <a:avLst>
            <a:gd name="adj" fmla="val 10000"/>
          </a:avLst>
        </a:prstGeom>
        <a:solidFill>
          <a:schemeClr val="accent2"/>
        </a:solidFill>
        <a:ln w="127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ctr" defTabSz="1155700">
            <a:lnSpc>
              <a:spcPct val="90000"/>
            </a:lnSpc>
            <a:spcBef>
              <a:spcPct val="0"/>
            </a:spcBef>
            <a:spcAft>
              <a:spcPct val="35000"/>
            </a:spcAft>
            <a:buNone/>
          </a:pPr>
          <a:r>
            <a:rPr lang="en-US" sz="2600" b="1" kern="1200" dirty="0"/>
            <a:t>Non-USA?</a:t>
          </a:r>
        </a:p>
      </dsp:txBody>
      <dsp:txXfrm>
        <a:off x="3270954" y="815054"/>
        <a:ext cx="2221091" cy="1300291"/>
      </dsp:txXfrm>
    </dsp:sp>
    <dsp:sp modelId="{95922FDE-06D1-485A-9DA0-1AE7E4C4ADF3}">
      <dsp:nvSpPr>
        <dsp:cNvPr id="0" name=""/>
        <dsp:cNvSpPr/>
      </dsp:nvSpPr>
      <dsp:spPr>
        <a:xfrm>
          <a:off x="5735075" y="1179752"/>
          <a:ext cx="488023" cy="570895"/>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933450">
            <a:lnSpc>
              <a:spcPct val="90000"/>
            </a:lnSpc>
            <a:spcBef>
              <a:spcPct val="0"/>
            </a:spcBef>
            <a:spcAft>
              <a:spcPct val="35000"/>
            </a:spcAft>
            <a:buNone/>
          </a:pPr>
          <a:endParaRPr lang="en-US" sz="2100" kern="1200"/>
        </a:p>
      </dsp:txBody>
      <dsp:txXfrm>
        <a:off x="5735075" y="1293931"/>
        <a:ext cx="341616" cy="342537"/>
      </dsp:txXfrm>
    </dsp:sp>
    <dsp:sp modelId="{EB0AE66F-EC49-4B37-86F2-0FF2FB84BF1B}">
      <dsp:nvSpPr>
        <dsp:cNvPr id="0" name=""/>
        <dsp:cNvSpPr/>
      </dsp:nvSpPr>
      <dsp:spPr>
        <a:xfrm>
          <a:off x="6453299" y="774600"/>
          <a:ext cx="2301999" cy="1381199"/>
        </a:xfrm>
        <a:prstGeom prst="roundRect">
          <a:avLst>
            <a:gd name="adj" fmla="val 10000"/>
          </a:avLst>
        </a:prstGeom>
        <a:solidFill>
          <a:schemeClr val="tx2">
            <a:lumMod val="25000"/>
          </a:schemeClr>
        </a:solidFill>
        <a:ln w="127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ctr" defTabSz="1155700">
            <a:lnSpc>
              <a:spcPct val="90000"/>
            </a:lnSpc>
            <a:spcBef>
              <a:spcPct val="0"/>
            </a:spcBef>
            <a:spcAft>
              <a:spcPct val="35000"/>
            </a:spcAft>
            <a:buNone/>
          </a:pPr>
          <a:r>
            <a:rPr lang="en-US" sz="2600" b="1" kern="1200" dirty="0"/>
            <a:t>Chief Information Officer (CIO)</a:t>
          </a:r>
        </a:p>
      </dsp:txBody>
      <dsp:txXfrm>
        <a:off x="6493753" y="815054"/>
        <a:ext cx="2221091" cy="1300291"/>
      </dsp:txXfrm>
    </dsp:sp>
    <dsp:sp modelId="{962CB296-4898-4B43-83C1-8E8004632CE2}">
      <dsp:nvSpPr>
        <dsp:cNvPr id="0" name=""/>
        <dsp:cNvSpPr/>
      </dsp:nvSpPr>
      <dsp:spPr>
        <a:xfrm rot="5400000">
          <a:off x="7360286" y="2316940"/>
          <a:ext cx="488023" cy="570895"/>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933450">
            <a:lnSpc>
              <a:spcPct val="90000"/>
            </a:lnSpc>
            <a:spcBef>
              <a:spcPct val="0"/>
            </a:spcBef>
            <a:spcAft>
              <a:spcPct val="35000"/>
            </a:spcAft>
            <a:buNone/>
          </a:pPr>
          <a:endParaRPr lang="en-US" sz="2100" kern="1200"/>
        </a:p>
      </dsp:txBody>
      <dsp:txXfrm rot="-5400000">
        <a:off x="7433030" y="2358376"/>
        <a:ext cx="342537" cy="341616"/>
      </dsp:txXfrm>
    </dsp:sp>
    <dsp:sp modelId="{A011FC8F-E411-439F-B5A5-3D1DBB704447}">
      <dsp:nvSpPr>
        <dsp:cNvPr id="0" name=""/>
        <dsp:cNvSpPr/>
      </dsp:nvSpPr>
      <dsp:spPr>
        <a:xfrm>
          <a:off x="6453299" y="3076599"/>
          <a:ext cx="2301999" cy="1381199"/>
        </a:xfrm>
        <a:prstGeom prst="roundRect">
          <a:avLst>
            <a:gd name="adj" fmla="val 10000"/>
          </a:avLst>
        </a:prstGeom>
        <a:solidFill>
          <a:srgbClr val="00B050"/>
        </a:solidFill>
        <a:ln w="127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ctr" defTabSz="1155700">
            <a:lnSpc>
              <a:spcPct val="90000"/>
            </a:lnSpc>
            <a:spcBef>
              <a:spcPct val="0"/>
            </a:spcBef>
            <a:spcAft>
              <a:spcPct val="35000"/>
            </a:spcAft>
            <a:buNone/>
          </a:pPr>
          <a:r>
            <a:rPr lang="en-US" sz="2600" b="1" kern="1200" dirty="0"/>
            <a:t>Reviews and approves</a:t>
          </a:r>
        </a:p>
      </dsp:txBody>
      <dsp:txXfrm>
        <a:off x="6493753" y="3117053"/>
        <a:ext cx="2221091" cy="1300291"/>
      </dsp:txXfrm>
    </dsp:sp>
    <dsp:sp modelId="{6DA494B6-5B50-4225-A17F-2673154F72AE}">
      <dsp:nvSpPr>
        <dsp:cNvPr id="0" name=""/>
        <dsp:cNvSpPr/>
      </dsp:nvSpPr>
      <dsp:spPr>
        <a:xfrm rot="10800000">
          <a:off x="5762699" y="3481751"/>
          <a:ext cx="488023" cy="570895"/>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933450">
            <a:lnSpc>
              <a:spcPct val="90000"/>
            </a:lnSpc>
            <a:spcBef>
              <a:spcPct val="0"/>
            </a:spcBef>
            <a:spcAft>
              <a:spcPct val="35000"/>
            </a:spcAft>
            <a:buNone/>
          </a:pPr>
          <a:endParaRPr lang="en-US" sz="2100" kern="1200"/>
        </a:p>
      </dsp:txBody>
      <dsp:txXfrm rot="10800000">
        <a:off x="5909106" y="3595930"/>
        <a:ext cx="341616" cy="342537"/>
      </dsp:txXfrm>
    </dsp:sp>
    <dsp:sp modelId="{EF4DD46D-2F26-43DC-B4ED-08758E0D2BF8}">
      <dsp:nvSpPr>
        <dsp:cNvPr id="0" name=""/>
        <dsp:cNvSpPr/>
      </dsp:nvSpPr>
      <dsp:spPr>
        <a:xfrm>
          <a:off x="3230500" y="3076599"/>
          <a:ext cx="2301999" cy="1381199"/>
        </a:xfrm>
        <a:prstGeom prst="roundRect">
          <a:avLst>
            <a:gd name="adj" fmla="val 10000"/>
          </a:avLst>
        </a:prstGeom>
        <a:solidFill>
          <a:srgbClr val="0070C0"/>
        </a:solidFill>
        <a:ln w="127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ctr" defTabSz="1155700">
            <a:lnSpc>
              <a:spcPct val="90000"/>
            </a:lnSpc>
            <a:spcBef>
              <a:spcPct val="0"/>
            </a:spcBef>
            <a:spcAft>
              <a:spcPct val="35000"/>
            </a:spcAft>
            <a:buNone/>
          </a:pPr>
          <a:r>
            <a:rPr lang="en-US" sz="2600" b="1" kern="1200" dirty="0"/>
            <a:t>Competition and Award</a:t>
          </a:r>
        </a:p>
      </dsp:txBody>
      <dsp:txXfrm>
        <a:off x="3270954" y="3117053"/>
        <a:ext cx="2221091" cy="1300291"/>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6C72B91-3A3D-4C0D-B35E-6D6A7C27B6AB}">
      <dsp:nvSpPr>
        <dsp:cNvPr id="0" name=""/>
        <dsp:cNvSpPr/>
      </dsp:nvSpPr>
      <dsp:spPr>
        <a:xfrm>
          <a:off x="2133600" y="50800"/>
          <a:ext cx="1828800" cy="1016000"/>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t>Research Funding</a:t>
          </a:r>
        </a:p>
      </dsp:txBody>
      <dsp:txXfrm>
        <a:off x="2163358" y="80558"/>
        <a:ext cx="1769284" cy="956484"/>
      </dsp:txXfrm>
    </dsp:sp>
    <dsp:sp modelId="{80F4681D-CE01-43EB-94F0-3129200F4911}">
      <dsp:nvSpPr>
        <dsp:cNvPr id="0" name=""/>
        <dsp:cNvSpPr/>
      </dsp:nvSpPr>
      <dsp:spPr>
        <a:xfrm rot="5400000">
          <a:off x="2876550" y="1066800"/>
          <a:ext cx="342899" cy="457200"/>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711200">
            <a:lnSpc>
              <a:spcPct val="90000"/>
            </a:lnSpc>
            <a:spcBef>
              <a:spcPct val="0"/>
            </a:spcBef>
            <a:spcAft>
              <a:spcPct val="35000"/>
            </a:spcAft>
            <a:buNone/>
          </a:pPr>
          <a:endParaRPr lang="en-US" sz="1600" kern="1200"/>
        </a:p>
      </dsp:txBody>
      <dsp:txXfrm rot="-5400000">
        <a:off x="2910840" y="1123950"/>
        <a:ext cx="274320" cy="240029"/>
      </dsp:txXfrm>
    </dsp:sp>
    <dsp:sp modelId="{BB730468-2E27-4FC0-B711-F8A890B36E20}">
      <dsp:nvSpPr>
        <dsp:cNvPr id="0" name=""/>
        <dsp:cNvSpPr/>
      </dsp:nvSpPr>
      <dsp:spPr>
        <a:xfrm>
          <a:off x="2133600" y="1523999"/>
          <a:ext cx="1828800" cy="1016000"/>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t>Priority Areas Agreed by Member States</a:t>
          </a:r>
        </a:p>
      </dsp:txBody>
      <dsp:txXfrm>
        <a:off x="2163358" y="1553757"/>
        <a:ext cx="1769284" cy="956484"/>
      </dsp:txXfrm>
    </dsp:sp>
    <dsp:sp modelId="{60808051-E860-4FF4-8798-9ED5DBFBBCFC}">
      <dsp:nvSpPr>
        <dsp:cNvPr id="0" name=""/>
        <dsp:cNvSpPr/>
      </dsp:nvSpPr>
      <dsp:spPr>
        <a:xfrm rot="5400000">
          <a:off x="2857500" y="2565399"/>
          <a:ext cx="381000" cy="457200"/>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711200">
            <a:lnSpc>
              <a:spcPct val="90000"/>
            </a:lnSpc>
            <a:spcBef>
              <a:spcPct val="0"/>
            </a:spcBef>
            <a:spcAft>
              <a:spcPct val="35000"/>
            </a:spcAft>
            <a:buNone/>
          </a:pPr>
          <a:endParaRPr lang="en-US" sz="1600" kern="1200"/>
        </a:p>
      </dsp:txBody>
      <dsp:txXfrm rot="-5400000">
        <a:off x="2910840" y="2603499"/>
        <a:ext cx="274320" cy="266700"/>
      </dsp:txXfrm>
    </dsp:sp>
    <dsp:sp modelId="{80851B12-83F7-4BF8-82D5-A90EFEF81A2F}">
      <dsp:nvSpPr>
        <dsp:cNvPr id="0" name=""/>
        <dsp:cNvSpPr/>
      </dsp:nvSpPr>
      <dsp:spPr>
        <a:xfrm>
          <a:off x="2133600" y="3047999"/>
          <a:ext cx="1828800" cy="1016000"/>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b="1" i="0" kern="1200" dirty="0">
              <a:solidFill>
                <a:srgbClr val="FFC000"/>
              </a:solidFill>
              <a:effectLst/>
              <a:latin typeface="+mn-lt"/>
              <a:ea typeface="+mn-ea"/>
              <a:cs typeface="+mn-cs"/>
            </a:rPr>
            <a:t>€500 million</a:t>
          </a:r>
          <a:r>
            <a:rPr lang="en-US" sz="1800" b="0" i="0" kern="1200" dirty="0">
              <a:solidFill>
                <a:srgbClr val="FFC000"/>
              </a:solidFill>
              <a:effectLst/>
              <a:latin typeface="+mn-lt"/>
              <a:ea typeface="+mn-ea"/>
              <a:cs typeface="+mn-cs"/>
            </a:rPr>
            <a:t> per year after 2020</a:t>
          </a:r>
          <a:endParaRPr lang="en-US" sz="1800" kern="1200" dirty="0">
            <a:solidFill>
              <a:srgbClr val="FFC000"/>
            </a:solidFill>
          </a:endParaRPr>
        </a:p>
      </dsp:txBody>
      <dsp:txXfrm>
        <a:off x="2163358" y="3077757"/>
        <a:ext cx="1769284" cy="956484"/>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6C72B91-3A3D-4C0D-B35E-6D6A7C27B6AB}">
      <dsp:nvSpPr>
        <dsp:cNvPr id="0" name=""/>
        <dsp:cNvSpPr/>
      </dsp:nvSpPr>
      <dsp:spPr>
        <a:xfrm>
          <a:off x="1808774" y="38893"/>
          <a:ext cx="2478451" cy="738187"/>
        </a:xfrm>
        <a:prstGeom prst="roundRect">
          <a:avLst>
            <a:gd name="adj" fmla="val 10000"/>
          </a:avLst>
        </a:prstGeom>
        <a:solidFill>
          <a:srgbClr val="C00000"/>
        </a:solidFill>
        <a:ln w="127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dirty="0"/>
            <a:t>Development and Acquisition</a:t>
          </a:r>
        </a:p>
      </dsp:txBody>
      <dsp:txXfrm>
        <a:off x="1830395" y="60514"/>
        <a:ext cx="2435209" cy="694945"/>
      </dsp:txXfrm>
    </dsp:sp>
    <dsp:sp modelId="{80F4681D-CE01-43EB-94F0-3129200F4911}">
      <dsp:nvSpPr>
        <dsp:cNvPr id="0" name=""/>
        <dsp:cNvSpPr/>
      </dsp:nvSpPr>
      <dsp:spPr>
        <a:xfrm rot="5400000">
          <a:off x="2923430" y="777081"/>
          <a:ext cx="249138" cy="332184"/>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kern="1200"/>
        </a:p>
      </dsp:txBody>
      <dsp:txXfrm rot="-5400000">
        <a:off x="2948345" y="818604"/>
        <a:ext cx="199310" cy="174397"/>
      </dsp:txXfrm>
    </dsp:sp>
    <dsp:sp modelId="{BB730468-2E27-4FC0-B711-F8A890B36E20}">
      <dsp:nvSpPr>
        <dsp:cNvPr id="0" name=""/>
        <dsp:cNvSpPr/>
      </dsp:nvSpPr>
      <dsp:spPr>
        <a:xfrm>
          <a:off x="1808774" y="1109265"/>
          <a:ext cx="2478451" cy="738187"/>
        </a:xfrm>
        <a:prstGeom prst="roundRect">
          <a:avLst>
            <a:gd name="adj" fmla="val 10000"/>
          </a:avLst>
        </a:prstGeom>
        <a:solidFill>
          <a:srgbClr val="C00000"/>
        </a:solidFill>
        <a:ln w="127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dirty="0"/>
            <a:t>C0-Financing and Commission Support</a:t>
          </a:r>
        </a:p>
      </dsp:txBody>
      <dsp:txXfrm>
        <a:off x="1830395" y="1130886"/>
        <a:ext cx="2435209" cy="694945"/>
      </dsp:txXfrm>
    </dsp:sp>
    <dsp:sp modelId="{60808051-E860-4FF4-8798-9ED5DBFBBCFC}">
      <dsp:nvSpPr>
        <dsp:cNvPr id="0" name=""/>
        <dsp:cNvSpPr/>
      </dsp:nvSpPr>
      <dsp:spPr>
        <a:xfrm rot="5400000">
          <a:off x="2909589" y="1865907"/>
          <a:ext cx="276820" cy="332184"/>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en-US" sz="1400" kern="1200"/>
        </a:p>
      </dsp:txBody>
      <dsp:txXfrm rot="-5400000">
        <a:off x="2948344" y="1893589"/>
        <a:ext cx="199310" cy="193774"/>
      </dsp:txXfrm>
    </dsp:sp>
    <dsp:sp modelId="{80851B12-83F7-4BF8-82D5-A90EFEF81A2F}">
      <dsp:nvSpPr>
        <dsp:cNvPr id="0" name=""/>
        <dsp:cNvSpPr/>
      </dsp:nvSpPr>
      <dsp:spPr>
        <a:xfrm>
          <a:off x="1808774" y="2216546"/>
          <a:ext cx="2478451" cy="738187"/>
        </a:xfrm>
        <a:prstGeom prst="roundRect">
          <a:avLst>
            <a:gd name="adj" fmla="val 10000"/>
          </a:avLst>
        </a:prstGeom>
        <a:solidFill>
          <a:srgbClr val="C00000"/>
        </a:solidFill>
        <a:ln w="127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dirty="0">
              <a:solidFill>
                <a:srgbClr val="FFC000"/>
              </a:solidFill>
            </a:rPr>
            <a:t>Members State Collaborative Projects Only </a:t>
          </a:r>
        </a:p>
      </dsp:txBody>
      <dsp:txXfrm>
        <a:off x="1830395" y="2238167"/>
        <a:ext cx="2435209" cy="694945"/>
      </dsp:txXfrm>
    </dsp:sp>
    <dsp:sp modelId="{76929B95-AD4B-44E7-B23D-A72FB674CE48}">
      <dsp:nvSpPr>
        <dsp:cNvPr id="0" name=""/>
        <dsp:cNvSpPr/>
      </dsp:nvSpPr>
      <dsp:spPr>
        <a:xfrm rot="5400000">
          <a:off x="2909589" y="2973189"/>
          <a:ext cx="276820" cy="332184"/>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en-US" sz="1400" kern="1200"/>
        </a:p>
      </dsp:txBody>
      <dsp:txXfrm rot="-5400000">
        <a:off x="2948344" y="3000871"/>
        <a:ext cx="199310" cy="193774"/>
      </dsp:txXfrm>
    </dsp:sp>
    <dsp:sp modelId="{F0446576-30DB-4CF9-90EB-5CBDCD077DF4}">
      <dsp:nvSpPr>
        <dsp:cNvPr id="0" name=""/>
        <dsp:cNvSpPr/>
      </dsp:nvSpPr>
      <dsp:spPr>
        <a:xfrm>
          <a:off x="1808774" y="3323828"/>
          <a:ext cx="2478451" cy="738187"/>
        </a:xfrm>
        <a:prstGeom prst="roundRect">
          <a:avLst>
            <a:gd name="adj" fmla="val 10000"/>
          </a:avLst>
        </a:prstGeom>
        <a:solidFill>
          <a:srgbClr val="C00000"/>
        </a:solidFill>
        <a:ln w="127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b="0" i="0" kern="1200" dirty="0">
              <a:solidFill>
                <a:srgbClr val="FFC000"/>
              </a:solidFill>
              <a:effectLst/>
              <a:latin typeface="+mn-lt"/>
              <a:ea typeface="+mn-ea"/>
              <a:cs typeface="+mn-cs"/>
            </a:rPr>
            <a:t>€1 billion per year after 2020</a:t>
          </a:r>
          <a:endParaRPr lang="en-US" sz="1800" kern="1200" dirty="0">
            <a:solidFill>
              <a:srgbClr val="FFC000"/>
            </a:solidFill>
          </a:endParaRPr>
        </a:p>
      </dsp:txBody>
      <dsp:txXfrm>
        <a:off x="1830395" y="3345449"/>
        <a:ext cx="2435209" cy="694945"/>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6C72B91-3A3D-4C0D-B35E-6D6A7C27B6AB}">
      <dsp:nvSpPr>
        <dsp:cNvPr id="0" name=""/>
        <dsp:cNvSpPr/>
      </dsp:nvSpPr>
      <dsp:spPr>
        <a:xfrm>
          <a:off x="2133600" y="50800"/>
          <a:ext cx="1828800" cy="1016000"/>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t>Research Funding</a:t>
          </a:r>
        </a:p>
      </dsp:txBody>
      <dsp:txXfrm>
        <a:off x="2163358" y="80558"/>
        <a:ext cx="1769284" cy="956484"/>
      </dsp:txXfrm>
    </dsp:sp>
    <dsp:sp modelId="{80F4681D-CE01-43EB-94F0-3129200F4911}">
      <dsp:nvSpPr>
        <dsp:cNvPr id="0" name=""/>
        <dsp:cNvSpPr/>
      </dsp:nvSpPr>
      <dsp:spPr>
        <a:xfrm rot="5400000">
          <a:off x="2876550" y="1066800"/>
          <a:ext cx="342899" cy="457200"/>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711200">
            <a:lnSpc>
              <a:spcPct val="90000"/>
            </a:lnSpc>
            <a:spcBef>
              <a:spcPct val="0"/>
            </a:spcBef>
            <a:spcAft>
              <a:spcPct val="35000"/>
            </a:spcAft>
            <a:buNone/>
          </a:pPr>
          <a:endParaRPr lang="en-US" sz="1600" kern="1200"/>
        </a:p>
      </dsp:txBody>
      <dsp:txXfrm rot="-5400000">
        <a:off x="2910840" y="1123950"/>
        <a:ext cx="274320" cy="240029"/>
      </dsp:txXfrm>
    </dsp:sp>
    <dsp:sp modelId="{BB730468-2E27-4FC0-B711-F8A890B36E20}">
      <dsp:nvSpPr>
        <dsp:cNvPr id="0" name=""/>
        <dsp:cNvSpPr/>
      </dsp:nvSpPr>
      <dsp:spPr>
        <a:xfrm>
          <a:off x="2133600" y="1523999"/>
          <a:ext cx="1828800" cy="1016000"/>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t>Priority Areas Agreed by Member States</a:t>
          </a:r>
        </a:p>
      </dsp:txBody>
      <dsp:txXfrm>
        <a:off x="2163358" y="1553757"/>
        <a:ext cx="1769284" cy="956484"/>
      </dsp:txXfrm>
    </dsp:sp>
    <dsp:sp modelId="{60808051-E860-4FF4-8798-9ED5DBFBBCFC}">
      <dsp:nvSpPr>
        <dsp:cNvPr id="0" name=""/>
        <dsp:cNvSpPr/>
      </dsp:nvSpPr>
      <dsp:spPr>
        <a:xfrm rot="5400000">
          <a:off x="2857500" y="2565399"/>
          <a:ext cx="381000" cy="457200"/>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711200">
            <a:lnSpc>
              <a:spcPct val="90000"/>
            </a:lnSpc>
            <a:spcBef>
              <a:spcPct val="0"/>
            </a:spcBef>
            <a:spcAft>
              <a:spcPct val="35000"/>
            </a:spcAft>
            <a:buNone/>
          </a:pPr>
          <a:endParaRPr lang="en-US" sz="1600" kern="1200"/>
        </a:p>
      </dsp:txBody>
      <dsp:txXfrm rot="-5400000">
        <a:off x="2910840" y="2603499"/>
        <a:ext cx="274320" cy="266700"/>
      </dsp:txXfrm>
    </dsp:sp>
    <dsp:sp modelId="{80851B12-83F7-4BF8-82D5-A90EFEF81A2F}">
      <dsp:nvSpPr>
        <dsp:cNvPr id="0" name=""/>
        <dsp:cNvSpPr/>
      </dsp:nvSpPr>
      <dsp:spPr>
        <a:xfrm>
          <a:off x="2133600" y="3047999"/>
          <a:ext cx="1828800" cy="1016000"/>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b="1" i="0" kern="1200" dirty="0">
              <a:solidFill>
                <a:schemeClr val="tx1"/>
              </a:solidFill>
              <a:effectLst/>
              <a:latin typeface="+mn-lt"/>
              <a:ea typeface="+mn-ea"/>
              <a:cs typeface="+mn-cs"/>
            </a:rPr>
            <a:t>€500 million</a:t>
          </a:r>
          <a:r>
            <a:rPr lang="en-US" sz="1800" b="0" i="0" kern="1200" dirty="0">
              <a:solidFill>
                <a:schemeClr val="tx1"/>
              </a:solidFill>
              <a:effectLst/>
              <a:latin typeface="+mn-lt"/>
              <a:ea typeface="+mn-ea"/>
              <a:cs typeface="+mn-cs"/>
            </a:rPr>
            <a:t> per year after 2020</a:t>
          </a:r>
          <a:endParaRPr lang="en-US" sz="1800" kern="1200" dirty="0">
            <a:solidFill>
              <a:schemeClr val="tx1"/>
            </a:solidFill>
          </a:endParaRPr>
        </a:p>
      </dsp:txBody>
      <dsp:txXfrm>
        <a:off x="2163358" y="3077757"/>
        <a:ext cx="1769284" cy="956484"/>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6C72B91-3A3D-4C0D-B35E-6D6A7C27B6AB}">
      <dsp:nvSpPr>
        <dsp:cNvPr id="0" name=""/>
        <dsp:cNvSpPr/>
      </dsp:nvSpPr>
      <dsp:spPr>
        <a:xfrm>
          <a:off x="1808774" y="38893"/>
          <a:ext cx="2478451" cy="738187"/>
        </a:xfrm>
        <a:prstGeom prst="roundRect">
          <a:avLst>
            <a:gd name="adj" fmla="val 10000"/>
          </a:avLst>
        </a:prstGeom>
        <a:solidFill>
          <a:srgbClr val="C00000"/>
        </a:solidFill>
        <a:ln w="127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dirty="0"/>
            <a:t>Development and Acquisition</a:t>
          </a:r>
        </a:p>
      </dsp:txBody>
      <dsp:txXfrm>
        <a:off x="1830395" y="60514"/>
        <a:ext cx="2435209" cy="694945"/>
      </dsp:txXfrm>
    </dsp:sp>
    <dsp:sp modelId="{80F4681D-CE01-43EB-94F0-3129200F4911}">
      <dsp:nvSpPr>
        <dsp:cNvPr id="0" name=""/>
        <dsp:cNvSpPr/>
      </dsp:nvSpPr>
      <dsp:spPr>
        <a:xfrm rot="5400000">
          <a:off x="2923430" y="777081"/>
          <a:ext cx="249138" cy="332184"/>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kern="1200"/>
        </a:p>
      </dsp:txBody>
      <dsp:txXfrm rot="-5400000">
        <a:off x="2948345" y="818604"/>
        <a:ext cx="199310" cy="174397"/>
      </dsp:txXfrm>
    </dsp:sp>
    <dsp:sp modelId="{BB730468-2E27-4FC0-B711-F8A890B36E20}">
      <dsp:nvSpPr>
        <dsp:cNvPr id="0" name=""/>
        <dsp:cNvSpPr/>
      </dsp:nvSpPr>
      <dsp:spPr>
        <a:xfrm>
          <a:off x="1808774" y="1109265"/>
          <a:ext cx="2478451" cy="738187"/>
        </a:xfrm>
        <a:prstGeom prst="roundRect">
          <a:avLst>
            <a:gd name="adj" fmla="val 10000"/>
          </a:avLst>
        </a:prstGeom>
        <a:solidFill>
          <a:srgbClr val="C00000"/>
        </a:solidFill>
        <a:ln w="127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dirty="0"/>
            <a:t>C0-Financing and Commission Support</a:t>
          </a:r>
        </a:p>
      </dsp:txBody>
      <dsp:txXfrm>
        <a:off x="1830395" y="1130886"/>
        <a:ext cx="2435209" cy="694945"/>
      </dsp:txXfrm>
    </dsp:sp>
    <dsp:sp modelId="{60808051-E860-4FF4-8798-9ED5DBFBBCFC}">
      <dsp:nvSpPr>
        <dsp:cNvPr id="0" name=""/>
        <dsp:cNvSpPr/>
      </dsp:nvSpPr>
      <dsp:spPr>
        <a:xfrm rot="5400000">
          <a:off x="2909589" y="1865907"/>
          <a:ext cx="276820" cy="332184"/>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en-US" sz="1400" kern="1200"/>
        </a:p>
      </dsp:txBody>
      <dsp:txXfrm rot="-5400000">
        <a:off x="2948344" y="1893589"/>
        <a:ext cx="199310" cy="193774"/>
      </dsp:txXfrm>
    </dsp:sp>
    <dsp:sp modelId="{80851B12-83F7-4BF8-82D5-A90EFEF81A2F}">
      <dsp:nvSpPr>
        <dsp:cNvPr id="0" name=""/>
        <dsp:cNvSpPr/>
      </dsp:nvSpPr>
      <dsp:spPr>
        <a:xfrm>
          <a:off x="1808774" y="2216546"/>
          <a:ext cx="2478451" cy="738187"/>
        </a:xfrm>
        <a:prstGeom prst="roundRect">
          <a:avLst>
            <a:gd name="adj" fmla="val 10000"/>
          </a:avLst>
        </a:prstGeom>
        <a:solidFill>
          <a:srgbClr val="C00000"/>
        </a:solidFill>
        <a:ln w="127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dirty="0">
              <a:solidFill>
                <a:schemeClr val="tx1"/>
              </a:solidFill>
            </a:rPr>
            <a:t>Members State Collaborative Projects Only </a:t>
          </a:r>
        </a:p>
      </dsp:txBody>
      <dsp:txXfrm>
        <a:off x="1830395" y="2238167"/>
        <a:ext cx="2435209" cy="694945"/>
      </dsp:txXfrm>
    </dsp:sp>
    <dsp:sp modelId="{76929B95-AD4B-44E7-B23D-A72FB674CE48}">
      <dsp:nvSpPr>
        <dsp:cNvPr id="0" name=""/>
        <dsp:cNvSpPr/>
      </dsp:nvSpPr>
      <dsp:spPr>
        <a:xfrm rot="5400000">
          <a:off x="2909589" y="2973189"/>
          <a:ext cx="276820" cy="332184"/>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en-US" sz="1400" kern="1200"/>
        </a:p>
      </dsp:txBody>
      <dsp:txXfrm rot="-5400000">
        <a:off x="2948344" y="3000871"/>
        <a:ext cx="199310" cy="193774"/>
      </dsp:txXfrm>
    </dsp:sp>
    <dsp:sp modelId="{F0446576-30DB-4CF9-90EB-5CBDCD077DF4}">
      <dsp:nvSpPr>
        <dsp:cNvPr id="0" name=""/>
        <dsp:cNvSpPr/>
      </dsp:nvSpPr>
      <dsp:spPr>
        <a:xfrm>
          <a:off x="1808774" y="3323828"/>
          <a:ext cx="2478451" cy="738187"/>
        </a:xfrm>
        <a:prstGeom prst="roundRect">
          <a:avLst>
            <a:gd name="adj" fmla="val 10000"/>
          </a:avLst>
        </a:prstGeom>
        <a:solidFill>
          <a:srgbClr val="C00000"/>
        </a:solidFill>
        <a:ln w="127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b="0" i="0" kern="1200" dirty="0">
              <a:solidFill>
                <a:schemeClr val="bg1"/>
              </a:solidFill>
              <a:effectLst/>
              <a:latin typeface="+mn-lt"/>
              <a:ea typeface="+mn-ea"/>
              <a:cs typeface="+mn-cs"/>
            </a:rPr>
            <a:t>€</a:t>
          </a:r>
          <a:r>
            <a:rPr lang="en-US" sz="1800" b="0" i="0" kern="1200" dirty="0">
              <a:solidFill>
                <a:schemeClr val="tx1"/>
              </a:solidFill>
              <a:effectLst/>
              <a:latin typeface="+mn-lt"/>
              <a:ea typeface="+mn-ea"/>
              <a:cs typeface="+mn-cs"/>
            </a:rPr>
            <a:t>1 billion per year after 2020</a:t>
          </a:r>
          <a:endParaRPr lang="en-US" sz="1800" kern="1200" dirty="0">
            <a:solidFill>
              <a:schemeClr val="tx1"/>
            </a:solidFill>
          </a:endParaRPr>
        </a:p>
      </dsp:txBody>
      <dsp:txXfrm>
        <a:off x="1830395" y="3345449"/>
        <a:ext cx="2435209" cy="694945"/>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2838C51-101E-4F81-9C05-117D4D7EDA73}">
      <dsp:nvSpPr>
        <dsp:cNvPr id="0" name=""/>
        <dsp:cNvSpPr/>
      </dsp:nvSpPr>
      <dsp:spPr>
        <a:xfrm>
          <a:off x="2757011" y="56574"/>
          <a:ext cx="2715577" cy="2715577"/>
        </a:xfrm>
        <a:prstGeom prst="ellipse">
          <a:avLst/>
        </a:prstGeom>
        <a:solidFill>
          <a:srgbClr val="FF00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marL="0" lvl="0" indent="0" algn="ctr" defTabSz="1066800">
            <a:lnSpc>
              <a:spcPct val="90000"/>
            </a:lnSpc>
            <a:spcBef>
              <a:spcPct val="0"/>
            </a:spcBef>
            <a:spcAft>
              <a:spcPct val="35000"/>
            </a:spcAft>
            <a:buNone/>
          </a:pPr>
          <a:r>
            <a:rPr lang="en-US" sz="2400" kern="1200" dirty="0"/>
            <a:t>Reputation</a:t>
          </a:r>
        </a:p>
      </dsp:txBody>
      <dsp:txXfrm>
        <a:off x="3119088" y="531800"/>
        <a:ext cx="1991423" cy="1222010"/>
      </dsp:txXfrm>
    </dsp:sp>
    <dsp:sp modelId="{9CA544BA-4347-47C2-952A-2CBAFD7B6249}">
      <dsp:nvSpPr>
        <dsp:cNvPr id="0" name=""/>
        <dsp:cNvSpPr/>
      </dsp:nvSpPr>
      <dsp:spPr>
        <a:xfrm>
          <a:off x="3736882" y="1753810"/>
          <a:ext cx="2715577" cy="2715577"/>
        </a:xfrm>
        <a:prstGeom prst="ellipse">
          <a:avLst/>
        </a:prstGeom>
        <a:solidFill>
          <a:srgbClr val="0070C0">
            <a:alpha val="50000"/>
          </a:srgb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marL="0" lvl="0" indent="0" algn="ctr" defTabSz="1066800">
            <a:lnSpc>
              <a:spcPct val="90000"/>
            </a:lnSpc>
            <a:spcBef>
              <a:spcPct val="0"/>
            </a:spcBef>
            <a:spcAft>
              <a:spcPct val="35000"/>
            </a:spcAft>
            <a:buNone/>
          </a:pPr>
          <a:r>
            <a:rPr lang="en-US" sz="2400" kern="1200" dirty="0"/>
            <a:t>Performance</a:t>
          </a:r>
        </a:p>
      </dsp:txBody>
      <dsp:txXfrm>
        <a:off x="4567396" y="2455334"/>
        <a:ext cx="1629346" cy="1493567"/>
      </dsp:txXfrm>
    </dsp:sp>
    <dsp:sp modelId="{C0CE0E84-E2A3-4D95-8CA3-B1829247C7DD}">
      <dsp:nvSpPr>
        <dsp:cNvPr id="0" name=""/>
        <dsp:cNvSpPr/>
      </dsp:nvSpPr>
      <dsp:spPr>
        <a:xfrm>
          <a:off x="1777140" y="1753810"/>
          <a:ext cx="2715577" cy="2715577"/>
        </a:xfrm>
        <a:prstGeom prst="ellipse">
          <a:avLst/>
        </a:prstGeom>
        <a:solidFill>
          <a:srgbClr val="00B05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marL="0" lvl="0" indent="0" algn="ctr" defTabSz="1066800">
            <a:lnSpc>
              <a:spcPct val="90000"/>
            </a:lnSpc>
            <a:spcBef>
              <a:spcPct val="0"/>
            </a:spcBef>
            <a:spcAft>
              <a:spcPct val="35000"/>
            </a:spcAft>
            <a:buNone/>
          </a:pPr>
          <a:r>
            <a:rPr lang="en-US" sz="2400" kern="1200" dirty="0"/>
            <a:t>Fiduciary</a:t>
          </a:r>
        </a:p>
      </dsp:txBody>
      <dsp:txXfrm>
        <a:off x="2032857" y="2455334"/>
        <a:ext cx="1629346" cy="1493567"/>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2E6A9A7-B13D-4F92-9614-CF8CD4E9E23D}">
      <dsp:nvSpPr>
        <dsp:cNvPr id="0" name=""/>
        <dsp:cNvSpPr/>
      </dsp:nvSpPr>
      <dsp:spPr>
        <a:xfrm>
          <a:off x="495061" y="645"/>
          <a:ext cx="2262336" cy="1357401"/>
        </a:xfrm>
        <a:prstGeom prst="rect">
          <a:avLst/>
        </a:prstGeom>
        <a:solidFill>
          <a:srgbClr val="FF00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n-US" sz="2100" kern="1200" dirty="0"/>
            <a:t>Excessive Commissions </a:t>
          </a:r>
        </a:p>
      </dsp:txBody>
      <dsp:txXfrm>
        <a:off x="495061" y="645"/>
        <a:ext cx="2262336" cy="1357401"/>
      </dsp:txXfrm>
    </dsp:sp>
    <dsp:sp modelId="{63D55996-2EBD-4195-A191-13BC1CB689CB}">
      <dsp:nvSpPr>
        <dsp:cNvPr id="0" name=""/>
        <dsp:cNvSpPr/>
      </dsp:nvSpPr>
      <dsp:spPr>
        <a:xfrm>
          <a:off x="2983631" y="645"/>
          <a:ext cx="2262336" cy="1357401"/>
        </a:xfrm>
        <a:prstGeom prst="rect">
          <a:avLst/>
        </a:prstGeom>
        <a:solidFill>
          <a:srgbClr val="FF00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n-US" sz="2100" kern="1200" dirty="0"/>
            <a:t>Unreasonably large discounts</a:t>
          </a:r>
        </a:p>
      </dsp:txBody>
      <dsp:txXfrm>
        <a:off x="2983631" y="645"/>
        <a:ext cx="2262336" cy="1357401"/>
      </dsp:txXfrm>
    </dsp:sp>
    <dsp:sp modelId="{0664CA46-67BE-47A0-AE9B-22346B8E4915}">
      <dsp:nvSpPr>
        <dsp:cNvPr id="0" name=""/>
        <dsp:cNvSpPr/>
      </dsp:nvSpPr>
      <dsp:spPr>
        <a:xfrm>
          <a:off x="5472201" y="645"/>
          <a:ext cx="2262336" cy="1357401"/>
        </a:xfrm>
        <a:prstGeom prst="rect">
          <a:avLst/>
        </a:prstGeom>
        <a:solidFill>
          <a:srgbClr val="FF00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n-US" sz="2100" kern="1200" dirty="0"/>
            <a:t>Vague Consulting Agreements</a:t>
          </a:r>
        </a:p>
      </dsp:txBody>
      <dsp:txXfrm>
        <a:off x="5472201" y="645"/>
        <a:ext cx="2262336" cy="1357401"/>
      </dsp:txXfrm>
    </dsp:sp>
    <dsp:sp modelId="{D910B832-5BC3-4567-A296-3747EFDB6802}">
      <dsp:nvSpPr>
        <dsp:cNvPr id="0" name=""/>
        <dsp:cNvSpPr/>
      </dsp:nvSpPr>
      <dsp:spPr>
        <a:xfrm>
          <a:off x="495061" y="1584280"/>
          <a:ext cx="2262336" cy="1357401"/>
        </a:xfrm>
        <a:prstGeom prst="rect">
          <a:avLst/>
        </a:prstGeom>
        <a:solidFill>
          <a:srgbClr val="FF00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n-US" sz="2100" kern="1200" dirty="0"/>
            <a:t>Consultant in Different Line of Business</a:t>
          </a:r>
        </a:p>
      </dsp:txBody>
      <dsp:txXfrm>
        <a:off x="495061" y="1584280"/>
        <a:ext cx="2262336" cy="1357401"/>
      </dsp:txXfrm>
    </dsp:sp>
    <dsp:sp modelId="{B7EDBC2E-8944-44E6-B4EC-A72160E3D9E7}">
      <dsp:nvSpPr>
        <dsp:cNvPr id="0" name=""/>
        <dsp:cNvSpPr/>
      </dsp:nvSpPr>
      <dsp:spPr>
        <a:xfrm>
          <a:off x="2983631" y="1584280"/>
          <a:ext cx="2262336" cy="1357401"/>
        </a:xfrm>
        <a:prstGeom prst="rect">
          <a:avLst/>
        </a:prstGeom>
        <a:solidFill>
          <a:srgbClr val="FF00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n-US" sz="2100" kern="1200" dirty="0"/>
            <a:t>Consultant Related to Official</a:t>
          </a:r>
        </a:p>
      </dsp:txBody>
      <dsp:txXfrm>
        <a:off x="2983631" y="1584280"/>
        <a:ext cx="2262336" cy="1357401"/>
      </dsp:txXfrm>
    </dsp:sp>
    <dsp:sp modelId="{43726864-B8AC-46D3-9523-A78FC147B60D}">
      <dsp:nvSpPr>
        <dsp:cNvPr id="0" name=""/>
        <dsp:cNvSpPr/>
      </dsp:nvSpPr>
      <dsp:spPr>
        <a:xfrm>
          <a:off x="5472201" y="1584280"/>
          <a:ext cx="2262336" cy="1357401"/>
        </a:xfrm>
        <a:prstGeom prst="rect">
          <a:avLst/>
        </a:prstGeom>
        <a:solidFill>
          <a:srgbClr val="FF00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n-US" sz="2100" kern="1200" dirty="0"/>
            <a:t>Third Party Added at Official Insistence</a:t>
          </a:r>
        </a:p>
      </dsp:txBody>
      <dsp:txXfrm>
        <a:off x="5472201" y="1584280"/>
        <a:ext cx="2262336" cy="1357401"/>
      </dsp:txXfrm>
    </dsp:sp>
    <dsp:sp modelId="{90C960EA-57E6-4BD3-B0D1-B4F5C53346A8}">
      <dsp:nvSpPr>
        <dsp:cNvPr id="0" name=""/>
        <dsp:cNvSpPr/>
      </dsp:nvSpPr>
      <dsp:spPr>
        <a:xfrm>
          <a:off x="1739346" y="3167916"/>
          <a:ext cx="2262336" cy="1357401"/>
        </a:xfrm>
        <a:prstGeom prst="rect">
          <a:avLst/>
        </a:prstGeom>
        <a:solidFill>
          <a:srgbClr val="FF00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n-US" sz="2100" kern="1200" dirty="0"/>
            <a:t>Third Party Is Mere Shell Company</a:t>
          </a:r>
        </a:p>
      </dsp:txBody>
      <dsp:txXfrm>
        <a:off x="1739346" y="3167916"/>
        <a:ext cx="2262336" cy="1357401"/>
      </dsp:txXfrm>
    </dsp:sp>
    <dsp:sp modelId="{0C44EF3F-AC37-427F-AB10-8F6D2538F0AD}">
      <dsp:nvSpPr>
        <dsp:cNvPr id="0" name=""/>
        <dsp:cNvSpPr/>
      </dsp:nvSpPr>
      <dsp:spPr>
        <a:xfrm>
          <a:off x="4227916" y="3167916"/>
          <a:ext cx="2262336" cy="1357401"/>
        </a:xfrm>
        <a:prstGeom prst="rect">
          <a:avLst/>
        </a:prstGeom>
        <a:solidFill>
          <a:srgbClr val="FF00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n-US" sz="2100" kern="1200" dirty="0"/>
            <a:t>Third Party Requests Payment to Offshore Accounts</a:t>
          </a:r>
        </a:p>
      </dsp:txBody>
      <dsp:txXfrm>
        <a:off x="4227916" y="3167916"/>
        <a:ext cx="2262336" cy="1357401"/>
      </dsp:txXfrm>
    </dsp:sp>
  </dsp:spTree>
</dsp:drawing>
</file>

<file path=ppt/diagrams/layout1.xml><?xml version="1.0" encoding="utf-8"?>
<dgm:layoutDef xmlns:dgm="http://schemas.openxmlformats.org/drawingml/2006/diagram" xmlns:a="http://schemas.openxmlformats.org/drawingml/2006/main" uniqueId="urn:microsoft.com/office/officeart/2005/8/layout/hList2#1">
  <dgm:title val=""/>
  <dgm:desc val=""/>
  <dgm:catLst>
    <dgm:cat type="list" pri="6000"/>
    <dgm:cat type="relationship" pri="16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dgm:varLst>
    <dgm:choose name="Name0">
      <dgm:if name="Name1" func="var" arg="dir" op="equ" val="norm">
        <dgm:alg type="lin">
          <dgm:param type="linDir" val="fromL"/>
          <dgm:param type="nodeVertAlign" val="t"/>
        </dgm:alg>
      </dgm:if>
      <dgm:else name="Name2">
        <dgm:alg type="lin">
          <dgm:param type="linDir" val="fromR"/>
          <dgm:param type="nodeVertAlign" val="t"/>
        </dgm:alg>
      </dgm:else>
    </dgm:choose>
    <dgm:shape xmlns:r="http://schemas.openxmlformats.org/officeDocument/2006/relationships" r:blip="">
      <dgm:adjLst/>
    </dgm:shape>
    <dgm:presOf/>
    <dgm:constrLst>
      <dgm:constr type="w" for="ch" forName="compositeNode" refType="w"/>
      <dgm:constr type="h" for="ch" forName="compositeNode" refType="h"/>
      <dgm:constr type="w" for="ch" forName="sibTrans" refType="w" refFor="ch" refForName="compositeNode" op="equ" fact="0.2"/>
      <dgm:constr type="h" for="des" forName="childNode" op="equ"/>
      <dgm:constr type="w" for="des" forName="childNode" op="equ"/>
      <dgm:constr type="w" for="des" forName="parentNode" op="equ"/>
      <dgm:constr type="h" for="des" forName="image" op="equ"/>
      <dgm:constr type="w" for="des" forName="image" op="equ"/>
      <dgm:constr type="primFontSz" for="des" forName="parentNode" op="equ" val="65"/>
      <dgm:constr type="primFontSz" for="des" forName="childNode" op="equ" val="65"/>
    </dgm:constrLst>
    <dgm:ruleLst/>
    <dgm:forEach name="Name3" axis="ch" ptType="node">
      <dgm:layoutNode name="compositeNode">
        <dgm:varLst>
          <dgm:bulletEnabled val="1"/>
        </dgm:varLst>
        <dgm:alg type="composite"/>
        <dgm:presOf/>
        <dgm:choose name="Name4">
          <dgm:if name="Name5" func="var" arg="dir" op="equ" val="norm">
            <dgm:constrLst>
              <dgm:constr type="w" for="ch" forName="image" refType="w"/>
              <dgm:constr type="h" for="ch" forName="image" refType="h"/>
              <dgm:constr type="h" for="ch" forName="image" refType="w" refFor="ch" refForName="image" op="lte"/>
              <dgm:constr type="w" for="ch" forName="image" refType="h" refFor="ch" refForName="image" op="lte"/>
              <dgm:constr type="w" for="ch" forName="image" refType="w" op="lte" fact="0.33"/>
              <dgm:constr type="h" for="ch" forName="image" refType="h" op="lte" fact="0.33"/>
              <dgm:constr type="t" for="ch" forName="image"/>
              <dgm:constr type="l" for="ch" forName="image"/>
              <dgm:constr type="w" for="ch" forName="childNode" refType="w" fact="0.85"/>
              <dgm:constr type="h" for="ch" forName="childNode" refType="h" fact="0.78"/>
              <dgm:constr type="t" for="ch" forName="childNode" refType="h" refFor="ch" refForName="image" fact="0.66"/>
              <dgm:constr type="l" for="ch" forName="childNode" refType="w" refFor="ch" refForName="image" fact="0.5"/>
              <dgm:constr type="tMarg" for="ch" forName="childNode" refType="w" refFor="ch" refForName="image" fact="1.25"/>
              <dgm:constr type="t" for="ch" forName="parentNode" refType="h" refFor="ch" refForName="image" fact="0.66"/>
              <dgm:constr type="b" for="ch" forName="parentNode" refType="b" refFor="ch" refForName="childNode"/>
              <dgm:constr type="l" for="ch" forName="parentNode"/>
              <dgm:constr type="r" for="ch" forName="parentNode" refType="l" refFor="ch" refForName="childNode"/>
              <dgm:constr type="rMarg" for="ch" forName="parentNode" refType="w" refFor="ch" refForName="image" fact="1.25"/>
            </dgm:constrLst>
          </dgm:if>
          <dgm:else name="Name6">
            <dgm:constrLst>
              <dgm:constr type="w" for="ch" forName="image" refType="w"/>
              <dgm:constr type="h" for="ch" forName="image" refType="h"/>
              <dgm:constr type="h" for="ch" forName="image" refType="w" refFor="ch" refForName="image" op="lte"/>
              <dgm:constr type="w" for="ch" forName="image" refType="h" refFor="ch" refForName="image" op="lte"/>
              <dgm:constr type="w" for="ch" forName="image" refType="w" op="lte" fact="0.33"/>
              <dgm:constr type="h" for="ch" forName="image" refType="h" op="lte" fact="0.33"/>
              <dgm:constr type="t" for="ch" forName="image"/>
              <dgm:constr type="r" for="ch" forName="image" refType="w"/>
              <dgm:constr type="w" for="ch" forName="childNode" refType="w" fact="0.85"/>
              <dgm:constr type="h" for="ch" forName="childNode" refType="h" fact="0.78"/>
              <dgm:constr type="t" for="ch" forName="childNode" refType="h" refFor="ch" refForName="image" fact="0.66"/>
              <dgm:constr type="r" for="ch" forName="childNode" refType="w"/>
              <dgm:constr type="rOff" for="ch" forName="childNode" refType="w" refFor="ch" refForName="image" fact="-0.5"/>
              <dgm:constr type="tMarg" for="ch" forName="childNode" refType="w" refFor="ch" refForName="image" fact="1.25"/>
              <dgm:constr type="t" for="ch" forName="parentNode" refType="h" refFor="ch" refForName="image" fact="0.66"/>
              <dgm:constr type="b" for="ch" forName="parentNode" refType="b" refFor="ch" refForName="childNode"/>
              <dgm:constr type="r" for="ch" forName="parentNode" refType="w"/>
              <dgm:constr type="l" for="ch" forName="parentNode" refType="r" refFor="ch" refForName="childNode"/>
              <dgm:constr type="lOff" for="ch" forName="parentNode" refType="rOff" refFor="ch" refForName="childNode"/>
              <dgm:constr type="lMarg" for="ch" forName="parentNode" refType="w" refFor="ch" refForName="image" fact="1.25"/>
            </dgm:constrLst>
          </dgm:else>
        </dgm:choose>
        <dgm:ruleLst>
          <dgm:rule type="w" for="ch" forName="childNode" val="NaN" fact="0.4" max="NaN"/>
          <dgm:rule type="h" for="ch" forName="childNode" val="NaN" fact="0.5" max="NaN"/>
        </dgm:ruleLst>
        <dgm:layoutNode name="image" styleLbl="fgImgPlace1">
          <dgm:alg type="sp"/>
          <dgm:shape xmlns:r="http://schemas.openxmlformats.org/officeDocument/2006/relationships" type="rect" r:blip="" zOrderOff="4" blipPhldr="1">
            <dgm:adjLst/>
          </dgm:shape>
          <dgm:presOf/>
          <dgm:constrLst/>
          <dgm:ruleLst/>
        </dgm:layoutNode>
        <dgm:layoutNode name="childNode" styleLbl="node1">
          <dgm:varLst>
            <dgm:bulletEnabled val="1"/>
          </dgm:varLst>
          <dgm:alg type="tx">
            <dgm:param type="stBulletLvl" val="1"/>
          </dgm:alg>
          <dgm:shape xmlns:r="http://schemas.openxmlformats.org/officeDocument/2006/relationships" type="rect" r:blip="" zOrderOff="2">
            <dgm:adjLst/>
          </dgm:shape>
          <dgm:presOf axis="des" ptType="node"/>
          <dgm:constrLst/>
          <dgm:ruleLst>
            <dgm:rule type="primFontSz" val="5" fact="NaN" max="NaN"/>
          </dgm:ruleLst>
        </dgm:layoutNode>
        <dgm:layoutNode name="parentNode" styleLbl="revTx">
          <dgm:varLst>
            <dgm:chMax val="0"/>
            <dgm:bulletEnabled val="1"/>
          </dgm:varLst>
          <dgm:choose name="Name7">
            <dgm:if name="Name8" func="var" arg="dir" op="equ" val="norm">
              <dgm:alg type="tx">
                <dgm:param type="autoTxRot" val="grav"/>
                <dgm:param type="txAnchorVert" val="t"/>
                <dgm:param type="parTxLTRAlign" val="r"/>
                <dgm:param type="parTxRTLAlign" val="r"/>
              </dgm:alg>
              <dgm:shape xmlns:r="http://schemas.openxmlformats.org/officeDocument/2006/relationships" rot="270" type="rect" r:blip="">
                <dgm:adjLst/>
              </dgm:shape>
              <dgm:presOf axis="self"/>
              <dgm:constrLst>
                <dgm:constr type="lMarg"/>
                <dgm:constr type="bMarg"/>
                <dgm:constr type="tMarg"/>
              </dgm:constrLst>
            </dgm:if>
            <dgm:else name="Name9">
              <dgm:alg type="tx">
                <dgm:param type="autoTxRot" val="grav"/>
                <dgm:param type="parTxLTRAlign" val="l"/>
                <dgm:param type="parTxRTLAlign" val="l"/>
              </dgm:alg>
              <dgm:shape xmlns:r="http://schemas.openxmlformats.org/officeDocument/2006/relationships" rot="90" type="rect" r:blip="">
                <dgm:adjLst/>
              </dgm:shape>
              <dgm:presOf axis="self"/>
              <dgm:constrLst>
                <dgm:constr type="rMarg"/>
                <dgm:constr type="bMarg"/>
                <dgm:constr type="tMarg"/>
              </dgm:constrLst>
            </dgm:else>
          </dgm:choose>
          <dgm:ruleLst>
            <dgm:rule type="primFontSz" val="5" fact="NaN" max="NaN"/>
          </dgm:ruleLst>
        </dgm:layoutNode>
      </dgm:layoutNode>
      <dgm:forEach name="Name10" axis="followSib" ptType="sibTrans" cnt="1">
        <dgm:layoutNode name="sibTrans">
          <dgm:alg type="sp"/>
          <dgm:shape xmlns:r="http://schemas.openxmlformats.org/officeDocument/2006/relationships" r:blip="">
            <dgm:adjLst/>
          </dgm:shape>
          <dgm:presOf axis="self"/>
          <dgm:constrLst/>
          <dgm:ruleLst/>
        </dgm:layoutNode>
      </dgm:forEach>
    </dgm:forEach>
  </dgm:layoutNode>
</dgm:layoutDef>
</file>

<file path=ppt/diagrams/layout10.xml><?xml version="1.0" encoding="utf-8"?>
<dgm:layoutDef xmlns:dgm="http://schemas.openxmlformats.org/drawingml/2006/diagram" xmlns:a="http://schemas.openxmlformats.org/drawingml/2006/main" uniqueId="urn:microsoft.com/office/officeart/2005/8/layout/gear1">
  <dgm:title val=""/>
  <dgm:desc val=""/>
  <dgm:catLst>
    <dgm:cat type="relationship" pri="3000"/>
    <dgm:cat type="process" pri="28000"/>
    <dgm:cat type="cycle" pri="1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useDef="1">
    <dgm:dataModel>
      <dgm:ptLst/>
      <dgm:bg/>
      <dgm:whole/>
    </dgm:dataModel>
  </dgm:clrData>
  <dgm:layoutNode name="composite">
    <dgm:varLst>
      <dgm:chMax val="3"/>
      <dgm:animLvl val="lvl"/>
      <dgm:resizeHandles val="exact"/>
    </dgm:varLst>
    <dgm:alg type="composite">
      <dgm:param type="ar" val="1"/>
    </dgm:alg>
    <dgm:shape xmlns:r="http://schemas.openxmlformats.org/officeDocument/2006/relationships" r:blip="">
      <dgm:adjLst/>
    </dgm:shape>
    <dgm:presOf/>
    <dgm:choose name="Name0">
      <dgm:if name="Name1" axis="ch" ptType="node" func="cnt" op="lte" val="1">
        <dgm:constrLst>
          <dgm:constr type="primFontSz" for="ch" ptType="node" op="equ" val="65"/>
          <dgm:constr type="w" for="ch" forName="gear1" refType="w" fact="0.55"/>
          <dgm:constr type="h" for="ch" forName="gear1" refType="w" fact="0.55"/>
          <dgm:constr type="l" for="ch" forName="gear1" refType="w" fact="0.05"/>
          <dgm:constr type="t" for="ch" forName="gear1" refType="w" fact="0.05"/>
          <dgm:constr type="w" for="ch" forName="gear1srcNode" val="1"/>
          <dgm:constr type="h" for="ch" forName="gear1srcNode" val="1"/>
          <dgm:constr type="l" for="ch" forName="gear1srcNode" refType="w" fact="0.32"/>
          <dgm:constr type="t" for="ch" forName="gear1srcNode"/>
          <dgm:constr type="w" for="ch" forName="gear1dstNode" val="1"/>
          <dgm:constr type="h" for="ch" forName="gear1dstNode" val="1"/>
          <dgm:constr type="r" for="ch" forName="gear1dstNode" refType="w" fact="0.58"/>
          <dgm:constr type="t" for="ch" forName="gear1dstNode" refType="h" fact="0.5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dgm:constr type="b" for="ch" forName="gear1ch" refType="h" fact="0.6"/>
        </dgm:constrLst>
      </dgm:if>
      <dgm:if name="Name2" axis="ch" ptType="node" func="cnt" op="equ" val="2">
        <dgm:constrLst>
          <dgm:constr type="primFontSz" for="ch" ptType="node" op="equ" val="65"/>
          <dgm:constr type="w" for="ch" forName="gear1" refType="w" fact="0.55"/>
          <dgm:constr type="h" for="ch" forName="gear1" refType="w" fact="0.55"/>
          <dgm:constr type="l" for="ch" forName="gear1" refType="w" fact="0.45"/>
          <dgm:constr type="t" for="ch" forName="gear1" refType="w" fact="0.25"/>
          <dgm:constr type="w" for="ch" forName="gear1srcNode" val="1"/>
          <dgm:constr type="h" for="ch" forName="gear1srcNode" val="1"/>
          <dgm:constr type="l" for="ch" forName="gear1srcNode" refType="w" fact="0.72"/>
          <dgm:constr type="t" for="ch" forName="gear1srcNode" refType="w" fact="0.2"/>
          <dgm:constr type="w" for="ch" forName="gear1dstNode" val="1"/>
          <dgm:constr type="h" for="ch" forName="gear1dstNode" val="1"/>
          <dgm:constr type="r" for="ch" forName="gear1dstNode" refType="w" fact="0.98"/>
          <dgm:constr type="t" for="ch" forName="gear1dstNode" refType="h" fact="0.7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w" fact="0.8"/>
          <dgm:constr type="w" for="ch" forName="gear2" refType="w" fact="0.4"/>
          <dgm:constr type="h" for="ch" forName="gear2" refType="w" fact="0.4"/>
          <dgm:constr type="l" for="ch" forName="gear2" refType="w" fact="0.13"/>
          <dgm:constr type="t" for="ch" forName="gear2" refType="w" fact="0.12"/>
          <dgm:constr type="w" for="ch" forName="gear2srcNode" val="1"/>
          <dgm:constr type="h" for="ch" forName="gear2srcNode" val="1"/>
          <dgm:constr type="l" for="ch" forName="gear2srcNode" refType="w" fact="0.23"/>
          <dgm:constr type="t" for="ch" forName="gear2srcNode" refType="w" fact="0.08"/>
          <dgm:constr type="w" for="ch" forName="gear2dstNode" val="1"/>
          <dgm:constr type="h" for="ch" forName="gear2dstNode" val="1"/>
          <dgm:constr type="l" for="ch" forName="gear2dstNode" refType="w" fact="0.1"/>
          <dgm:constr type="t" for="ch" forName="gear2dstNode" refType="h" fact="0.3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refType="w" fact="0.34"/>
          <dgm:constr type="t" for="ch" forName="gear2ch" refType="w" fact="0.04"/>
        </dgm:constrLst>
      </dgm:if>
      <dgm:else name="Name3">
        <dgm:constrLst>
          <dgm:constr type="primFontSz" for="ch" ptType="node" op="equ" val="65"/>
          <dgm:constr type="w" for="ch" forName="gear1" refType="w" fact="0.55"/>
          <dgm:constr type="h" for="ch" forName="gear1" refType="w" fact="0.55"/>
          <dgm:constr type="l" for="ch" forName="gear1" refType="w" fact="0.45"/>
          <dgm:constr type="t" for="ch" forName="gear1" refType="w" fact="0.45"/>
          <dgm:constr type="w" for="ch" forName="gear1srcNode" val="1"/>
          <dgm:constr type="h" for="ch" forName="gear1srcNode" val="1"/>
          <dgm:constr type="l" for="ch" forName="gear1srcNode" refType="w" fact="0.72"/>
          <dgm:constr type="t" for="ch" forName="gear1srcNode" refType="w" fact="0.4"/>
          <dgm:constr type="w" for="ch" forName="gear1dstNode" val="1"/>
          <dgm:constr type="h" for="ch" forName="gear1dstNode" val="1"/>
          <dgm:constr type="r" for="ch" forName="gear1dstNode" refType="w" fact="0.98"/>
          <dgm:constr type="t" for="ch" forName="gear1dstNode" refType="h" fact="0.95"/>
          <dgm:constr type="diam" for="des" forName="connector1" refType="w" refFor="ch" refForName="gear1" op="equ" fact="1.15"/>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h"/>
          <dgm:constr type="w" for="ch" forName="gear2" refType="w" fact="0.4"/>
          <dgm:constr type="h" for="ch" forName="gear2" refType="w" fact="0.4"/>
          <dgm:constr type="l" for="ch" forName="gear2" refType="w" fact="0.13"/>
          <dgm:constr type="t" for="ch" forName="gear2" refType="w" fact="0.32"/>
          <dgm:constr type="w" for="ch" forName="gear2srcNode" val="1"/>
          <dgm:constr type="h" for="ch" forName="gear2srcNode" val="1"/>
          <dgm:constr type="l" for="ch" forName="gear2srcNode" refType="w" fact="0.23"/>
          <dgm:constr type="t" for="ch" forName="gear2srcNode" refType="w" fact="0.28"/>
          <dgm:constr type="w" for="ch" forName="gear2dstNode" val="1"/>
          <dgm:constr type="h" for="ch" forName="gear2dstNode" val="1"/>
          <dgm:constr type="l" for="ch" forName="gear2dstNode" refType="w" fact="0.1"/>
          <dgm:constr type="t" for="ch" forName="gear2dstNode" refType="h" fact="0.5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dgm:constr type="t" for="ch" forName="gear2ch" refType="w" fact="0.58"/>
          <dgm:constr type="w" for="ch" forName="gear3" refType="w" fact="0.48"/>
          <dgm:constr type="h" for="ch" forName="gear3" refType="w" fact="0.48"/>
          <dgm:constr type="l" for="ch" forName="gear3" refType="w" fact="0.31"/>
          <dgm:constr type="t" for="ch" forName="gear3"/>
          <dgm:constr type="w" for="ch" forName="gear3tx" refType="w" fact="0.22"/>
          <dgm:constr type="h" for="ch" forName="gear3tx" refType="w" fact="0.22"/>
          <dgm:constr type="ctrX" for="ch" forName="gear3tx" refType="ctrX" refFor="ch" refForName="gear3"/>
          <dgm:constr type="ctrY" for="ch" forName="gear3tx" refType="ctrY" refFor="ch" refForName="gear3"/>
          <dgm:constr type="w" for="ch" forName="gear3srcNode" val="1"/>
          <dgm:constr type="h" for="ch" forName="gear3srcNode" val="1"/>
          <dgm:constr type="l" for="ch" forName="gear3srcNode" refType="w" fact="0.3"/>
          <dgm:constr type="t" for="ch" forName="gear3srcNode" refType="w" fact="0.25"/>
          <dgm:constr type="w" for="ch" forName="gear3dstNode" val="1"/>
          <dgm:constr type="h" for="ch" forName="gear3dstNode" val="1"/>
          <dgm:constr type="l" for="ch" forName="gear3dstNode" refType="w" fact="0.38"/>
          <dgm:constr type="t" for="ch" forName="gear3dstNode" refType="h" fact="0.05"/>
          <dgm:constr type="diam" for="des" forName="connector3" refType="w" refFor="ch" refForName="gear3" op="equ"/>
          <dgm:constr type="h" for="des" forName="connector3" refType="w" refFor="ch" refForName="gear1" op="equ" fact="0.1"/>
          <dgm:constr type="w" for="ch" forName="gear3ch" refType="w" fact="0.35"/>
          <dgm:constr type="h" for="ch" forName="gear3ch" refType="w" refFor="ch" refForName="gear3ch" fact="0.6"/>
          <dgm:constr type="l" for="ch" forName="gear3ch" refType="w" fact="0.65"/>
          <dgm:constr type="t" for="ch" forName="gear3ch" refType="h" fact="0.13"/>
        </dgm:constrLst>
      </dgm:else>
    </dgm:choose>
    <dgm:ruleLst/>
    <dgm:forEach name="Name4" axis="ch" ptType="node" cnt="1">
      <dgm:layoutNode name="gear1" styleLbl="node1">
        <dgm:varLst>
          <dgm:chMax val="1"/>
          <dgm:bulletEnabled val="1"/>
        </dgm:varLst>
        <dgm:alg type="tx">
          <dgm:param type="txAnchorVertCh" val="mid"/>
        </dgm:alg>
        <dgm:shape xmlns:r="http://schemas.openxmlformats.org/officeDocument/2006/relationships" type="gear9"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1srcNode">
        <dgm:alg type="sp"/>
        <dgm:shape xmlns:r="http://schemas.openxmlformats.org/officeDocument/2006/relationships" type="rect" r:blip="" hideGeom="1">
          <dgm:adjLst/>
        </dgm:shape>
        <dgm:presOf axis="self"/>
        <dgm:constrLst/>
        <dgm:ruleLst/>
      </dgm:layoutNode>
      <dgm:layoutNode name="gear1dstNode">
        <dgm:alg type="sp"/>
        <dgm:shape xmlns:r="http://schemas.openxmlformats.org/officeDocument/2006/relationships" type="rect" r:blip="" hideGeom="1">
          <dgm:adjLst/>
        </dgm:shape>
        <dgm:presOf axis="self"/>
        <dgm:constrLst/>
        <dgm:ruleLst/>
      </dgm:layoutNode>
      <dgm:choose name="Name5">
        <dgm:if name="Name6" axis="ch" ptType="node" func="cnt" op="gte" val="1">
          <dgm:layoutNode name="gear1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7"/>
      </dgm:choose>
    </dgm:forEach>
    <dgm:forEach name="Name8" axis="ch" ptType="node" st="2" cnt="1">
      <dgm:layoutNode name="gear2" styleLbl="node1">
        <dgm:varLst>
          <dgm:chMax val="1"/>
          <dgm:bulletEnabled val="1"/>
        </dgm:varLst>
        <dgm:alg type="tx">
          <dgm:param type="txAnchorVertCh" val="mid"/>
        </dgm:alg>
        <dgm:shape xmlns:r="http://schemas.openxmlformats.org/officeDocument/2006/relationships" type="gear6"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2srcNode">
        <dgm:alg type="sp"/>
        <dgm:shape xmlns:r="http://schemas.openxmlformats.org/officeDocument/2006/relationships" type="rect" r:blip="" hideGeom="1">
          <dgm:adjLst/>
        </dgm:shape>
        <dgm:presOf axis="self"/>
        <dgm:constrLst/>
        <dgm:ruleLst/>
      </dgm:layoutNode>
      <dgm:layoutNode name="gear2dstNode">
        <dgm:alg type="sp"/>
        <dgm:shape xmlns:r="http://schemas.openxmlformats.org/officeDocument/2006/relationships" type="rect" r:blip="" hideGeom="1">
          <dgm:adjLst/>
        </dgm:shape>
        <dgm:presOf axis="self"/>
        <dgm:constrLst/>
        <dgm:ruleLst/>
      </dgm:layoutNode>
      <dgm:choose name="Name9">
        <dgm:if name="Name10" axis="ch" ptType="node" func="cnt" op="gte" val="1">
          <dgm:layoutNode name="gear2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1"/>
      </dgm:choose>
    </dgm:forEach>
    <dgm:forEach name="Name12" axis="ch" ptType="node" st="3" cnt="1">
      <dgm:layoutNode name="gear3" styleLbl="node1">
        <dgm:alg type="sp"/>
        <dgm:shape xmlns:r="http://schemas.openxmlformats.org/officeDocument/2006/relationships" rot="-15" type="gear6" r:blip="">
          <dgm:adjLst/>
        </dgm:shape>
        <dgm:presOf axis="self"/>
        <dgm:constrLst/>
        <dgm:ruleLst/>
      </dgm:layoutNode>
      <dgm:layoutNode name="gear3tx" styleLbl="node1">
        <dgm:varLst>
          <dgm:chMax val="1"/>
          <dgm:bulletEnabled val="1"/>
        </dgm:varLst>
        <dgm:alg type="tx">
          <dgm:param type="txAnchorVertCh" val="mid"/>
        </dgm:alg>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3srcNode">
        <dgm:alg type="sp"/>
        <dgm:shape xmlns:r="http://schemas.openxmlformats.org/officeDocument/2006/relationships" type="rect" r:blip="" hideGeom="1">
          <dgm:adjLst/>
        </dgm:shape>
        <dgm:presOf axis="self"/>
        <dgm:constrLst/>
        <dgm:ruleLst/>
      </dgm:layoutNode>
      <dgm:layoutNode name="gear3dstNode">
        <dgm:alg type="sp"/>
        <dgm:shape xmlns:r="http://schemas.openxmlformats.org/officeDocument/2006/relationships" type="rect" r:blip="" hideGeom="1">
          <dgm:adjLst/>
        </dgm:shape>
        <dgm:presOf axis="self"/>
        <dgm:constrLst/>
        <dgm:ruleLst/>
      </dgm:layoutNode>
      <dgm:choose name="Name13">
        <dgm:if name="Name14" axis="ch" ptType="node" func="cnt" op="gte" val="1">
          <dgm:layoutNode name="gear3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5"/>
      </dgm:choose>
    </dgm:forEach>
    <dgm:forEach name="Name16" axis="ch" ptType="sibTrans" hideLastTrans="0" cnt="1">
      <dgm:layoutNode name="connector1" styleLbl="sibTrans2D1">
        <dgm:alg type="conn">
          <dgm:param type="connRout" val="curve"/>
          <dgm:param type="srcNode" val="gear1srcNode"/>
          <dgm:param type="dstNode" val="gear1dstNode"/>
          <dgm:param type="begPts" val="midR"/>
          <dgm:param type="endPts" val="tCtr"/>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7" axis="ch" ptType="sibTrans" hideLastTrans="0" st="2" cnt="1">
      <dgm:layoutNode name="connector2" styleLbl="sibTrans2D1">
        <dgm:alg type="conn">
          <dgm:param type="connRout" val="curve"/>
          <dgm:param type="srcNode" val="gear2srcNode"/>
          <dgm:param type="dstNode" val="gear2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8" axis="ch" ptType="sibTrans" hideLastTrans="0" st="3" cnt="1">
      <dgm:layoutNode name="connector3" styleLbl="sibTrans2D1">
        <dgm:alg type="conn">
          <dgm:param type="connRout" val="curve"/>
          <dgm:param type="srcNode" val="gear3srcNode"/>
          <dgm:param type="dstNode" val="gear3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layoutNode>
</dgm:layoutDef>
</file>

<file path=ppt/diagrams/layout11.xml><?xml version="1.0" encoding="utf-8"?>
<dgm:layoutDef xmlns:dgm="http://schemas.openxmlformats.org/drawingml/2006/diagram" xmlns:a="http://schemas.openxmlformats.org/drawingml/2006/main" uniqueId="urn:microsoft.com/office/officeart/2005/8/layout/radial2">
  <dgm:title val=""/>
  <dgm:desc val=""/>
  <dgm:catLst>
    <dgm:cat type="relationship" pri="20000"/>
    <dgm:cat type="convert" pri="9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ite">
    <dgm:varLst>
      <dgm:chMax val="5"/>
      <dgm:dir/>
      <dgm:animLvl val="ctr"/>
      <dgm:resizeHandles val="exact"/>
    </dgm:varLst>
    <dgm:alg type="composite"/>
    <dgm:shape xmlns:r="http://schemas.openxmlformats.org/officeDocument/2006/relationships" r:blip="">
      <dgm:adjLst/>
    </dgm:shape>
    <dgm:presOf/>
    <dgm:constrLst>
      <dgm:constr type="w" for="ch" forName="cycle" refType="w"/>
      <dgm:constr type="h" for="ch" forName="cycle" refType="h"/>
    </dgm:constrLst>
    <dgm:ruleLst/>
    <dgm:layoutNode name="cycle">
      <dgm:choose name="Name0">
        <dgm:if name="Name1" func="var" arg="dir" op="equ" val="norm">
          <dgm:choose name="Name2">
            <dgm:if name="Name3" axis="ch" ptType="node" func="cnt" op="lte" val="1">
              <dgm:alg type="cycle">
                <dgm:param type="stAng" val="90"/>
                <dgm:param type="spanAng" val="360"/>
                <dgm:param type="ctrShpMap" val="fNode"/>
              </dgm:alg>
            </dgm:if>
            <dgm:if name="Name4" axis="ch" ptType="node" func="cnt" op="equ" val="2">
              <dgm:alg type="cycle">
                <dgm:param type="stAng" val="70"/>
                <dgm:param type="spanAng" val="40"/>
                <dgm:param type="ctrShpMap" val="fNode"/>
              </dgm:alg>
            </dgm:if>
            <dgm:if name="Name5" axis="ch" ptType="node" func="cnt" op="equ" val="3">
              <dgm:alg type="cycle">
                <dgm:param type="stAng" val="60"/>
                <dgm:param type="spanAng" val="60"/>
                <dgm:param type="ctrShpMap" val="fNode"/>
              </dgm:alg>
            </dgm:if>
            <dgm:else name="Name6">
              <dgm:alg type="cycle">
                <dgm:param type="stAng" val="45"/>
                <dgm:param type="spanAng" val="90"/>
                <dgm:param type="ctrShpMap" val="fNode"/>
              </dgm:alg>
            </dgm:else>
          </dgm:choose>
        </dgm:if>
        <dgm:else name="Name7">
          <dgm:choose name="Name8">
            <dgm:if name="Name9" axis="ch" ptType="node" func="cnt" op="lte" val="1">
              <dgm:alg type="cycle">
                <dgm:param type="stAng" val="-90"/>
                <dgm:param type="spanAng" val="-360"/>
                <dgm:param type="ctrShpMap" val="fNode"/>
              </dgm:alg>
            </dgm:if>
            <dgm:if name="Name10" axis="ch" ptType="node" func="cnt" op="equ" val="2">
              <dgm:alg type="cycle">
                <dgm:param type="stAng" val="-70"/>
                <dgm:param type="spanAng" val="-40"/>
                <dgm:param type="ctrShpMap" val="fNode"/>
              </dgm:alg>
            </dgm:if>
            <dgm:if name="Name11" axis="ch" ptType="node" func="cnt" op="equ" val="3">
              <dgm:alg type="cycle">
                <dgm:param type="stAng" val="-60"/>
                <dgm:param type="spanAng" val="-60"/>
                <dgm:param type="ctrShpMap" val="fNode"/>
              </dgm:alg>
            </dgm:if>
            <dgm:else name="Name12">
              <dgm:alg type="cycle">
                <dgm:param type="stAng" val="-45"/>
                <dgm:param type="spanAng" val="-90"/>
                <dgm:param type="ctrShpMap" val="fNode"/>
              </dgm:alg>
            </dgm:else>
          </dgm:choose>
        </dgm:else>
      </dgm:choose>
      <dgm:shape xmlns:r="http://schemas.openxmlformats.org/officeDocument/2006/relationships" r:blip="">
        <dgm:adjLst/>
      </dgm:shape>
      <dgm:presOf/>
      <dgm:constrLst>
        <dgm:constr type="sp" val="20"/>
        <dgm:constr type="w" for="ch" forName="centerShape" refType="w"/>
        <dgm:constr type="w" for="ch" forName="node" refType="w" refFor="ch" refForName="centerShape" fact="1.5"/>
        <dgm:constr type="sibSp" refType="w" refFor="ch" refForName="centerShape" op="equ" fact="0.08"/>
        <dgm:constr type="primFontSz" for="des" forName="parentNode" op="equ" val="65"/>
        <dgm:constr type="secFontSz" for="des" forName="childNode" op="equ" val="65"/>
      </dgm:constrLst>
      <dgm:ruleLst/>
      <dgm:choose name="Name13">
        <dgm:if name="Name14" axis="ch" ptType="node" hideLastTrans="0" func="cnt" op="gte" val="1">
          <dgm:layoutNode name="centerShape" styleLbl="node0">
            <dgm:alg type="composite"/>
            <dgm:shape xmlns:r="http://schemas.openxmlformats.org/officeDocument/2006/relationships" r:blip="">
              <dgm:adjLst/>
            </dgm:shape>
            <dgm:presOf axis="ch" ptType="node" cnt="1"/>
            <dgm:constrLst>
              <dgm:constr type="w" for="ch" forName="connSite" refType="w" fact="0.7"/>
              <dgm:constr type="h" for="ch" forName="connSite" refType="w" fact="0.7"/>
              <dgm:constr type="ctrX" for="ch" forName="connSite" refType="w" fact="0.5"/>
              <dgm:constr type="ctrY" for="ch" forName="connSite" refType="h" fact="0.5"/>
              <dgm:constr type="w" for="ch" forName="visible" refType="w"/>
              <dgm:constr type="h" for="ch" forName="visible" refType="w"/>
              <dgm:constr type="ctrX" for="ch" forName="visible" refType="w" fact="0.5"/>
              <dgm:constr type="ctrY" for="ch" forName="visible" refType="h" fact="0.5"/>
            </dgm:constrLst>
            <dgm:ruleLst/>
            <dgm:layoutNode name="connSite">
              <dgm:alg type="sp"/>
              <dgm:shape xmlns:r="http://schemas.openxmlformats.org/officeDocument/2006/relationships" type="ellipse" r:blip="" hideGeom="1">
                <dgm:adjLst/>
              </dgm:shape>
              <dgm:presOf/>
              <dgm:constrLst/>
              <dgm:ruleLst/>
            </dgm:layoutNode>
            <dgm:layoutNode name="visible">
              <dgm:alg type="sp"/>
              <dgm:shape xmlns:r="http://schemas.openxmlformats.org/officeDocument/2006/relationships" type="ellipse" r:blip="" blipPhldr="1">
                <dgm:adjLst/>
              </dgm:shape>
              <dgm:presOf/>
              <dgm:constrLst/>
              <dgm:ruleLst/>
            </dgm:layoutNode>
          </dgm:layoutNode>
        </dgm:if>
        <dgm:else name="Name15"/>
      </dgm:choose>
      <dgm:forEach name="Name16" axis="ch">
        <dgm:forEach name="Name17" axis="self" ptType="node">
          <dgm:layoutNode name="node">
            <dgm:alg type="composite"/>
            <dgm:shape xmlns:r="http://schemas.openxmlformats.org/officeDocument/2006/relationships" r:blip="">
              <dgm:adjLst/>
            </dgm:shape>
            <dgm:presOf/>
            <dgm:choose name="Name18">
              <dgm:if name="Name19" func="var" arg="dir" op="equ" val="norm">
                <dgm:constrLst>
                  <dgm:constr type="t" for="ch" forName="parentNode"/>
                  <dgm:constr type="l" for="ch" forName="parentNode"/>
                  <dgm:constr type="w" for="ch" forName="parentNode" refType="w" fact="0.4"/>
                  <dgm:constr type="h" for="ch" forName="parentNode" refType="w" refFor="ch" refForName="parentNode" op="equ"/>
                  <dgm:constr type="ctrY" for="ch" forName="childNode" refType="h" refFor="ch" refForName="parentNode" fact="0.5"/>
                  <dgm:constr type="l" for="ch" forName="childNode" refType="w" refFor="ch" refForName="parentNode" op="equ" fact="1.1"/>
                  <dgm:constr type="w" for="ch" forName="childNode" refType="w" fact="0.6"/>
                  <dgm:constr type="h" for="ch" forName="childNode" refType="h" refFor="ch" refForName="parentNode"/>
                </dgm:constrLst>
              </dgm:if>
              <dgm:else name="Name20">
                <dgm:constrLst>
                  <dgm:constr type="t" for="ch" forName="parentNode"/>
                  <dgm:constr type="r" for="ch" forName="parentNode" refType="w"/>
                  <dgm:constr type="w" for="ch" forName="parentNode" refType="w" fact="0.4"/>
                  <dgm:constr type="h" for="ch" forName="parentNode" refType="w" refFor="ch" refForName="parentNode" op="equ"/>
                  <dgm:constr type="ctrY" for="ch" forName="childNode" refType="h" refFor="ch" refForName="parentNode" fact="0.5"/>
                  <dgm:constr type="l" for="ch" forName="childNode"/>
                  <dgm:constr type="w" for="ch" forName="childNode" refType="w" fact="0.6"/>
                  <dgm:constr type="h" for="ch" forName="childNode" refType="h" refFor="ch" refForName="parentNode"/>
                </dgm:constrLst>
              </dgm:else>
            </dgm:choose>
            <dgm:ruleLst/>
            <dgm:layoutNode name="parentNode" styleLbl="node1">
              <dgm:varLst>
                <dgm:chMax val="1"/>
                <dgm:bulletEnabled val="1"/>
              </dgm:varLst>
              <dgm:alg type="tx"/>
              <dgm:shape xmlns:r="http://schemas.openxmlformats.org/officeDocument/2006/relationships" type="ellipse" r:blip="">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name="childNode" styleLbl="revTx" moveWith="parentNode">
              <dgm:varLst>
                <dgm:bulletEnabled val="1"/>
              </dgm:varLst>
              <dgm:alg type="tx">
                <dgm:param type="txAnchorVertCh" val="mid"/>
                <dgm:param type="stBulletLvl" val="1"/>
              </dgm:alg>
              <dgm:choose name="Name21">
                <dgm:if name="Name22" axis="ch" ptType="node" func="cnt" op="gte" val="1">
                  <dgm:shape xmlns:r="http://schemas.openxmlformats.org/officeDocument/2006/relationships" type="rect" r:blip="">
                    <dgm:adjLst/>
                  </dgm:shape>
                </dgm:if>
                <dgm:else name="Name23">
                  <dgm:shape xmlns:r="http://schemas.openxmlformats.org/officeDocument/2006/relationships" type="rect" r:blip="" hideGeom="1">
                    <dgm:adjLst/>
                  </dgm:shape>
                </dgm:else>
              </dgm:choose>
              <dgm:presOf axis="des" ptType="node"/>
              <dgm:constrLst>
                <dgm:constr type="tMarg"/>
                <dgm:constr type="bMarg"/>
                <dgm:constr type="lMarg"/>
                <dgm:constr type="rMarg"/>
              </dgm:constrLst>
              <dgm:ruleLst>
                <dgm:rule type="secFontSz" val="5" fact="NaN" max="NaN"/>
              </dgm:ruleLst>
            </dgm:layoutNode>
          </dgm:layoutNode>
        </dgm:forEach>
        <dgm:forEach name="Name24" axis="self" ptType="parTrans" cnt="1">
          <dgm:layoutNode name="Name25">
            <dgm:alg type="conn">
              <dgm:param type="dim" val="1D"/>
              <dgm:param type="endSty" val="noArr"/>
              <dgm:param type="begPts" val="auto"/>
              <dgm:param type="endPts" val="auto"/>
              <dgm:param type="srcNode" val="connSite"/>
              <dgm:param type="dstNode" val="parentNode"/>
            </dgm:alg>
            <dgm:shape xmlns:r="http://schemas.openxmlformats.org/officeDocument/2006/relationships" type="conn" r:blip="" zOrderOff="-99">
              <dgm:adjLst/>
            </dgm:shape>
            <dgm:presOf axis="self"/>
            <dgm:constrLst>
              <dgm:constr type="connDist"/>
              <dgm:constr type="w" val="1"/>
              <dgm:constr type="h" val="5"/>
              <dgm:constr type="begPad"/>
              <dgm:constr type="endPad"/>
            </dgm:constrLst>
            <dgm:ruleLst/>
          </dgm:layoutNode>
        </dgm:forEach>
      </dgm:forEach>
    </dgm:layoutNode>
  </dgm:layoutNode>
</dgm:layoutDef>
</file>

<file path=ppt/diagrams/layout12.xml><?xml version="1.0" encoding="utf-8"?>
<dgm:layoutDef xmlns:dgm="http://schemas.openxmlformats.org/drawingml/2006/diagram" xmlns:a="http://schemas.openxmlformats.org/drawingml/2006/main" uniqueId="urn:microsoft.com/office/officeart/2005/8/layout/radial4">
  <dgm:title val=""/>
  <dgm:desc val=""/>
  <dgm:catLst>
    <dgm:cat type="relationship" pri="190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t modelId="11"/>
        <dgm:pt modelId="12"/>
      </dgm:ptLst>
      <dgm:cxnLst>
        <dgm:cxn modelId="2" srcId="0" destId="1" srcOrd="0" destOrd="0"/>
        <dgm:cxn modelId="15" srcId="1" destId="11" srcOrd="0" destOrd="0"/>
        <dgm:cxn modelId="16" srcId="1" destId="12" srcOrd="1"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cycle">
    <dgm:varLst>
      <dgm:chMax val="1"/>
      <dgm:dir/>
      <dgm:animLvl val="ctr"/>
      <dgm:resizeHandles val="exact"/>
    </dgm:varLst>
    <dgm:choose name="Name0">
      <dgm:if name="Name1" func="var" arg="dir" op="equ" val="norm">
        <dgm:choose name="Name2">
          <dgm:if name="Name3" axis="ch ch" ptType="node node" st="1 1" cnt="1 0" func="cnt" op="lte" val="1">
            <dgm:alg type="cycle">
              <dgm:param type="stAng" val="0"/>
              <dgm:param type="spanAng" val="360"/>
              <dgm:param type="ctrShpMap" val="fNode"/>
            </dgm:alg>
          </dgm:if>
          <dgm:else name="Name4">
            <dgm:choose name="Name5">
              <dgm:if name="Name6" axis="ch ch" ptType="node node" st="1 1" cnt="1 0" func="cnt" op="lte" val="3">
                <dgm:alg type="cycle">
                  <dgm:param type="stAng" val="-55"/>
                  <dgm:param type="spanAng" val="110"/>
                  <dgm:param type="ctrShpMap" val="fNode"/>
                </dgm:alg>
              </dgm:if>
              <dgm:else name="Name7">
                <dgm:choose name="Name8">
                  <dgm:if name="Name9" axis="ch ch" ptType="node node" st="1 1" cnt="1 0" func="cnt" op="equ" val="4">
                    <dgm:alg type="cycle">
                      <dgm:param type="stAng" val="-75"/>
                      <dgm:param type="spanAng" val="150"/>
                      <dgm:param type="ctrShpMap" val="fNode"/>
                    </dgm:alg>
                  </dgm:if>
                  <dgm:else name="Name10">
                    <dgm:alg type="cycle">
                      <dgm:param type="stAng" val="-90"/>
                      <dgm:param type="spanAng" val="180"/>
                      <dgm:param type="ctrShpMap" val="fNode"/>
                    </dgm:alg>
                  </dgm:else>
                </dgm:choose>
              </dgm:else>
            </dgm:choose>
          </dgm:else>
        </dgm:choose>
      </dgm:if>
      <dgm:else name="Name11">
        <dgm:choose name="Name12">
          <dgm:if name="Name13" axis="ch ch" ptType="node node" st="1 1" cnt="1 0" func="cnt" op="lte" val="1">
            <dgm:alg type="cycle">
              <dgm:param type="stAng" val="0"/>
              <dgm:param type="spanAng" val="-360"/>
              <dgm:param type="ctrShpMap" val="fNode"/>
            </dgm:alg>
          </dgm:if>
          <dgm:else name="Name14">
            <dgm:choose name="Name15">
              <dgm:if name="Name16" axis="ch ch" ptType="node node" st="1 1" cnt="1 0" func="cnt" op="lte" val="3">
                <dgm:alg type="cycle">
                  <dgm:param type="stAng" val="55"/>
                  <dgm:param type="spanAng" val="-110"/>
                  <dgm:param type="ctrShpMap" val="fNode"/>
                </dgm:alg>
              </dgm:if>
              <dgm:else name="Name17">
                <dgm:choose name="Name18">
                  <dgm:if name="Name19" axis="ch ch" ptType="node node" st="1 1" cnt="1 0" func="cnt" op="equ" val="4">
                    <dgm:alg type="cycle">
                      <dgm:param type="stAng" val="75"/>
                      <dgm:param type="spanAng" val="-150"/>
                      <dgm:param type="ctrShpMap" val="fNode"/>
                    </dgm:alg>
                  </dgm:if>
                  <dgm:else name="Name20">
                    <dgm:alg type="cycle">
                      <dgm:param type="stAng" val="90"/>
                      <dgm:param type="spanAng" val="-180"/>
                      <dgm:param type="ctrShpMap" val="fNode"/>
                    </dgm:alg>
                  </dgm:else>
                </dgm:choose>
              </dgm:else>
            </dgm:choose>
          </dgm:else>
        </dgm:choose>
      </dgm:else>
    </dgm:choose>
    <dgm:shape xmlns:r="http://schemas.openxmlformats.org/officeDocument/2006/relationships" r:blip="">
      <dgm:adjLst/>
    </dgm:shape>
    <dgm:presOf/>
    <dgm:constrLst>
      <dgm:constr type="w" for="ch" forName="centerShape" refType="w"/>
      <dgm:constr type="w" for="ch" forName="node" refType="w" refFor="ch" refForName="centerShape" fact="0.95"/>
      <dgm:constr type="h" for="ch" forName="parTrans" refType="w" refFor="ch" refForName="centerShape" fact="0.285"/>
      <dgm:constr type="sp" refType="w" refFor="ch" refForName="centerShape" op="equ" fact="0.23"/>
      <dgm:constr type="sibSp" refType="w" refFor="ch" refForName="node" fact="0.1"/>
      <dgm:constr type="primFontSz" for="ch" forName="node" op="equ"/>
    </dgm:constrLst>
    <dgm:choose name="Name21">
      <dgm:if name="Name22" axis="ch ch" ptType="node node" st="1 1" cnt="1 0" func="cnt" op="lte" val="5">
        <dgm:ruleLst>
          <dgm:rule type="w" for="ch" forName="centerShape" val="NaN" fact="0.27" max="NaN"/>
        </dgm:ruleLst>
      </dgm:if>
      <dgm:else name="Name23">
        <dgm:ruleLst>
          <dgm:rule type="w" for="ch" forName="centerShape" val="NaN" fact="0.27" max="NaN"/>
          <dgm:rule type="w" for="ch" forName="node" val="NaN" fact="0.7" max="NaN"/>
        </dgm:ruleLst>
      </dgm:else>
    </dgm:choose>
    <dgm:forEach name="Name24" axis="ch" ptType="node" cnt="1">
      <dgm:layoutNode name="centerShape" styleLbl="node0">
        <dgm:alg type="tx"/>
        <dgm:shape xmlns:r="http://schemas.openxmlformats.org/officeDocument/2006/relationships" type="ellipse" r:blip="">
          <dgm:adjLst/>
        </dgm:shape>
        <dgm:presOf axis="self"/>
        <dgm:constrLst>
          <dgm:constr type="tMarg" refType="primFontSz" fact="0.05"/>
          <dgm:constr type="bMarg" refType="primFontSz" fact="0.05"/>
          <dgm:constr type="lMarg" refType="primFontSz" fact="0.05"/>
          <dgm:constr type="rMarg" refType="primFontSz" fact="0.05"/>
          <dgm:constr type="primFontSz" val="65"/>
          <dgm:constr type="h" refType="w"/>
        </dgm:constrLst>
        <dgm:ruleLst>
          <dgm:rule type="primFontSz" val="5" fact="NaN" max="NaN"/>
        </dgm:ruleLst>
      </dgm:layoutNode>
      <dgm:forEach name="Name25" axis="ch">
        <dgm:forEach name="Name26" axis="self" ptType="parTrans">
          <dgm:layoutNode name="parTrans" styleLbl="bgSibTrans2D1">
            <dgm:alg type="conn">
              <dgm:param type="begPts" val="auto"/>
              <dgm:param type="endPts" val="ctr"/>
              <dgm:param type="endSty" val="noArr"/>
              <dgm:param type="begSty" val="arr"/>
            </dgm:alg>
            <dgm:shape xmlns:r="http://schemas.openxmlformats.org/officeDocument/2006/relationships" type="conn" r:blip="">
              <dgm:adjLst/>
            </dgm:shape>
            <dgm:presOf axis="self"/>
            <dgm:constrLst>
              <dgm:constr type="begPad" refType="connDist" fact="0.055"/>
              <dgm:constr type="endPad"/>
            </dgm:constrLst>
            <dgm:ruleLst/>
          </dgm:layoutNode>
        </dgm:forEach>
        <dgm:forEach name="Name27" axis="self" ptType="node">
          <dgm:layoutNode name="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h" refType="w" fact="0.8"/>
              <dgm:constr type="tMarg" refType="primFontSz" fact="0.15"/>
              <dgm:constr type="bMarg" refType="primFontSz" fact="0.15"/>
              <dgm:constr type="lMarg" refType="primFontSz" fact="0.15"/>
              <dgm:constr type="rMarg" refType="primFontSz" fact="0.15"/>
            </dgm:constrLst>
            <dgm:ruleLst>
              <dgm:rule type="primFontSz" val="5" fact="NaN" max="NaN"/>
            </dgm:ruleLst>
          </dgm:layoutNode>
        </dgm:forEach>
      </dgm:forEach>
    </dgm:forEach>
  </dgm:layoutNode>
</dgm:layoutDef>
</file>

<file path=ppt/diagrams/layout13.xml><?xml version="1.0" encoding="utf-8"?>
<dgm:layoutDef xmlns:dgm="http://schemas.openxmlformats.org/drawingml/2006/diagram" xmlns:a="http://schemas.openxmlformats.org/drawingml/2006/main" uniqueId="urn:microsoft.com/office/officeart/2005/8/layout/pyramid2">
  <dgm:title val=""/>
  <dgm:desc val=""/>
  <dgm:catLst>
    <dgm:cat type="pyramid" pri="3000"/>
    <dgm:cat type="list" pri="21000"/>
    <dgm:cat type="convert" pri="17000"/>
  </dgm:catLst>
  <dgm:sampData useDef="1">
    <dgm:dataModel>
      <dgm:ptLst/>
      <dgm:bg/>
      <dgm:whole/>
    </dgm:dataModel>
  </dgm:sampData>
  <dgm:styleData useDef="1">
    <dgm:dataModel>
      <dgm:ptLst/>
      <dgm:bg/>
      <dgm:whole/>
    </dgm:dataModel>
  </dgm:styleData>
  <dgm:clrData useDef="1">
    <dgm:dataModel>
      <dgm:ptLst/>
      <dgm:bg/>
      <dgm:whole/>
    </dgm:dataModel>
  </dgm:clrData>
  <dgm:layoutNode name="compositeShape">
    <dgm:alg type="composite"/>
    <dgm:shape xmlns:r="http://schemas.openxmlformats.org/officeDocument/2006/relationships" r:blip="">
      <dgm:adjLst/>
    </dgm:shape>
    <dgm:presOf/>
    <dgm:varLst>
      <dgm:dir/>
      <dgm:resizeHandles/>
    </dgm:varLst>
    <dgm:choose name="Name0">
      <dgm:if name="Name1" func="var" arg="dir" op="equ" val="norm">
        <dgm:constrLst>
          <dgm:constr type="w" for="ch" forName="pyramid" refType="h"/>
          <dgm:constr type="h" for="ch" forName="pyramid" refType="h"/>
          <dgm:constr type="h" for="ch" forName="theList" refType="h" fact="0.8"/>
          <dgm:constr type="w" for="ch" forName="theList" refType="h" fact="0.65"/>
          <dgm:constr type="ctrY" for="ch" forName="theList" refType="h" refFor="ch" refForName="pyramid" fact="0.5"/>
          <dgm:constr type="l" for="ch" forName="theList" refType="w" refFor="ch" refForName="pyramid" fact="0.5"/>
          <dgm:constr type="h" for="des" forName="aSpace" refType="h" fact="0.1"/>
        </dgm:constrLst>
      </dgm:if>
      <dgm:else name="Name2">
        <dgm:constrLst>
          <dgm:constr type="w" for="ch" forName="pyramid" refType="h"/>
          <dgm:constr type="h" for="ch" forName="pyramid" refType="h"/>
          <dgm:constr type="h" for="ch" forName="theList" refType="h" fact="0.8"/>
          <dgm:constr type="w" for="ch" forName="theList" refType="h" fact="0.65"/>
          <dgm:constr type="ctrY" for="ch" forName="theList" refType="h" refFor="ch" refForName="pyramid" fact="0.5"/>
          <dgm:constr type="r" for="ch" forName="theList" refType="w" refFor="ch" refForName="pyramid" fact="0.5"/>
          <dgm:constr type="h" for="des" forName="aSpace" refType="h" fact="0.1"/>
        </dgm:constrLst>
      </dgm:else>
    </dgm:choose>
    <dgm:ruleLst/>
    <dgm:choose name="Name3">
      <dgm:if name="Name4" axis="ch" ptType="node" func="cnt" op="gte" val="1">
        <dgm:layoutNode name="pyramid" styleLbl="node1">
          <dgm:alg type="sp"/>
          <dgm:shape xmlns:r="http://schemas.openxmlformats.org/officeDocument/2006/relationships" type="triangle" r:blip="">
            <dgm:adjLst/>
          </dgm:shape>
          <dgm:presOf/>
          <dgm:constrLst/>
          <dgm:ruleLst/>
        </dgm:layoutNode>
        <dgm:layoutNode name="theList">
          <dgm:alg type="lin">
            <dgm:param type="linDir" val="fromT"/>
          </dgm:alg>
          <dgm:shape xmlns:r="http://schemas.openxmlformats.org/officeDocument/2006/relationships" r:blip="">
            <dgm:adjLst/>
          </dgm:shape>
          <dgm:presOf/>
          <dgm:constrLst>
            <dgm:constr type="w" for="ch" forName="aNode" refType="w"/>
            <dgm:constr type="h" for="ch" forName="aNode" refType="h"/>
            <dgm:constr type="primFontSz" for="ch" ptType="node" op="equ"/>
          </dgm:constrLst>
          <dgm:ruleLst/>
          <dgm:forEach name="aNodeForEach" axis="ch" ptType="node">
            <dgm:layoutNode name="aNode" styleLbl="fgAcc1">
              <dgm:varLst>
                <dgm:bulletEnabled val="1"/>
              </dgm:varLst>
              <dgm:alg type="tx"/>
              <dgm:shape xmlns:r="http://schemas.openxmlformats.org/officeDocument/2006/relationships" type="roundRect" r:blip="">
                <dgm:adjLst/>
              </dgm:shape>
              <dgm:presOf axis="desOrSelf" ptType="node"/>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aSpace">
              <dgm:alg type="sp"/>
              <dgm:shape xmlns:r="http://schemas.openxmlformats.org/officeDocument/2006/relationships" r:blip="">
                <dgm:adjLst/>
              </dgm:shape>
              <dgm:presOf/>
              <dgm:constrLst/>
              <dgm:ruleLst/>
            </dgm:layoutNode>
          </dgm:forEach>
        </dgm:layoutNode>
      </dgm:if>
      <dgm:else name="Name5"/>
    </dgm:choose>
  </dgm:layoutNode>
</dgm:layoutDef>
</file>

<file path=ppt/diagrams/layout14.xml><?xml version="1.0" encoding="utf-8"?>
<dgm:layoutDef xmlns:dgm="http://schemas.openxmlformats.org/drawingml/2006/diagram" xmlns:a="http://schemas.openxmlformats.org/drawingml/2006/main" uniqueId="urn:microsoft.com/office/officeart/2005/8/layout/hList6">
  <dgm:title val=""/>
  <dgm:desc val=""/>
  <dgm:catLst>
    <dgm:cat type="list" pri="18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ptType="node" refType="h"/>
      <dgm:constr type="w" for="ch" ptType="node" refType="w"/>
      <dgm:constr type="primFontSz" for="ch" ptType="node" op="equ"/>
      <dgm:constr type="w" for="ch" forName="sibTrans" refType="w" fact="0.075"/>
    </dgm:constrLst>
    <dgm:ruleLst/>
    <dgm:forEach name="nodesForEach" axis="ch" ptType="node">
      <dgm:layoutNode name="node">
        <dgm:varLst>
          <dgm:bulletEnabled val="1"/>
        </dgm:varLst>
        <dgm:alg type="tx"/>
        <dgm:choose name="Name4">
          <dgm:if name="Name5" func="var" arg="dir" op="equ" val="norm">
            <dgm:shape xmlns:r="http://schemas.openxmlformats.org/officeDocument/2006/relationships" rot="-90" type="flowChartManualOperation" r:blip="">
              <dgm:adjLst/>
            </dgm:shape>
          </dgm:if>
          <dgm:else name="Name6">
            <dgm:shape xmlns:r="http://schemas.openxmlformats.org/officeDocument/2006/relationships" rot="90" type="flowChartManualOperation" r:blip="">
              <dgm:adjLst/>
            </dgm:shape>
          </dgm:else>
        </dgm:choose>
        <dgm:presOf axis="desOrSelf" ptType="node"/>
        <dgm:constrLst>
          <dgm:constr type="primFontSz" val="65"/>
          <dgm:constr type="tMarg"/>
          <dgm:constr type="bMarg"/>
          <dgm:constr type="lMarg" refType="primFontSz" fact="0.5"/>
          <dgm:constr type="rMarg" refType="lMarg"/>
        </dgm:constrLst>
        <dgm:ruleLst>
          <dgm:rule type="primFontSz" val="5" fact="NaN" max="NaN"/>
        </dgm:ruleLst>
      </dgm:layoutNode>
      <dgm:forEach name="sibTransForEach"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15.xml><?xml version="1.0" encoding="utf-8"?>
<dgm:layoutDef xmlns:dgm="http://schemas.openxmlformats.org/drawingml/2006/diagram" xmlns:a="http://schemas.openxmlformats.org/drawingml/2006/main" uniqueId="urn:microsoft.com/office/officeart/2005/8/layout/pyramid2">
  <dgm:title val=""/>
  <dgm:desc val=""/>
  <dgm:catLst>
    <dgm:cat type="pyramid" pri="3000"/>
    <dgm:cat type="list" pri="21000"/>
    <dgm:cat type="convert" pri="17000"/>
  </dgm:catLst>
  <dgm:sampData useDef="1">
    <dgm:dataModel>
      <dgm:ptLst/>
      <dgm:bg/>
      <dgm:whole/>
    </dgm:dataModel>
  </dgm:sampData>
  <dgm:styleData useDef="1">
    <dgm:dataModel>
      <dgm:ptLst/>
      <dgm:bg/>
      <dgm:whole/>
    </dgm:dataModel>
  </dgm:styleData>
  <dgm:clrData useDef="1">
    <dgm:dataModel>
      <dgm:ptLst/>
      <dgm:bg/>
      <dgm:whole/>
    </dgm:dataModel>
  </dgm:clrData>
  <dgm:layoutNode name="compositeShape">
    <dgm:alg type="composite"/>
    <dgm:shape xmlns:r="http://schemas.openxmlformats.org/officeDocument/2006/relationships" r:blip="">
      <dgm:adjLst/>
    </dgm:shape>
    <dgm:presOf/>
    <dgm:varLst>
      <dgm:dir/>
      <dgm:resizeHandles/>
    </dgm:varLst>
    <dgm:choose name="Name0">
      <dgm:if name="Name1" func="var" arg="dir" op="equ" val="norm">
        <dgm:constrLst>
          <dgm:constr type="w" for="ch" forName="pyramid" refType="h"/>
          <dgm:constr type="h" for="ch" forName="pyramid" refType="h"/>
          <dgm:constr type="h" for="ch" forName="theList" refType="h" fact="0.8"/>
          <dgm:constr type="w" for="ch" forName="theList" refType="h" fact="0.65"/>
          <dgm:constr type="ctrY" for="ch" forName="theList" refType="h" refFor="ch" refForName="pyramid" fact="0.5"/>
          <dgm:constr type="l" for="ch" forName="theList" refType="w" refFor="ch" refForName="pyramid" fact="0.5"/>
          <dgm:constr type="h" for="des" forName="aSpace" refType="h" fact="0.1"/>
        </dgm:constrLst>
      </dgm:if>
      <dgm:else name="Name2">
        <dgm:constrLst>
          <dgm:constr type="w" for="ch" forName="pyramid" refType="h"/>
          <dgm:constr type="h" for="ch" forName="pyramid" refType="h"/>
          <dgm:constr type="h" for="ch" forName="theList" refType="h" fact="0.8"/>
          <dgm:constr type="w" for="ch" forName="theList" refType="h" fact="0.65"/>
          <dgm:constr type="ctrY" for="ch" forName="theList" refType="h" refFor="ch" refForName="pyramid" fact="0.5"/>
          <dgm:constr type="r" for="ch" forName="theList" refType="w" refFor="ch" refForName="pyramid" fact="0.5"/>
          <dgm:constr type="h" for="des" forName="aSpace" refType="h" fact="0.1"/>
        </dgm:constrLst>
      </dgm:else>
    </dgm:choose>
    <dgm:ruleLst/>
    <dgm:choose name="Name3">
      <dgm:if name="Name4" axis="ch" ptType="node" func="cnt" op="gte" val="1">
        <dgm:layoutNode name="pyramid" styleLbl="node1">
          <dgm:alg type="sp"/>
          <dgm:shape xmlns:r="http://schemas.openxmlformats.org/officeDocument/2006/relationships" type="triangle" r:blip="">
            <dgm:adjLst/>
          </dgm:shape>
          <dgm:presOf/>
          <dgm:constrLst/>
          <dgm:ruleLst/>
        </dgm:layoutNode>
        <dgm:layoutNode name="theList">
          <dgm:alg type="lin">
            <dgm:param type="linDir" val="fromT"/>
          </dgm:alg>
          <dgm:shape xmlns:r="http://schemas.openxmlformats.org/officeDocument/2006/relationships" r:blip="">
            <dgm:adjLst/>
          </dgm:shape>
          <dgm:presOf/>
          <dgm:constrLst>
            <dgm:constr type="w" for="ch" forName="aNode" refType="w"/>
            <dgm:constr type="h" for="ch" forName="aNode" refType="h"/>
            <dgm:constr type="primFontSz" for="ch" ptType="node" op="equ"/>
          </dgm:constrLst>
          <dgm:ruleLst/>
          <dgm:forEach name="aNodeForEach" axis="ch" ptType="node">
            <dgm:layoutNode name="aNode" styleLbl="fgAcc1">
              <dgm:varLst>
                <dgm:bulletEnabled val="1"/>
              </dgm:varLst>
              <dgm:alg type="tx"/>
              <dgm:shape xmlns:r="http://schemas.openxmlformats.org/officeDocument/2006/relationships" type="roundRect" r:blip="">
                <dgm:adjLst/>
              </dgm:shape>
              <dgm:presOf axis="desOrSelf" ptType="node"/>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aSpace">
              <dgm:alg type="sp"/>
              <dgm:shape xmlns:r="http://schemas.openxmlformats.org/officeDocument/2006/relationships" r:blip="">
                <dgm:adjLst/>
              </dgm:shape>
              <dgm:presOf/>
              <dgm:constrLst/>
              <dgm:ruleLst/>
            </dgm:layoutNode>
          </dgm:forEach>
        </dgm:layoutNode>
      </dgm:if>
      <dgm:else name="Name5"/>
    </dgm:choose>
  </dgm:layoutNode>
</dgm:layoutDef>
</file>

<file path=ppt/diagrams/layout16.xml><?xml version="1.0" encoding="utf-8"?>
<dgm:layoutDef xmlns:dgm="http://schemas.openxmlformats.org/drawingml/2006/diagram" xmlns:a="http://schemas.openxmlformats.org/drawingml/2006/main" uniqueId="urn:microsoft.com/office/officeart/2005/8/layout/pyramid4">
  <dgm:title val=""/>
  <dgm:desc val=""/>
  <dgm:catLst>
    <dgm:cat type="pyramid" pri="4000"/>
    <dgm:cat type="relationship" pri="9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ampData>
  <dgm:styleData useDef="1">
    <dgm:dataModel>
      <dgm:ptLst/>
      <dgm:bg/>
      <dgm:whole/>
    </dgm:dataModel>
  </dgm:styleData>
  <dgm:clrData useDef="1">
    <dgm:dataModel>
      <dgm:ptLst/>
      <dgm:bg/>
      <dgm:whole/>
    </dgm:dataModel>
  </dgm:clrData>
  <dgm:layoutNode name="compositeShape">
    <dgm:varLst>
      <dgm:chMax val="9"/>
      <dgm:dir/>
      <dgm:resizeHandles val="exact"/>
    </dgm:varLst>
    <dgm:alg type="composite">
      <dgm:param type="ar" val="1"/>
    </dgm:alg>
    <dgm:shape xmlns:r="http://schemas.openxmlformats.org/officeDocument/2006/relationships" r:blip="">
      <dgm:adjLst/>
    </dgm:shape>
    <dgm:presOf/>
    <dgm:choose name="Name0">
      <dgm:if name="Name1" axis="ch" ptType="node" func="cnt" op="lte" val="4">
        <dgm:choose name="Name2">
          <dgm:if name="Name3" axis="ch" ptType="node" func="cnt" op="equ" val="1">
            <dgm:constrLst>
              <dgm:constr type="primFontSz" for="ch" ptType="node" op="equ" val="65"/>
              <dgm:constr type="t" for="ch" forName="triangle1"/>
              <dgm:constr type="l" for="ch" forName="triangle1"/>
              <dgm:constr type="h" for="ch" forName="triangle1" refType="h"/>
              <dgm:constr type="w" for="ch" forName="triangle1" refType="h"/>
            </dgm:constrLst>
          </dgm:if>
          <dgm:else name="Name4">
            <dgm:constrLst>
              <dgm:constr type="primFontSz" for="ch" ptType="node" op="equ" val="65"/>
              <dgm:constr type="t" for="ch" forName="triangle1"/>
              <dgm:constr type="l" for="ch" forName="triangle1" refType="h" fact="0.25"/>
              <dgm:constr type="h" for="ch" forName="triangle1" refType="h" fact="0.5"/>
              <dgm:constr type="w" for="ch" forName="triangle1" refType="h" fact="0.5"/>
              <dgm:constr type="t" for="ch" forName="triangle2" refType="h" fact="0.5"/>
              <dgm:constr type="l" for="ch" forName="triangle2"/>
              <dgm:constr type="h" for="ch" forName="triangle2" refType="h" fact="0.5"/>
              <dgm:constr type="w" for="ch" forName="triangle2" refType="h" fact="0.5"/>
              <dgm:constr type="t" for="ch" forName="triangle3" refType="h" fact="0.5"/>
              <dgm:constr type="l" for="ch" forName="triangle3" refType="h" fact="0.25"/>
              <dgm:constr type="h" for="ch" forName="triangle3" refType="h" fact="0.5"/>
              <dgm:constr type="w" for="ch" forName="triangle3" refType="h" fact="0.5"/>
              <dgm:constr type="t" for="ch" forName="triangle4" refType="h" fact="0.5"/>
              <dgm:constr type="l" for="ch" forName="triangle4" refType="h" fact="0.5"/>
              <dgm:constr type="h" for="ch" forName="triangle4" refType="h" fact="0.5"/>
              <dgm:constr type="w" for="ch" forName="triangle4" refType="h" fact="0.5"/>
            </dgm:constrLst>
          </dgm:else>
        </dgm:choose>
      </dgm:if>
      <dgm:else name="Name5">
        <dgm:constrLst>
          <dgm:constr type="primFontSz" for="ch" ptType="node" op="equ" val="65"/>
          <dgm:constr type="t" for="ch" forName="triangle1"/>
          <dgm:constr type="l" for="ch" forName="triangle1" refType="h" fact="0.33"/>
          <dgm:constr type="h" for="ch" forName="triangle1" refType="h" fact="0.33"/>
          <dgm:constr type="w" for="ch" forName="triangle1" refType="h" fact="0.33"/>
          <dgm:constr type="t" for="ch" forName="triangle2" refType="h" fact="0.33"/>
          <dgm:constr type="l" for="ch" forName="triangle2" refType="h" fact="0.165"/>
          <dgm:constr type="h" for="ch" forName="triangle2" refType="h" fact="0.33"/>
          <dgm:constr type="w" for="ch" forName="triangle2" refType="h" fact="0.33"/>
          <dgm:constr type="t" for="ch" forName="triangle3" refType="h" fact="0.33"/>
          <dgm:constr type="l" for="ch" forName="triangle3" refType="h" fact="0.33"/>
          <dgm:constr type="h" for="ch" forName="triangle3" refType="h" fact="0.33"/>
          <dgm:constr type="w" for="ch" forName="triangle3" refType="h" fact="0.33"/>
          <dgm:constr type="t" for="ch" forName="triangle4" refType="h" fact="0.33"/>
          <dgm:constr type="l" for="ch" forName="triangle4" refType="h" fact="0.495"/>
          <dgm:constr type="h" for="ch" forName="triangle4" refType="h" fact="0.33"/>
          <dgm:constr type="w" for="ch" forName="triangle4" refType="h" fact="0.33"/>
          <dgm:constr type="t" for="ch" forName="triangle5" refType="h" fact="0.66"/>
          <dgm:constr type="l" for="ch" forName="triangle5"/>
          <dgm:constr type="h" for="ch" forName="triangle5" refType="h" fact="0.33"/>
          <dgm:constr type="w" for="ch" forName="triangle5" refType="h" fact="0.33"/>
          <dgm:constr type="t" for="ch" forName="triangle6" refType="h" fact="0.66"/>
          <dgm:constr type="l" for="ch" forName="triangle6" refType="h" fact="0.165"/>
          <dgm:constr type="h" for="ch" forName="triangle6" refType="h" fact="0.33"/>
          <dgm:constr type="w" for="ch" forName="triangle6" refType="h" fact="0.33"/>
          <dgm:constr type="t" for="ch" forName="triangle7" refType="h" fact="0.66"/>
          <dgm:constr type="l" for="ch" forName="triangle7" refType="h" fact="0.33"/>
          <dgm:constr type="h" for="ch" forName="triangle7" refType="h" fact="0.33"/>
          <dgm:constr type="w" for="ch" forName="triangle7" refType="h" fact="0.33"/>
          <dgm:constr type="t" for="ch" forName="triangle8" refType="h" fact="0.66"/>
          <dgm:constr type="l" for="ch" forName="triangle8" refType="h" fact="0.495"/>
          <dgm:constr type="h" for="ch" forName="triangle8" refType="h" fact="0.33"/>
          <dgm:constr type="w" for="ch" forName="triangle8" refType="h" fact="0.33"/>
          <dgm:constr type="t" for="ch" forName="triangle9" refType="h" fact="0.66"/>
          <dgm:constr type="l" for="ch" forName="triangle9" refType="h" fact="0.66"/>
          <dgm:constr type="h" for="ch" forName="triangle9" refType="h" fact="0.33"/>
          <dgm:constr type="w" for="ch" forName="triangle9" refType="h" fact="0.33"/>
        </dgm:constrLst>
      </dgm:else>
    </dgm:choose>
    <dgm:ruleLst/>
    <dgm:choose name="Name6">
      <dgm:if name="Name7" axis="ch" ptType="node" func="cnt" op="gte" val="1">
        <dgm:layoutNode name="triangle1" styleLbl="node1">
          <dgm:varLst>
            <dgm:bulletEnabled val="1"/>
          </dgm:varLst>
          <dgm:alg type="tx">
            <dgm:param type="txAnchorVertCh" val="mid"/>
          </dgm:alg>
          <dgm:shape xmlns:r="http://schemas.openxmlformats.org/officeDocument/2006/relationships" type="triangle" r:blip="">
            <dgm:adjLst/>
          </dgm:shape>
          <dgm:presOf axis="ch desOrSelf"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8"/>
    </dgm:choose>
    <dgm:choose name="Name9">
      <dgm:if name="Name10" axis="ch" ptType="node" func="cnt" op="gte" val="2">
        <dgm:layoutNode name="triangle2" styleLbl="node1">
          <dgm:varLst>
            <dgm:bulletEnabled val="1"/>
          </dgm:varLst>
          <dgm:alg type="tx">
            <dgm:param type="txAnchorVertCh" val="mid"/>
          </dgm:alg>
          <dgm:shape xmlns:r="http://schemas.openxmlformats.org/officeDocument/2006/relationships" type="triangle" r:blip="">
            <dgm:adjLst/>
          </dgm:shape>
          <dgm:choose name="Name11">
            <dgm:if name="Name12" func="var" arg="dir" op="equ" val="norm">
              <dgm:presOf axis="ch desOrSelf" ptType="node node" st="2 1" cnt="1 0"/>
            </dgm:if>
            <dgm:else name="Name13">
              <dgm:presOf axis="ch desOrSelf" ptType="node node" st="4 1" cnt="1 0"/>
            </dgm:else>
          </dgm:choos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triangle3" styleLbl="node1">
          <dgm:varLst>
            <dgm:bulletEnabled val="1"/>
          </dgm:varLst>
          <dgm:alg type="tx">
            <dgm:param type="txAnchorVertCh" val="mid"/>
          </dgm:alg>
          <dgm:shape xmlns:r="http://schemas.openxmlformats.org/officeDocument/2006/relationships" rot="180" type="triangle" r:blip="">
            <dgm:adjLst/>
          </dgm:shape>
          <dgm:presOf axis="ch desOrSelf" ptType="node node" st="3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triangle4" styleLbl="node1">
          <dgm:varLst>
            <dgm:bulletEnabled val="1"/>
          </dgm:varLst>
          <dgm:alg type="tx">
            <dgm:param type="txAnchorVertCh" val="mid"/>
          </dgm:alg>
          <dgm:shape xmlns:r="http://schemas.openxmlformats.org/officeDocument/2006/relationships" type="triangle" r:blip="">
            <dgm:adjLst/>
          </dgm:shape>
          <dgm:choose name="Name14">
            <dgm:if name="Name15" func="var" arg="dir" op="equ" val="norm">
              <dgm:presOf axis="ch desOrSelf" ptType="node node" st="4 1" cnt="1 0"/>
            </dgm:if>
            <dgm:else name="Name16">
              <dgm:presOf axis="ch desOrSelf" ptType="node node" st="2 1" cnt="1 0"/>
            </dgm:else>
          </dgm:choos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7"/>
    </dgm:choose>
    <dgm:choose name="Name18">
      <dgm:if name="Name19" axis="ch" ptType="node" func="cnt" op="gte" val="5">
        <dgm:layoutNode name="triangle5" styleLbl="node1">
          <dgm:varLst>
            <dgm:bulletEnabled val="1"/>
          </dgm:varLst>
          <dgm:alg type="tx">
            <dgm:param type="txAnchorVertCh" val="mid"/>
          </dgm:alg>
          <dgm:shape xmlns:r="http://schemas.openxmlformats.org/officeDocument/2006/relationships" type="triangle" r:blip="">
            <dgm:adjLst/>
          </dgm:shape>
          <dgm:choose name="Name20">
            <dgm:if name="Name21" func="var" arg="dir" op="equ" val="norm">
              <dgm:presOf axis="ch desOrSelf" ptType="node node" st="5 1" cnt="1 0"/>
            </dgm:if>
            <dgm:else name="Name22">
              <dgm:presOf axis="ch desOrSelf" ptType="node node" st="9 1" cnt="1 0"/>
            </dgm:else>
          </dgm:choos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triangle6" styleLbl="node1">
          <dgm:varLst>
            <dgm:bulletEnabled val="1"/>
          </dgm:varLst>
          <dgm:alg type="tx">
            <dgm:param type="txAnchorVertCh" val="mid"/>
          </dgm:alg>
          <dgm:shape xmlns:r="http://schemas.openxmlformats.org/officeDocument/2006/relationships" rot="180" type="triangle" r:blip="">
            <dgm:adjLst/>
          </dgm:shape>
          <dgm:choose name="Name23">
            <dgm:if name="Name24" func="var" arg="dir" op="equ" val="norm">
              <dgm:presOf axis="ch desOrSelf" ptType="node node" st="6 1" cnt="1 0"/>
            </dgm:if>
            <dgm:else name="Name25">
              <dgm:presOf axis="ch desOrSelf" ptType="node node" st="8 1" cnt="1 0"/>
            </dgm:else>
          </dgm:choos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triangle7" styleLbl="node1">
          <dgm:varLst>
            <dgm:bulletEnabled val="1"/>
          </dgm:varLst>
          <dgm:alg type="tx">
            <dgm:param type="txAnchorVertCh" val="mid"/>
          </dgm:alg>
          <dgm:shape xmlns:r="http://schemas.openxmlformats.org/officeDocument/2006/relationships" type="triangle" r:blip="">
            <dgm:adjLst/>
          </dgm:shape>
          <dgm:presOf axis="ch desOrSelf" ptType="node node" st="7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triangle8" styleLbl="node1">
          <dgm:varLst>
            <dgm:bulletEnabled val="1"/>
          </dgm:varLst>
          <dgm:alg type="tx">
            <dgm:param type="txAnchorVertCh" val="mid"/>
          </dgm:alg>
          <dgm:shape xmlns:r="http://schemas.openxmlformats.org/officeDocument/2006/relationships" rot="180" type="triangle" r:blip="">
            <dgm:adjLst/>
          </dgm:shape>
          <dgm:choose name="Name26">
            <dgm:if name="Name27" func="var" arg="dir" op="equ" val="norm">
              <dgm:presOf axis="ch desOrSelf" ptType="node node" st="8 1" cnt="1 0"/>
            </dgm:if>
            <dgm:else name="Name28">
              <dgm:presOf axis="ch desOrSelf" ptType="node node" st="6 1" cnt="1 0"/>
            </dgm:else>
          </dgm:choos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triangle9" styleLbl="node1">
          <dgm:varLst>
            <dgm:bulletEnabled val="1"/>
          </dgm:varLst>
          <dgm:alg type="tx">
            <dgm:param type="txAnchorVertCh" val="mid"/>
          </dgm:alg>
          <dgm:shape xmlns:r="http://schemas.openxmlformats.org/officeDocument/2006/relationships" type="triangle" r:blip="">
            <dgm:adjLst/>
          </dgm:shape>
          <dgm:choose name="Name29">
            <dgm:if name="Name30" func="var" arg="dir" op="equ" val="norm">
              <dgm:presOf axis="ch desOrSelf" ptType="node node" st="9 1" cnt="1 0"/>
            </dgm:if>
            <dgm:else name="Name31">
              <dgm:presOf axis="ch desOrSelf" ptType="node node" st="5 1" cnt="1 0"/>
            </dgm:else>
          </dgm:choos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32"/>
    </dgm:choose>
  </dgm:layoutNode>
</dgm:layoutDef>
</file>

<file path=ppt/diagrams/layout17.xml><?xml version="1.0" encoding="utf-8"?>
<dgm:layoutDef xmlns:dgm="http://schemas.openxmlformats.org/drawingml/2006/diagram" xmlns:a="http://schemas.openxmlformats.org/drawingml/2006/main" uniqueId="urn:microsoft.com/office/officeart/2005/8/layout/gear1">
  <dgm:title val=""/>
  <dgm:desc val=""/>
  <dgm:catLst>
    <dgm:cat type="relationship" pri="3000"/>
    <dgm:cat type="process" pri="28000"/>
    <dgm:cat type="cycle" pri="1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useDef="1">
    <dgm:dataModel>
      <dgm:ptLst/>
      <dgm:bg/>
      <dgm:whole/>
    </dgm:dataModel>
  </dgm:clrData>
  <dgm:layoutNode name="composite">
    <dgm:varLst>
      <dgm:chMax val="3"/>
      <dgm:animLvl val="lvl"/>
      <dgm:resizeHandles val="exact"/>
    </dgm:varLst>
    <dgm:alg type="composite">
      <dgm:param type="ar" val="1"/>
    </dgm:alg>
    <dgm:shape xmlns:r="http://schemas.openxmlformats.org/officeDocument/2006/relationships" r:blip="">
      <dgm:adjLst/>
    </dgm:shape>
    <dgm:presOf/>
    <dgm:choose name="Name0">
      <dgm:if name="Name1" axis="ch" ptType="node" func="cnt" op="lte" val="1">
        <dgm:constrLst>
          <dgm:constr type="primFontSz" for="ch" ptType="node" op="equ" val="65"/>
          <dgm:constr type="w" for="ch" forName="gear1" refType="w" fact="0.55"/>
          <dgm:constr type="h" for="ch" forName="gear1" refType="w" fact="0.55"/>
          <dgm:constr type="l" for="ch" forName="gear1" refType="w" fact="0.05"/>
          <dgm:constr type="t" for="ch" forName="gear1" refType="w" fact="0.05"/>
          <dgm:constr type="w" for="ch" forName="gear1srcNode" val="1"/>
          <dgm:constr type="h" for="ch" forName="gear1srcNode" val="1"/>
          <dgm:constr type="l" for="ch" forName="gear1srcNode" refType="w" fact="0.32"/>
          <dgm:constr type="t" for="ch" forName="gear1srcNode"/>
          <dgm:constr type="w" for="ch" forName="gear1dstNode" val="1"/>
          <dgm:constr type="h" for="ch" forName="gear1dstNode" val="1"/>
          <dgm:constr type="r" for="ch" forName="gear1dstNode" refType="w" fact="0.58"/>
          <dgm:constr type="t" for="ch" forName="gear1dstNode" refType="h" fact="0.5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dgm:constr type="b" for="ch" forName="gear1ch" refType="h" fact="0.6"/>
        </dgm:constrLst>
      </dgm:if>
      <dgm:if name="Name2" axis="ch" ptType="node" func="cnt" op="equ" val="2">
        <dgm:constrLst>
          <dgm:constr type="primFontSz" for="ch" ptType="node" op="equ" val="65"/>
          <dgm:constr type="w" for="ch" forName="gear1" refType="w" fact="0.55"/>
          <dgm:constr type="h" for="ch" forName="gear1" refType="w" fact="0.55"/>
          <dgm:constr type="l" for="ch" forName="gear1" refType="w" fact="0.45"/>
          <dgm:constr type="t" for="ch" forName="gear1" refType="w" fact="0.25"/>
          <dgm:constr type="w" for="ch" forName="gear1srcNode" val="1"/>
          <dgm:constr type="h" for="ch" forName="gear1srcNode" val="1"/>
          <dgm:constr type="l" for="ch" forName="gear1srcNode" refType="w" fact="0.72"/>
          <dgm:constr type="t" for="ch" forName="gear1srcNode" refType="w" fact="0.2"/>
          <dgm:constr type="w" for="ch" forName="gear1dstNode" val="1"/>
          <dgm:constr type="h" for="ch" forName="gear1dstNode" val="1"/>
          <dgm:constr type="r" for="ch" forName="gear1dstNode" refType="w" fact="0.98"/>
          <dgm:constr type="t" for="ch" forName="gear1dstNode" refType="h" fact="0.7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w" fact="0.8"/>
          <dgm:constr type="w" for="ch" forName="gear2" refType="w" fact="0.4"/>
          <dgm:constr type="h" for="ch" forName="gear2" refType="w" fact="0.4"/>
          <dgm:constr type="l" for="ch" forName="gear2" refType="w" fact="0.13"/>
          <dgm:constr type="t" for="ch" forName="gear2" refType="w" fact="0.12"/>
          <dgm:constr type="w" for="ch" forName="gear2srcNode" val="1"/>
          <dgm:constr type="h" for="ch" forName="gear2srcNode" val="1"/>
          <dgm:constr type="l" for="ch" forName="gear2srcNode" refType="w" fact="0.23"/>
          <dgm:constr type="t" for="ch" forName="gear2srcNode" refType="w" fact="0.08"/>
          <dgm:constr type="w" for="ch" forName="gear2dstNode" val="1"/>
          <dgm:constr type="h" for="ch" forName="gear2dstNode" val="1"/>
          <dgm:constr type="l" for="ch" forName="gear2dstNode" refType="w" fact="0.1"/>
          <dgm:constr type="t" for="ch" forName="gear2dstNode" refType="h" fact="0.3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refType="w" fact="0.34"/>
          <dgm:constr type="t" for="ch" forName="gear2ch" refType="w" fact="0.04"/>
        </dgm:constrLst>
      </dgm:if>
      <dgm:else name="Name3">
        <dgm:constrLst>
          <dgm:constr type="primFontSz" for="ch" ptType="node" op="equ" val="65"/>
          <dgm:constr type="w" for="ch" forName="gear1" refType="w" fact="0.55"/>
          <dgm:constr type="h" for="ch" forName="gear1" refType="w" fact="0.55"/>
          <dgm:constr type="l" for="ch" forName="gear1" refType="w" fact="0.45"/>
          <dgm:constr type="t" for="ch" forName="gear1" refType="w" fact="0.45"/>
          <dgm:constr type="w" for="ch" forName="gear1srcNode" val="1"/>
          <dgm:constr type="h" for="ch" forName="gear1srcNode" val="1"/>
          <dgm:constr type="l" for="ch" forName="gear1srcNode" refType="w" fact="0.72"/>
          <dgm:constr type="t" for="ch" forName="gear1srcNode" refType="w" fact="0.4"/>
          <dgm:constr type="w" for="ch" forName="gear1dstNode" val="1"/>
          <dgm:constr type="h" for="ch" forName="gear1dstNode" val="1"/>
          <dgm:constr type="r" for="ch" forName="gear1dstNode" refType="w" fact="0.98"/>
          <dgm:constr type="t" for="ch" forName="gear1dstNode" refType="h" fact="0.95"/>
          <dgm:constr type="diam" for="des" forName="connector1" refType="w" refFor="ch" refForName="gear1" op="equ" fact="1.15"/>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h"/>
          <dgm:constr type="w" for="ch" forName="gear2" refType="w" fact="0.4"/>
          <dgm:constr type="h" for="ch" forName="gear2" refType="w" fact="0.4"/>
          <dgm:constr type="l" for="ch" forName="gear2" refType="w" fact="0.13"/>
          <dgm:constr type="t" for="ch" forName="gear2" refType="w" fact="0.32"/>
          <dgm:constr type="w" for="ch" forName="gear2srcNode" val="1"/>
          <dgm:constr type="h" for="ch" forName="gear2srcNode" val="1"/>
          <dgm:constr type="l" for="ch" forName="gear2srcNode" refType="w" fact="0.23"/>
          <dgm:constr type="t" for="ch" forName="gear2srcNode" refType="w" fact="0.28"/>
          <dgm:constr type="w" for="ch" forName="gear2dstNode" val="1"/>
          <dgm:constr type="h" for="ch" forName="gear2dstNode" val="1"/>
          <dgm:constr type="l" for="ch" forName="gear2dstNode" refType="w" fact="0.1"/>
          <dgm:constr type="t" for="ch" forName="gear2dstNode" refType="h" fact="0.5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dgm:constr type="t" for="ch" forName="gear2ch" refType="w" fact="0.58"/>
          <dgm:constr type="w" for="ch" forName="gear3" refType="w" fact="0.48"/>
          <dgm:constr type="h" for="ch" forName="gear3" refType="w" fact="0.48"/>
          <dgm:constr type="l" for="ch" forName="gear3" refType="w" fact="0.31"/>
          <dgm:constr type="t" for="ch" forName="gear3"/>
          <dgm:constr type="w" for="ch" forName="gear3tx" refType="w" fact="0.22"/>
          <dgm:constr type="h" for="ch" forName="gear3tx" refType="w" fact="0.22"/>
          <dgm:constr type="ctrX" for="ch" forName="gear3tx" refType="ctrX" refFor="ch" refForName="gear3"/>
          <dgm:constr type="ctrY" for="ch" forName="gear3tx" refType="ctrY" refFor="ch" refForName="gear3"/>
          <dgm:constr type="w" for="ch" forName="gear3srcNode" val="1"/>
          <dgm:constr type="h" for="ch" forName="gear3srcNode" val="1"/>
          <dgm:constr type="l" for="ch" forName="gear3srcNode" refType="w" fact="0.3"/>
          <dgm:constr type="t" for="ch" forName="gear3srcNode" refType="w" fact="0.25"/>
          <dgm:constr type="w" for="ch" forName="gear3dstNode" val="1"/>
          <dgm:constr type="h" for="ch" forName="gear3dstNode" val="1"/>
          <dgm:constr type="l" for="ch" forName="gear3dstNode" refType="w" fact="0.38"/>
          <dgm:constr type="t" for="ch" forName="gear3dstNode" refType="h" fact="0.05"/>
          <dgm:constr type="diam" for="des" forName="connector3" refType="w" refFor="ch" refForName="gear3" op="equ"/>
          <dgm:constr type="h" for="des" forName="connector3" refType="w" refFor="ch" refForName="gear1" op="equ" fact="0.1"/>
          <dgm:constr type="w" for="ch" forName="gear3ch" refType="w" fact="0.35"/>
          <dgm:constr type="h" for="ch" forName="gear3ch" refType="w" refFor="ch" refForName="gear3ch" fact="0.6"/>
          <dgm:constr type="l" for="ch" forName="gear3ch" refType="w" fact="0.65"/>
          <dgm:constr type="t" for="ch" forName="gear3ch" refType="h" fact="0.13"/>
        </dgm:constrLst>
      </dgm:else>
    </dgm:choose>
    <dgm:ruleLst/>
    <dgm:forEach name="Name4" axis="ch" ptType="node" cnt="1">
      <dgm:layoutNode name="gear1" styleLbl="node1">
        <dgm:varLst>
          <dgm:chMax val="1"/>
          <dgm:bulletEnabled val="1"/>
        </dgm:varLst>
        <dgm:alg type="tx">
          <dgm:param type="txAnchorVertCh" val="mid"/>
        </dgm:alg>
        <dgm:shape xmlns:r="http://schemas.openxmlformats.org/officeDocument/2006/relationships" type="gear9"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1srcNode">
        <dgm:alg type="sp"/>
        <dgm:shape xmlns:r="http://schemas.openxmlformats.org/officeDocument/2006/relationships" type="rect" r:blip="" hideGeom="1">
          <dgm:adjLst/>
        </dgm:shape>
        <dgm:presOf axis="self"/>
        <dgm:constrLst/>
        <dgm:ruleLst/>
      </dgm:layoutNode>
      <dgm:layoutNode name="gear1dstNode">
        <dgm:alg type="sp"/>
        <dgm:shape xmlns:r="http://schemas.openxmlformats.org/officeDocument/2006/relationships" type="rect" r:blip="" hideGeom="1">
          <dgm:adjLst/>
        </dgm:shape>
        <dgm:presOf axis="self"/>
        <dgm:constrLst/>
        <dgm:ruleLst/>
      </dgm:layoutNode>
      <dgm:choose name="Name5">
        <dgm:if name="Name6" axis="ch" ptType="node" func="cnt" op="gte" val="1">
          <dgm:layoutNode name="gear1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7"/>
      </dgm:choose>
    </dgm:forEach>
    <dgm:forEach name="Name8" axis="ch" ptType="node" st="2" cnt="1">
      <dgm:layoutNode name="gear2" styleLbl="node1">
        <dgm:varLst>
          <dgm:chMax val="1"/>
          <dgm:bulletEnabled val="1"/>
        </dgm:varLst>
        <dgm:alg type="tx">
          <dgm:param type="txAnchorVertCh" val="mid"/>
        </dgm:alg>
        <dgm:shape xmlns:r="http://schemas.openxmlformats.org/officeDocument/2006/relationships" type="gear6"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2srcNode">
        <dgm:alg type="sp"/>
        <dgm:shape xmlns:r="http://schemas.openxmlformats.org/officeDocument/2006/relationships" type="rect" r:blip="" hideGeom="1">
          <dgm:adjLst/>
        </dgm:shape>
        <dgm:presOf axis="self"/>
        <dgm:constrLst/>
        <dgm:ruleLst/>
      </dgm:layoutNode>
      <dgm:layoutNode name="gear2dstNode">
        <dgm:alg type="sp"/>
        <dgm:shape xmlns:r="http://schemas.openxmlformats.org/officeDocument/2006/relationships" type="rect" r:blip="" hideGeom="1">
          <dgm:adjLst/>
        </dgm:shape>
        <dgm:presOf axis="self"/>
        <dgm:constrLst/>
        <dgm:ruleLst/>
      </dgm:layoutNode>
      <dgm:choose name="Name9">
        <dgm:if name="Name10" axis="ch" ptType="node" func="cnt" op="gte" val="1">
          <dgm:layoutNode name="gear2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1"/>
      </dgm:choose>
    </dgm:forEach>
    <dgm:forEach name="Name12" axis="ch" ptType="node" st="3" cnt="1">
      <dgm:layoutNode name="gear3" styleLbl="node1">
        <dgm:alg type="sp"/>
        <dgm:shape xmlns:r="http://schemas.openxmlformats.org/officeDocument/2006/relationships" rot="-15" type="gear6" r:blip="">
          <dgm:adjLst/>
        </dgm:shape>
        <dgm:presOf axis="self"/>
        <dgm:constrLst/>
        <dgm:ruleLst/>
      </dgm:layoutNode>
      <dgm:layoutNode name="gear3tx" styleLbl="node1">
        <dgm:varLst>
          <dgm:chMax val="1"/>
          <dgm:bulletEnabled val="1"/>
        </dgm:varLst>
        <dgm:alg type="tx">
          <dgm:param type="txAnchorVertCh" val="mid"/>
        </dgm:alg>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3srcNode">
        <dgm:alg type="sp"/>
        <dgm:shape xmlns:r="http://schemas.openxmlformats.org/officeDocument/2006/relationships" type="rect" r:blip="" hideGeom="1">
          <dgm:adjLst/>
        </dgm:shape>
        <dgm:presOf axis="self"/>
        <dgm:constrLst/>
        <dgm:ruleLst/>
      </dgm:layoutNode>
      <dgm:layoutNode name="gear3dstNode">
        <dgm:alg type="sp"/>
        <dgm:shape xmlns:r="http://schemas.openxmlformats.org/officeDocument/2006/relationships" type="rect" r:blip="" hideGeom="1">
          <dgm:adjLst/>
        </dgm:shape>
        <dgm:presOf axis="self"/>
        <dgm:constrLst/>
        <dgm:ruleLst/>
      </dgm:layoutNode>
      <dgm:choose name="Name13">
        <dgm:if name="Name14" axis="ch" ptType="node" func="cnt" op="gte" val="1">
          <dgm:layoutNode name="gear3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5"/>
      </dgm:choose>
    </dgm:forEach>
    <dgm:forEach name="Name16" axis="ch" ptType="sibTrans" hideLastTrans="0" cnt="1">
      <dgm:layoutNode name="connector1" styleLbl="sibTrans2D1">
        <dgm:alg type="conn">
          <dgm:param type="connRout" val="curve"/>
          <dgm:param type="srcNode" val="gear1srcNode"/>
          <dgm:param type="dstNode" val="gear1dstNode"/>
          <dgm:param type="begPts" val="midR"/>
          <dgm:param type="endPts" val="tCtr"/>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7" axis="ch" ptType="sibTrans" hideLastTrans="0" st="2" cnt="1">
      <dgm:layoutNode name="connector2" styleLbl="sibTrans2D1">
        <dgm:alg type="conn">
          <dgm:param type="connRout" val="curve"/>
          <dgm:param type="srcNode" val="gear2srcNode"/>
          <dgm:param type="dstNode" val="gear2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8" axis="ch" ptType="sibTrans" hideLastTrans="0" st="3" cnt="1">
      <dgm:layoutNode name="connector3" styleLbl="sibTrans2D1">
        <dgm:alg type="conn">
          <dgm:param type="connRout" val="curve"/>
          <dgm:param type="srcNode" val="gear3srcNode"/>
          <dgm:param type="dstNode" val="gear3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layoutNode>
</dgm:layoutDef>
</file>

<file path=ppt/diagrams/layout18.xml><?xml version="1.0" encoding="utf-8"?>
<dgm:layoutDef xmlns:dgm="http://schemas.openxmlformats.org/drawingml/2006/diagram" xmlns:a="http://schemas.openxmlformats.org/drawingml/2006/main" uniqueId="urn:microsoft.com/office/officeart/2005/8/layout/gear1">
  <dgm:title val=""/>
  <dgm:desc val=""/>
  <dgm:catLst>
    <dgm:cat type="relationship" pri="3000"/>
    <dgm:cat type="process" pri="28000"/>
    <dgm:cat type="cycle" pri="1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useDef="1">
    <dgm:dataModel>
      <dgm:ptLst/>
      <dgm:bg/>
      <dgm:whole/>
    </dgm:dataModel>
  </dgm:clrData>
  <dgm:layoutNode name="composite">
    <dgm:varLst>
      <dgm:chMax val="3"/>
      <dgm:animLvl val="lvl"/>
      <dgm:resizeHandles val="exact"/>
    </dgm:varLst>
    <dgm:alg type="composite">
      <dgm:param type="ar" val="1"/>
    </dgm:alg>
    <dgm:shape xmlns:r="http://schemas.openxmlformats.org/officeDocument/2006/relationships" r:blip="">
      <dgm:adjLst/>
    </dgm:shape>
    <dgm:presOf/>
    <dgm:choose name="Name0">
      <dgm:if name="Name1" axis="ch" ptType="node" func="cnt" op="lte" val="1">
        <dgm:constrLst>
          <dgm:constr type="primFontSz" for="ch" ptType="node" op="equ" val="65"/>
          <dgm:constr type="w" for="ch" forName="gear1" refType="w" fact="0.55"/>
          <dgm:constr type="h" for="ch" forName="gear1" refType="w" fact="0.55"/>
          <dgm:constr type="l" for="ch" forName="gear1" refType="w" fact="0.05"/>
          <dgm:constr type="t" for="ch" forName="gear1" refType="w" fact="0.05"/>
          <dgm:constr type="w" for="ch" forName="gear1srcNode" val="1"/>
          <dgm:constr type="h" for="ch" forName="gear1srcNode" val="1"/>
          <dgm:constr type="l" for="ch" forName="gear1srcNode" refType="w" fact="0.32"/>
          <dgm:constr type="t" for="ch" forName="gear1srcNode"/>
          <dgm:constr type="w" for="ch" forName="gear1dstNode" val="1"/>
          <dgm:constr type="h" for="ch" forName="gear1dstNode" val="1"/>
          <dgm:constr type="r" for="ch" forName="gear1dstNode" refType="w" fact="0.58"/>
          <dgm:constr type="t" for="ch" forName="gear1dstNode" refType="h" fact="0.5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dgm:constr type="b" for="ch" forName="gear1ch" refType="h" fact="0.6"/>
        </dgm:constrLst>
      </dgm:if>
      <dgm:if name="Name2" axis="ch" ptType="node" func="cnt" op="equ" val="2">
        <dgm:constrLst>
          <dgm:constr type="primFontSz" for="ch" ptType="node" op="equ" val="65"/>
          <dgm:constr type="w" for="ch" forName="gear1" refType="w" fact="0.55"/>
          <dgm:constr type="h" for="ch" forName="gear1" refType="w" fact="0.55"/>
          <dgm:constr type="l" for="ch" forName="gear1" refType="w" fact="0.45"/>
          <dgm:constr type="t" for="ch" forName="gear1" refType="w" fact="0.25"/>
          <dgm:constr type="w" for="ch" forName="gear1srcNode" val="1"/>
          <dgm:constr type="h" for="ch" forName="gear1srcNode" val="1"/>
          <dgm:constr type="l" for="ch" forName="gear1srcNode" refType="w" fact="0.72"/>
          <dgm:constr type="t" for="ch" forName="gear1srcNode" refType="w" fact="0.2"/>
          <dgm:constr type="w" for="ch" forName="gear1dstNode" val="1"/>
          <dgm:constr type="h" for="ch" forName="gear1dstNode" val="1"/>
          <dgm:constr type="r" for="ch" forName="gear1dstNode" refType="w" fact="0.98"/>
          <dgm:constr type="t" for="ch" forName="gear1dstNode" refType="h" fact="0.7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w" fact="0.8"/>
          <dgm:constr type="w" for="ch" forName="gear2" refType="w" fact="0.4"/>
          <dgm:constr type="h" for="ch" forName="gear2" refType="w" fact="0.4"/>
          <dgm:constr type="l" for="ch" forName="gear2" refType="w" fact="0.13"/>
          <dgm:constr type="t" for="ch" forName="gear2" refType="w" fact="0.12"/>
          <dgm:constr type="w" for="ch" forName="gear2srcNode" val="1"/>
          <dgm:constr type="h" for="ch" forName="gear2srcNode" val="1"/>
          <dgm:constr type="l" for="ch" forName="gear2srcNode" refType="w" fact="0.23"/>
          <dgm:constr type="t" for="ch" forName="gear2srcNode" refType="w" fact="0.08"/>
          <dgm:constr type="w" for="ch" forName="gear2dstNode" val="1"/>
          <dgm:constr type="h" for="ch" forName="gear2dstNode" val="1"/>
          <dgm:constr type="l" for="ch" forName="gear2dstNode" refType="w" fact="0.1"/>
          <dgm:constr type="t" for="ch" forName="gear2dstNode" refType="h" fact="0.3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refType="w" fact="0.34"/>
          <dgm:constr type="t" for="ch" forName="gear2ch" refType="w" fact="0.04"/>
        </dgm:constrLst>
      </dgm:if>
      <dgm:else name="Name3">
        <dgm:constrLst>
          <dgm:constr type="primFontSz" for="ch" ptType="node" op="equ" val="65"/>
          <dgm:constr type="w" for="ch" forName="gear1" refType="w" fact="0.55"/>
          <dgm:constr type="h" for="ch" forName="gear1" refType="w" fact="0.55"/>
          <dgm:constr type="l" for="ch" forName="gear1" refType="w" fact="0.45"/>
          <dgm:constr type="t" for="ch" forName="gear1" refType="w" fact="0.45"/>
          <dgm:constr type="w" for="ch" forName="gear1srcNode" val="1"/>
          <dgm:constr type="h" for="ch" forName="gear1srcNode" val="1"/>
          <dgm:constr type="l" for="ch" forName="gear1srcNode" refType="w" fact="0.72"/>
          <dgm:constr type="t" for="ch" forName="gear1srcNode" refType="w" fact="0.4"/>
          <dgm:constr type="w" for="ch" forName="gear1dstNode" val="1"/>
          <dgm:constr type="h" for="ch" forName="gear1dstNode" val="1"/>
          <dgm:constr type="r" for="ch" forName="gear1dstNode" refType="w" fact="0.98"/>
          <dgm:constr type="t" for="ch" forName="gear1dstNode" refType="h" fact="0.95"/>
          <dgm:constr type="diam" for="des" forName="connector1" refType="w" refFor="ch" refForName="gear1" op="equ" fact="1.15"/>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h"/>
          <dgm:constr type="w" for="ch" forName="gear2" refType="w" fact="0.4"/>
          <dgm:constr type="h" for="ch" forName="gear2" refType="w" fact="0.4"/>
          <dgm:constr type="l" for="ch" forName="gear2" refType="w" fact="0.13"/>
          <dgm:constr type="t" for="ch" forName="gear2" refType="w" fact="0.32"/>
          <dgm:constr type="w" for="ch" forName="gear2srcNode" val="1"/>
          <dgm:constr type="h" for="ch" forName="gear2srcNode" val="1"/>
          <dgm:constr type="l" for="ch" forName="gear2srcNode" refType="w" fact="0.23"/>
          <dgm:constr type="t" for="ch" forName="gear2srcNode" refType="w" fact="0.28"/>
          <dgm:constr type="w" for="ch" forName="gear2dstNode" val="1"/>
          <dgm:constr type="h" for="ch" forName="gear2dstNode" val="1"/>
          <dgm:constr type="l" for="ch" forName="gear2dstNode" refType="w" fact="0.1"/>
          <dgm:constr type="t" for="ch" forName="gear2dstNode" refType="h" fact="0.5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dgm:constr type="t" for="ch" forName="gear2ch" refType="w" fact="0.58"/>
          <dgm:constr type="w" for="ch" forName="gear3" refType="w" fact="0.48"/>
          <dgm:constr type="h" for="ch" forName="gear3" refType="w" fact="0.48"/>
          <dgm:constr type="l" for="ch" forName="gear3" refType="w" fact="0.31"/>
          <dgm:constr type="t" for="ch" forName="gear3"/>
          <dgm:constr type="w" for="ch" forName="gear3tx" refType="w" fact="0.22"/>
          <dgm:constr type="h" for="ch" forName="gear3tx" refType="w" fact="0.22"/>
          <dgm:constr type="ctrX" for="ch" forName="gear3tx" refType="ctrX" refFor="ch" refForName="gear3"/>
          <dgm:constr type="ctrY" for="ch" forName="gear3tx" refType="ctrY" refFor="ch" refForName="gear3"/>
          <dgm:constr type="w" for="ch" forName="gear3srcNode" val="1"/>
          <dgm:constr type="h" for="ch" forName="gear3srcNode" val="1"/>
          <dgm:constr type="l" for="ch" forName="gear3srcNode" refType="w" fact="0.3"/>
          <dgm:constr type="t" for="ch" forName="gear3srcNode" refType="w" fact="0.25"/>
          <dgm:constr type="w" for="ch" forName="gear3dstNode" val="1"/>
          <dgm:constr type="h" for="ch" forName="gear3dstNode" val="1"/>
          <dgm:constr type="l" for="ch" forName="gear3dstNode" refType="w" fact="0.38"/>
          <dgm:constr type="t" for="ch" forName="gear3dstNode" refType="h" fact="0.05"/>
          <dgm:constr type="diam" for="des" forName="connector3" refType="w" refFor="ch" refForName="gear3" op="equ"/>
          <dgm:constr type="h" for="des" forName="connector3" refType="w" refFor="ch" refForName="gear1" op="equ" fact="0.1"/>
          <dgm:constr type="w" for="ch" forName="gear3ch" refType="w" fact="0.35"/>
          <dgm:constr type="h" for="ch" forName="gear3ch" refType="w" refFor="ch" refForName="gear3ch" fact="0.6"/>
          <dgm:constr type="l" for="ch" forName="gear3ch" refType="w" fact="0.65"/>
          <dgm:constr type="t" for="ch" forName="gear3ch" refType="h" fact="0.13"/>
        </dgm:constrLst>
      </dgm:else>
    </dgm:choose>
    <dgm:ruleLst/>
    <dgm:forEach name="Name4" axis="ch" ptType="node" cnt="1">
      <dgm:layoutNode name="gear1" styleLbl="node1">
        <dgm:varLst>
          <dgm:chMax val="1"/>
          <dgm:bulletEnabled val="1"/>
        </dgm:varLst>
        <dgm:alg type="tx">
          <dgm:param type="txAnchorVertCh" val="mid"/>
        </dgm:alg>
        <dgm:shape xmlns:r="http://schemas.openxmlformats.org/officeDocument/2006/relationships" type="gear9"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1srcNode">
        <dgm:alg type="sp"/>
        <dgm:shape xmlns:r="http://schemas.openxmlformats.org/officeDocument/2006/relationships" type="rect" r:blip="" hideGeom="1">
          <dgm:adjLst/>
        </dgm:shape>
        <dgm:presOf axis="self"/>
        <dgm:constrLst/>
        <dgm:ruleLst/>
      </dgm:layoutNode>
      <dgm:layoutNode name="gear1dstNode">
        <dgm:alg type="sp"/>
        <dgm:shape xmlns:r="http://schemas.openxmlformats.org/officeDocument/2006/relationships" type="rect" r:blip="" hideGeom="1">
          <dgm:adjLst/>
        </dgm:shape>
        <dgm:presOf axis="self"/>
        <dgm:constrLst/>
        <dgm:ruleLst/>
      </dgm:layoutNode>
      <dgm:choose name="Name5">
        <dgm:if name="Name6" axis="ch" ptType="node" func="cnt" op="gte" val="1">
          <dgm:layoutNode name="gear1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7"/>
      </dgm:choose>
    </dgm:forEach>
    <dgm:forEach name="Name8" axis="ch" ptType="node" st="2" cnt="1">
      <dgm:layoutNode name="gear2" styleLbl="node1">
        <dgm:varLst>
          <dgm:chMax val="1"/>
          <dgm:bulletEnabled val="1"/>
        </dgm:varLst>
        <dgm:alg type="tx">
          <dgm:param type="txAnchorVertCh" val="mid"/>
        </dgm:alg>
        <dgm:shape xmlns:r="http://schemas.openxmlformats.org/officeDocument/2006/relationships" type="gear6"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2srcNode">
        <dgm:alg type="sp"/>
        <dgm:shape xmlns:r="http://schemas.openxmlformats.org/officeDocument/2006/relationships" type="rect" r:blip="" hideGeom="1">
          <dgm:adjLst/>
        </dgm:shape>
        <dgm:presOf axis="self"/>
        <dgm:constrLst/>
        <dgm:ruleLst/>
      </dgm:layoutNode>
      <dgm:layoutNode name="gear2dstNode">
        <dgm:alg type="sp"/>
        <dgm:shape xmlns:r="http://schemas.openxmlformats.org/officeDocument/2006/relationships" type="rect" r:blip="" hideGeom="1">
          <dgm:adjLst/>
        </dgm:shape>
        <dgm:presOf axis="self"/>
        <dgm:constrLst/>
        <dgm:ruleLst/>
      </dgm:layoutNode>
      <dgm:choose name="Name9">
        <dgm:if name="Name10" axis="ch" ptType="node" func="cnt" op="gte" val="1">
          <dgm:layoutNode name="gear2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1"/>
      </dgm:choose>
    </dgm:forEach>
    <dgm:forEach name="Name12" axis="ch" ptType="node" st="3" cnt="1">
      <dgm:layoutNode name="gear3" styleLbl="node1">
        <dgm:alg type="sp"/>
        <dgm:shape xmlns:r="http://schemas.openxmlformats.org/officeDocument/2006/relationships" rot="-15" type="gear6" r:blip="">
          <dgm:adjLst/>
        </dgm:shape>
        <dgm:presOf axis="self"/>
        <dgm:constrLst/>
        <dgm:ruleLst/>
      </dgm:layoutNode>
      <dgm:layoutNode name="gear3tx" styleLbl="node1">
        <dgm:varLst>
          <dgm:chMax val="1"/>
          <dgm:bulletEnabled val="1"/>
        </dgm:varLst>
        <dgm:alg type="tx">
          <dgm:param type="txAnchorVertCh" val="mid"/>
        </dgm:alg>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3srcNode">
        <dgm:alg type="sp"/>
        <dgm:shape xmlns:r="http://schemas.openxmlformats.org/officeDocument/2006/relationships" type="rect" r:blip="" hideGeom="1">
          <dgm:adjLst/>
        </dgm:shape>
        <dgm:presOf axis="self"/>
        <dgm:constrLst/>
        <dgm:ruleLst/>
      </dgm:layoutNode>
      <dgm:layoutNode name="gear3dstNode">
        <dgm:alg type="sp"/>
        <dgm:shape xmlns:r="http://schemas.openxmlformats.org/officeDocument/2006/relationships" type="rect" r:blip="" hideGeom="1">
          <dgm:adjLst/>
        </dgm:shape>
        <dgm:presOf axis="self"/>
        <dgm:constrLst/>
        <dgm:ruleLst/>
      </dgm:layoutNode>
      <dgm:choose name="Name13">
        <dgm:if name="Name14" axis="ch" ptType="node" func="cnt" op="gte" val="1">
          <dgm:layoutNode name="gear3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5"/>
      </dgm:choose>
    </dgm:forEach>
    <dgm:forEach name="Name16" axis="ch" ptType="sibTrans" hideLastTrans="0" cnt="1">
      <dgm:layoutNode name="connector1" styleLbl="sibTrans2D1">
        <dgm:alg type="conn">
          <dgm:param type="connRout" val="curve"/>
          <dgm:param type="srcNode" val="gear1srcNode"/>
          <dgm:param type="dstNode" val="gear1dstNode"/>
          <dgm:param type="begPts" val="midR"/>
          <dgm:param type="endPts" val="tCtr"/>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7" axis="ch" ptType="sibTrans" hideLastTrans="0" st="2" cnt="1">
      <dgm:layoutNode name="connector2" styleLbl="sibTrans2D1">
        <dgm:alg type="conn">
          <dgm:param type="connRout" val="curve"/>
          <dgm:param type="srcNode" val="gear2srcNode"/>
          <dgm:param type="dstNode" val="gear2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8" axis="ch" ptType="sibTrans" hideLastTrans="0" st="3" cnt="1">
      <dgm:layoutNode name="connector3" styleLbl="sibTrans2D1">
        <dgm:alg type="conn">
          <dgm:param type="connRout" val="curve"/>
          <dgm:param type="srcNode" val="gear3srcNode"/>
          <dgm:param type="dstNode" val="gear3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layoutNode>
</dgm:layoutDef>
</file>

<file path=ppt/diagrams/layout2.xml><?xml version="1.0" encoding="utf-8"?>
<dgm:layoutDef xmlns:dgm="http://schemas.openxmlformats.org/drawingml/2006/diagram" xmlns:a="http://schemas.openxmlformats.org/drawingml/2006/main" uniqueId="urn:microsoft.com/office/officeart/2005/8/layout/arrow2">
  <dgm:title val=""/>
  <dgm:desc val=""/>
  <dgm:catLst>
    <dgm:cat type="process" pri="2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arrowDiagram">
    <dgm:varLst>
      <dgm:chMax val="5"/>
      <dgm:dir/>
      <dgm:resizeHandles val="exact"/>
    </dgm:varLst>
    <dgm:alg type="composite">
      <dgm:param type="ar" val="1.6"/>
    </dgm:alg>
    <dgm:shape xmlns:r="http://schemas.openxmlformats.org/officeDocument/2006/relationships" r:blip="">
      <dgm:adjLst/>
    </dgm:shape>
    <dgm:presOf/>
    <dgm:constrLst>
      <dgm:constr type="l" for="ch" forName="arrow"/>
      <dgm:constr type="t" for="ch" forName="arrow"/>
      <dgm:constr type="w" for="ch" forName="arrow" refType="w"/>
      <dgm:constr type="h" for="ch" forName="arrow" refType="h"/>
      <dgm:constr type="ctrX" for="ch" forName="arrowDiagram1" refType="w" fact="0.5"/>
      <dgm:constr type="ctrY" for="ch" forName="arrowDiagram1" refType="h" fact="0.5"/>
      <dgm:constr type="w" for="ch" forName="arrowDiagram1" refType="w"/>
      <dgm:constr type="h" for="ch" forName="arrowDiagram1" refType="h"/>
      <dgm:constr type="ctrX" for="ch" forName="arrowDiagram2" refType="w" fact="0.5"/>
      <dgm:constr type="ctrY" for="ch" forName="arrowDiagram2" refType="h" fact="0.5"/>
      <dgm:constr type="w" for="ch" forName="arrowDiagram2" refType="w"/>
      <dgm:constr type="h" for="ch" forName="arrowDiagram2" refType="h"/>
      <dgm:constr type="ctrX" for="ch" forName="arrowDiagram3" refType="w" fact="0.5"/>
      <dgm:constr type="ctrY" for="ch" forName="arrowDiagram3" refType="h" fact="0.5"/>
      <dgm:constr type="w" for="ch" forName="arrowDiagram3" refType="w"/>
      <dgm:constr type="h" for="ch" forName="arrowDiagram3" refType="h"/>
      <dgm:constr type="ctrX" for="ch" forName="arrowDiagram4" refType="w" fact="0.5"/>
      <dgm:constr type="ctrY" for="ch" forName="arrowDiagram4" refType="h" fact="0.5"/>
      <dgm:constr type="w" for="ch" forName="arrowDiagram4" refType="w"/>
      <dgm:constr type="h" for="ch" forName="arrowDiagram4" refType="h"/>
      <dgm:constr type="ctrX" for="ch" forName="arrowDiagram5" refType="w" fact="0.5"/>
      <dgm:constr type="ctrY" for="ch" forName="arrowDiagram5" refType="h" fact="0.5"/>
      <dgm:constr type="w" for="ch" forName="arrowDiagram5" refType="w"/>
      <dgm:constr type="h" for="ch" forName="arrowDiagram5" refType="h"/>
    </dgm:constrLst>
    <dgm:ruleLst/>
    <dgm:choose name="Name0">
      <dgm:if name="Name1" axis="ch" ptType="node" func="cnt" op="gte" val="1">
        <dgm:layoutNode name="arrow" styleLbl="bgShp">
          <dgm:alg type="sp"/>
          <dgm:shape xmlns:r="http://schemas.openxmlformats.org/officeDocument/2006/relationships" type="swooshArrow" r:blip="">
            <dgm:adjLst>
              <dgm:adj idx="2" val="0.25"/>
            </dgm:adjLst>
          </dgm:shape>
          <dgm:presOf/>
          <dgm:constrLst/>
          <dgm:ruleLst/>
        </dgm:layoutNode>
        <dgm:choose name="Name2">
          <dgm:if name="Name3" axis="ch" ptType="node" func="cnt" op="lt" val="1"/>
          <dgm:if name="Name4" axis="ch" ptType="node" func="cnt" op="equ" val="1">
            <dgm:layoutNode name="arrowDiagram1">
              <dgm:varLst>
                <dgm:bulletEnabled val="1"/>
              </dgm:varLst>
              <dgm:alg type="composite">
                <dgm:param type="vertAlign" val="none"/>
                <dgm:param type="horzAlign" val="none"/>
              </dgm:alg>
              <dgm:shape xmlns:r="http://schemas.openxmlformats.org/officeDocument/2006/relationships" r:blip="">
                <dgm:adjLst/>
              </dgm:shape>
              <dgm:presOf/>
              <dgm:constrLst>
                <dgm:constr type="ctrX" for="ch" forName="bullet1" refType="w" fact="0.8"/>
                <dgm:constr type="ctrY" for="ch" forName="bullet1" refType="h" fact="0.262"/>
                <dgm:constr type="w" for="ch" forName="bullet1" refType="w" fact="0.074"/>
                <dgm:constr type="h" for="ch" forName="bullet1" refType="w" refFor="ch" refForName="bullet1"/>
                <dgm:constr type="r" for="ch" forName="textBox1" refType="ctrX" refFor="ch" refForName="bullet1"/>
                <dgm:constr type="t" for="ch" forName="textBox1" refType="ctrY" refFor="ch" refForName="bullet1"/>
                <dgm:constr type="w" for="ch" forName="textBox1" refType="w" fact="0.4"/>
                <dgm:constr type="h" for="ch" forName="textBox1" refType="h" fact="0.738"/>
                <dgm:constr type="userA" refType="h" refFor="ch" refForName="bullet1" fact="0.53"/>
                <dgm:constr type="rMarg" for="ch" forName="textBox1" refType="userA" fact="2.834"/>
                <dgm:constr type="primFontSz" for="ch" ptType="node" op="equ" val="65"/>
              </dgm:constrLst>
              <dgm:ruleLst/>
              <dgm:forEach name="Name5" axis="ch" ptType="node" cnt="1">
                <dgm:layoutNode name="bullet1" styleLbl="node1">
                  <dgm:alg type="sp"/>
                  <dgm:shape xmlns:r="http://schemas.openxmlformats.org/officeDocument/2006/relationships" type="ellipse" r:blip="">
                    <dgm:adjLst/>
                  </dgm:shape>
                  <dgm:presOf/>
                  <dgm:constrLst/>
                  <dgm:ruleLst/>
                </dgm:layoutNode>
                <dgm:layoutNode name="textBox1" styleLbl="revTx">
                  <dgm:varLst>
                    <dgm:bulletEnabled val="1"/>
                  </dgm:varLst>
                  <dgm:alg type="tx">
                    <dgm:param type="txAnchorVert" val="t"/>
                    <dgm:param type="parTxLTRAlign" val="r"/>
                    <dgm:param type="parTxRTLAlign" val="r"/>
                  </dgm:alg>
                  <dgm:shape xmlns:r="http://schemas.openxmlformats.org/officeDocument/2006/relationships" type="round2DiagRect" r:blip="">
                    <dgm:adjLst/>
                  </dgm:shape>
                  <dgm:presOf axis="desOrSelf" ptType="node"/>
                  <dgm:constrLst>
                    <dgm:constr type="lMarg"/>
                    <dgm:constr type="tMarg"/>
                    <dgm:constr type="bMarg"/>
                  </dgm:constrLst>
                  <dgm:ruleLst>
                    <dgm:rule type="primFontSz" val="5" fact="NaN" max="NaN"/>
                  </dgm:ruleLst>
                </dgm:layoutNode>
              </dgm:forEach>
            </dgm:layoutNode>
          </dgm:if>
          <dgm:if name="Name6" axis="ch" ptType="node" func="cnt" op="equ" val="2">
            <dgm:layoutNode name="arrowDiagram2">
              <dgm:alg type="composite">
                <dgm:param type="vertAlign" val="none"/>
                <dgm:param type="horzAlign" val="none"/>
              </dgm:alg>
              <dgm:shape xmlns:r="http://schemas.openxmlformats.org/officeDocument/2006/relationships" r:blip="">
                <dgm:adjLst/>
              </dgm:shape>
              <dgm:presOf/>
              <dgm:choose name="Name7">
                <dgm:if name="Name8" func="var" arg="dir" op="equ" val="norm">
                  <dgm:constrLst>
                    <dgm:constr type="ctrX" for="ch" forName="bullet2a" refType="w" fact="0.25"/>
                    <dgm:constr type="ctrY" for="ch" forName="bullet2a" refType="h" fact="0.573"/>
                    <dgm:constr type="w" for="ch" forName="bullet2a" refType="w" fact="0.035"/>
                    <dgm:constr type="h" for="ch" forName="bullet2a" refType="w" refFor="ch" refForName="bullet2a"/>
                    <dgm:constr type="l" for="ch" forName="textBox2a" refType="ctrX" refFor="ch" refForName="bullet2a"/>
                    <dgm:constr type="t" for="ch" forName="textBox2a" refType="ctrY" refFor="ch" refForName="bullet2a"/>
                    <dgm:constr type="w" for="ch" forName="textBox2a" refType="w" fact="0.325"/>
                    <dgm:constr type="h" for="ch" forName="textBox2a" refType="h" fact="0.427"/>
                    <dgm:constr type="userA" refType="h" refFor="ch" refForName="bullet2a" fact="0.53"/>
                    <dgm:constr type="lMarg" for="ch" forName="textBox2a" refType="userA" fact="2.834"/>
                    <dgm:constr type="ctrX" for="ch" forName="bullet2b" refType="w" fact="0.585"/>
                    <dgm:constr type="ctrY" for="ch" forName="bullet2b" refType="h" fact="0.338"/>
                    <dgm:constr type="w" for="ch" forName="bullet2b" refType="w" fact="0.06"/>
                    <dgm:constr type="h" for="ch" forName="bullet2b" refType="w" refFor="ch" refForName="bullet2b"/>
                    <dgm:constr type="l" for="ch" forName="textBox2b" refType="ctrX" refFor="ch" refForName="bullet2b"/>
                    <dgm:constr type="t" for="ch" forName="textBox2b" refType="ctrY" refFor="ch" refForName="bullet2b"/>
                    <dgm:constr type="w" for="ch" forName="textBox2b" refType="w" fact="0.325"/>
                    <dgm:constr type="h" for="ch" forName="textBox2b" refType="h" fact="0.662"/>
                    <dgm:constr type="userB" refType="h" refFor="ch" refForName="bullet2b" fact="0.53"/>
                    <dgm:constr type="lMarg" for="ch" forName="textBox2b" refType="userB" fact="2.834"/>
                    <dgm:constr type="primFontSz" for="ch" ptType="node" op="equ" val="65"/>
                  </dgm:constrLst>
                </dgm:if>
                <dgm:else name="Name9">
                  <dgm:constrLst>
                    <dgm:constr type="ctrX" for="ch" forName="bullet2a" refType="w" fact="0.25"/>
                    <dgm:constr type="ctrY" for="ch" forName="bullet2a" refType="h" fact="0.573"/>
                    <dgm:constr type="w" for="ch" forName="bullet2a" refType="w" fact="0.035"/>
                    <dgm:constr type="h" for="ch" forName="bullet2a" refType="w" refFor="ch" refForName="bullet2a"/>
                    <dgm:constr type="r" for="ch" forName="textBox2a" refType="ctrX" refFor="ch" refForName="bullet2a"/>
                    <dgm:constr type="b" for="ch" forName="textBox2a" refType="ctrY" refFor="ch" refForName="bullet2a"/>
                    <dgm:constr type="w" for="ch" forName="textBox2a" refType="w" fact="0.25"/>
                    <dgm:constr type="h" for="ch" forName="textBox2a" refType="h" fact="0.573"/>
                    <dgm:constr type="userA" refType="h" refFor="ch" refForName="bullet2a" fact="0.53"/>
                    <dgm:constr type="rMarg" for="ch" forName="textBox2a" refType="userA" fact="2.834"/>
                    <dgm:constr type="ctrX" for="ch" forName="bullet2b" refType="w" fact="0.585"/>
                    <dgm:constr type="ctrY" for="ch" forName="bullet2b" refType="h" fact="0.338"/>
                    <dgm:constr type="w" for="ch" forName="bullet2b" refType="w" fact="0.06"/>
                    <dgm:constr type="h" for="ch" forName="bullet2b" refType="w" refFor="ch" refForName="bullet2b"/>
                    <dgm:constr type="r" for="ch" forName="textBox2b" refType="ctrX" refFor="ch" refForName="bullet2b"/>
                    <dgm:constr type="b" for="ch" forName="textBox2b" refType="ctrY" refFor="ch" refForName="bullet2b"/>
                    <dgm:constr type="w" for="ch" forName="textBox2b" refType="w" fact="0.28"/>
                    <dgm:constr type="h" for="ch" forName="textBox2b" refType="h" fact="0.338"/>
                    <dgm:constr type="userB" refType="h" refFor="ch" refForName="bullet2b" fact="0.53"/>
                    <dgm:constr type="rMarg" for="ch" forName="textBox2b" refType="userB" fact="2.834"/>
                    <dgm:constr type="primFontSz" for="ch" ptType="node" op="equ" val="65"/>
                  </dgm:constrLst>
                </dgm:else>
              </dgm:choose>
              <dgm:ruleLst/>
              <dgm:forEach name="Name10" axis="ch" ptType="node" cnt="1">
                <dgm:layoutNode name="bullet2a" styleLbl="node1">
                  <dgm:alg type="sp"/>
                  <dgm:shape xmlns:r="http://schemas.openxmlformats.org/officeDocument/2006/relationships" type="ellipse" r:blip="">
                    <dgm:adjLst/>
                  </dgm:shape>
                  <dgm:presOf/>
                  <dgm:constrLst/>
                  <dgm:ruleLst/>
                </dgm:layoutNode>
                <dgm:layoutNode name="textBox2a" styleLbl="revTx">
                  <dgm:varLst>
                    <dgm:bulletEnabled val="1"/>
                  </dgm:varLst>
                  <dgm:choose name="Name11">
                    <dgm:if name="Name12" func="var" arg="dir" op="equ" val="norm">
                      <dgm:choose name="Name13">
                        <dgm:if name="Name14" axis="root des" ptType="all node" func="maxDepth" op="gt" val="1">
                          <dgm:alg type="tx">
                            <dgm:param type="txAnchorVert" val="t"/>
                            <dgm:param type="parTxLTRAlign" val="l"/>
                            <dgm:param type="parTxRTLAlign" val="r"/>
                          </dgm:alg>
                        </dgm:if>
                        <dgm:else name="Name15">
                          <dgm:alg type="tx">
                            <dgm:param type="txAnchorVert" val="t"/>
                            <dgm:param type="parTxLTRAlign" val="l"/>
                            <dgm:param type="parTxRTLAlign" val="l"/>
                          </dgm:alg>
                        </dgm:else>
                      </dgm:choose>
                    </dgm:if>
                    <dgm:else name="Name16">
                      <dgm:choose name="Name17">
                        <dgm:if name="Name18" axis="root des" ptType="all node" func="maxDepth" op="gt" val="1">
                          <dgm:alg type="tx">
                            <dgm:param type="txAnchorVert" val="b"/>
                            <dgm:param type="txAnchorVertCh" val="b"/>
                            <dgm:param type="parTxLTRAlign" val="l"/>
                            <dgm:param type="parTxRTLAlign" val="r"/>
                          </dgm:alg>
                        </dgm:if>
                        <dgm:else name="Name19">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20">
                    <dgm:if name="Name21" func="var" arg="dir" op="equ" val="norm">
                      <dgm:constrLst>
                        <dgm:constr type="rMarg"/>
                        <dgm:constr type="tMarg"/>
                        <dgm:constr type="bMarg"/>
                      </dgm:constrLst>
                    </dgm:if>
                    <dgm:else name="Name22">
                      <dgm:constrLst>
                        <dgm:constr type="lMarg"/>
                        <dgm:constr type="tMarg"/>
                        <dgm:constr type="bMarg"/>
                      </dgm:constrLst>
                    </dgm:else>
                  </dgm:choose>
                  <dgm:ruleLst>
                    <dgm:rule type="primFontSz" val="5" fact="NaN" max="NaN"/>
                  </dgm:ruleLst>
                </dgm:layoutNode>
              </dgm:forEach>
              <dgm:forEach name="Name23" axis="ch" ptType="node" st="2" cnt="1">
                <dgm:layoutNode name="bullet2b" styleLbl="node1">
                  <dgm:alg type="sp"/>
                  <dgm:shape xmlns:r="http://schemas.openxmlformats.org/officeDocument/2006/relationships" type="ellipse" r:blip="">
                    <dgm:adjLst/>
                  </dgm:shape>
                  <dgm:presOf/>
                  <dgm:constrLst/>
                  <dgm:ruleLst/>
                </dgm:layoutNode>
                <dgm:layoutNode name="textBox2b" styleLbl="revTx">
                  <dgm:varLst>
                    <dgm:bulletEnabled val="1"/>
                  </dgm:varLst>
                  <dgm:choose name="Name24">
                    <dgm:if name="Name25" func="var" arg="dir" op="equ" val="norm">
                      <dgm:choose name="Name26">
                        <dgm:if name="Name27" axis="root des" ptType="all node" func="maxDepth" op="gt" val="1">
                          <dgm:alg type="tx">
                            <dgm:param type="txAnchorVert" val="t"/>
                            <dgm:param type="parTxLTRAlign" val="l"/>
                            <dgm:param type="parTxRTLAlign" val="r"/>
                          </dgm:alg>
                        </dgm:if>
                        <dgm:else name="Name28">
                          <dgm:alg type="tx">
                            <dgm:param type="txAnchorVert" val="t"/>
                            <dgm:param type="parTxLTRAlign" val="l"/>
                            <dgm:param type="parTxRTLAlign" val="l"/>
                          </dgm:alg>
                        </dgm:else>
                      </dgm:choose>
                    </dgm:if>
                    <dgm:else name="Name29">
                      <dgm:choose name="Name30">
                        <dgm:if name="Name31" axis="root des" ptType="all node" func="maxDepth" op="gt" val="1">
                          <dgm:alg type="tx">
                            <dgm:param type="txAnchorVert" val="b"/>
                            <dgm:param type="txAnchorVertCh" val="b"/>
                            <dgm:param type="parTxLTRAlign" val="l"/>
                            <dgm:param type="parTxRTLAlign" val="r"/>
                          </dgm:alg>
                        </dgm:if>
                        <dgm:else name="Name32">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33">
                    <dgm:if name="Name34" func="var" arg="dir" op="equ" val="norm">
                      <dgm:constrLst>
                        <dgm:constr type="rMarg"/>
                        <dgm:constr type="tMarg"/>
                        <dgm:constr type="bMarg"/>
                      </dgm:constrLst>
                    </dgm:if>
                    <dgm:else name="Name35">
                      <dgm:constrLst>
                        <dgm:constr type="lMarg"/>
                        <dgm:constr type="tMarg"/>
                        <dgm:constr type="bMarg"/>
                      </dgm:constrLst>
                    </dgm:else>
                  </dgm:choose>
                  <dgm:ruleLst>
                    <dgm:rule type="primFontSz" val="5" fact="NaN" max="NaN"/>
                  </dgm:ruleLst>
                </dgm:layoutNode>
              </dgm:forEach>
            </dgm:layoutNode>
          </dgm:if>
          <dgm:if name="Name36" axis="ch" ptType="node" func="cnt" op="equ" val="3">
            <dgm:layoutNode name="arrowDiagram3">
              <dgm:alg type="composite">
                <dgm:param type="vertAlign" val="none"/>
                <dgm:param type="horzAlign" val="none"/>
              </dgm:alg>
              <dgm:shape xmlns:r="http://schemas.openxmlformats.org/officeDocument/2006/relationships" r:blip="">
                <dgm:adjLst/>
              </dgm:shape>
              <dgm:presOf/>
              <dgm:choose name="Name37">
                <dgm:if name="Name38" func="var" arg="dir" op="equ" val="norm">
                  <dgm:constrLst>
                    <dgm:constr type="ctrX" for="ch" forName="bullet3a" refType="w" fact="0.14"/>
                    <dgm:constr type="ctrY" for="ch" forName="bullet3a" refType="h" fact="0.711"/>
                    <dgm:constr type="w" for="ch" forName="bullet3a" refType="w" fact="0.026"/>
                    <dgm:constr type="h" for="ch" forName="bullet3a" refType="w" refFor="ch" refForName="bullet3a"/>
                    <dgm:constr type="l" for="ch" forName="textBox3a" refType="ctrX" refFor="ch" refForName="bullet3a"/>
                    <dgm:constr type="t" for="ch" forName="textBox3a" refType="ctrY" refFor="ch" refForName="bullet3a"/>
                    <dgm:constr type="w" for="ch" forName="textBox3a" refType="w" fact="0.233"/>
                    <dgm:constr type="h" for="ch" forName="textBox3a" refType="h" fact="0.289"/>
                    <dgm:constr type="userA" refType="h" refFor="ch" refForName="bullet3a" fact="0.53"/>
                    <dgm:constr type="lMarg" for="ch" forName="textBox3a" refType="userA" fact="2.834"/>
                    <dgm:constr type="ctrX" for="ch" forName="bullet3b" refType="w" fact="0.38"/>
                    <dgm:constr type="ctrY" for="ch" forName="bullet3b" refType="h" fact="0.456"/>
                    <dgm:constr type="w" for="ch" forName="bullet3b" refType="w" fact="0.047"/>
                    <dgm:constr type="h" for="ch" forName="bullet3b" refType="w" refFor="ch" refForName="bullet3b"/>
                    <dgm:constr type="l" for="ch" forName="textBox3b" refType="ctrX" refFor="ch" refForName="bullet3b"/>
                    <dgm:constr type="t" for="ch" forName="textBox3b" refType="ctrY" refFor="ch" refForName="bullet3b"/>
                    <dgm:constr type="w" for="ch" forName="textBox3b" refType="w" fact="0.24"/>
                    <dgm:constr type="h" for="ch" forName="textBox3b" refType="h" fact="0.544"/>
                    <dgm:constr type="userB" refType="h" refFor="ch" refForName="bullet3b" fact="0.53"/>
                    <dgm:constr type="lMarg" for="ch" forName="textBox3b" refType="userB" fact="2.834"/>
                    <dgm:constr type="ctrX" for="ch" forName="bullet3c" refType="w" fact="0.665"/>
                    <dgm:constr type="ctrY" for="ch" forName="bullet3c" refType="h" fact="0.305"/>
                    <dgm:constr type="w" for="ch" forName="bullet3c" refType="w" fact="0.065"/>
                    <dgm:constr type="h" for="ch" forName="bullet3c" refType="w" refFor="ch" refForName="bullet3c"/>
                    <dgm:constr type="l" for="ch" forName="textBox3c" refType="ctrX" refFor="ch" refForName="bullet3c"/>
                    <dgm:constr type="t" for="ch" forName="textBox3c" refType="ctrY" refFor="ch" refForName="bullet3c"/>
                    <dgm:constr type="w" for="ch" forName="textBox3c" refType="w" fact="0.24"/>
                    <dgm:constr type="h" for="ch" forName="textBox3c" refType="h" fact="0.695"/>
                    <dgm:constr type="userC" refType="h" refFor="ch" refForName="bullet3c" fact="0.53"/>
                    <dgm:constr type="lMarg" for="ch" forName="textBox3c" refType="userC" fact="2.834"/>
                    <dgm:constr type="primFontSz" for="ch" ptType="node" op="equ" val="65"/>
                  </dgm:constrLst>
                </dgm:if>
                <dgm:else name="Name39">
                  <dgm:constrLst>
                    <dgm:constr type="ctrX" for="ch" forName="bullet3a" refType="w" fact="0.14"/>
                    <dgm:constr type="ctrY" for="ch" forName="bullet3a" refType="h" fact="0.711"/>
                    <dgm:constr type="w" for="ch" forName="bullet3a" refType="w" fact="0.026"/>
                    <dgm:constr type="h" for="ch" forName="bullet3a" refType="w" refFor="ch" refForName="bullet3a"/>
                    <dgm:constr type="r" for="ch" forName="textBox3a" refType="ctrX" refFor="ch" refForName="bullet3a"/>
                    <dgm:constr type="b" for="ch" forName="textBox3a" refType="ctrY" refFor="ch" refForName="bullet3a"/>
                    <dgm:constr type="w" for="ch" forName="textBox3a" refType="w" fact="0.14"/>
                    <dgm:constr type="h" for="ch" forName="textBox3a" refType="h" fact="0.711"/>
                    <dgm:constr type="userA" refType="h" refFor="ch" refForName="bullet3a" fact="0.53"/>
                    <dgm:constr type="rMarg" for="ch" forName="textBox3a" refType="userA" fact="2.834"/>
                    <dgm:constr type="ctrX" for="ch" forName="bullet3b" refType="w" fact="0.38"/>
                    <dgm:constr type="ctrY" for="ch" forName="bullet3b" refType="h" fact="0.456"/>
                    <dgm:constr type="w" for="ch" forName="bullet3b" refType="w" fact="0.047"/>
                    <dgm:constr type="h" for="ch" forName="bullet3b" refType="w" refFor="ch" refForName="bullet3b"/>
                    <dgm:constr type="r" for="ch" forName="textBox3b" refType="ctrX" refFor="ch" refForName="bullet3b"/>
                    <dgm:constr type="b" for="ch" forName="textBox3b" refType="ctrY" refFor="ch" refForName="bullet3b"/>
                    <dgm:constr type="w" for="ch" forName="textBox3b" refType="w" fact="0.24"/>
                    <dgm:constr type="h" for="ch" forName="textBox3b" refType="h" fact="0.456"/>
                    <dgm:constr type="userB" refType="h" refFor="ch" refForName="bullet3b" fact="0.53"/>
                    <dgm:constr type="rMarg" for="ch" forName="textBox3b" refType="userB" fact="2.834"/>
                    <dgm:constr type="ctrX" for="ch" forName="bullet3c" refType="w" fact="0.665"/>
                    <dgm:constr type="ctrY" for="ch" forName="bullet3c" refType="h" fact="0.305"/>
                    <dgm:constr type="w" for="ch" forName="bullet3c" refType="w" fact="0.065"/>
                    <dgm:constr type="h" for="ch" forName="bullet3c" refType="w" refFor="ch" refForName="bullet3c"/>
                    <dgm:constr type="r" for="ch" forName="textBox3c" refType="ctrX" refFor="ch" refForName="bullet3c"/>
                    <dgm:constr type="b" for="ch" forName="textBox3c" refType="ctrY" refFor="ch" refForName="bullet3c"/>
                    <dgm:constr type="w" for="ch" forName="textBox3c" refType="w" fact="0.24"/>
                    <dgm:constr type="h" for="ch" forName="textBox3c" refType="h" fact="0.305"/>
                    <dgm:constr type="userC" refType="h" refFor="ch" refForName="bullet3c" fact="0.53"/>
                    <dgm:constr type="rMarg" for="ch" forName="textBox3c" refType="userC" fact="2.834"/>
                    <dgm:constr type="primFontSz" for="ch" ptType="node" op="equ" val="65"/>
                  </dgm:constrLst>
                </dgm:else>
              </dgm:choose>
              <dgm:ruleLst/>
              <dgm:forEach name="Name40" axis="ch" ptType="node" cnt="1">
                <dgm:layoutNode name="bullet3a" styleLbl="node1">
                  <dgm:alg type="sp"/>
                  <dgm:shape xmlns:r="http://schemas.openxmlformats.org/officeDocument/2006/relationships" type="ellipse" r:blip="">
                    <dgm:adjLst/>
                  </dgm:shape>
                  <dgm:presOf/>
                  <dgm:constrLst/>
                  <dgm:ruleLst/>
                </dgm:layoutNode>
                <dgm:layoutNode name="textBox3a" styleLbl="revTx">
                  <dgm:varLst>
                    <dgm:bulletEnabled val="1"/>
                  </dgm:varLst>
                  <dgm:choose name="Name41">
                    <dgm:if name="Name42" func="var" arg="dir" op="equ" val="norm">
                      <dgm:choose name="Name43">
                        <dgm:if name="Name44" axis="root des" ptType="all node" func="maxDepth" op="gt" val="1">
                          <dgm:alg type="tx">
                            <dgm:param type="txAnchorVert" val="t"/>
                            <dgm:param type="parTxLTRAlign" val="l"/>
                            <dgm:param type="parTxRTLAlign" val="r"/>
                          </dgm:alg>
                        </dgm:if>
                        <dgm:else name="Name45">
                          <dgm:alg type="tx">
                            <dgm:param type="txAnchorVert" val="t"/>
                            <dgm:param type="parTxLTRAlign" val="l"/>
                            <dgm:param type="parTxRTLAlign" val="l"/>
                          </dgm:alg>
                        </dgm:else>
                      </dgm:choose>
                    </dgm:if>
                    <dgm:else name="Name46">
                      <dgm:choose name="Name47">
                        <dgm:if name="Name48" axis="root des" ptType="all node" func="maxDepth" op="gt" val="1">
                          <dgm:alg type="tx">
                            <dgm:param type="txAnchorVert" val="b"/>
                            <dgm:param type="txAnchorVertCh" val="b"/>
                            <dgm:param type="parTxLTRAlign" val="l"/>
                            <dgm:param type="parTxRTLAlign" val="r"/>
                          </dgm:alg>
                        </dgm:if>
                        <dgm:else name="Name49">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50">
                    <dgm:if name="Name51" func="var" arg="dir" op="equ" val="norm">
                      <dgm:constrLst>
                        <dgm:constr type="rMarg"/>
                        <dgm:constr type="tMarg"/>
                        <dgm:constr type="bMarg"/>
                      </dgm:constrLst>
                    </dgm:if>
                    <dgm:else name="Name52">
                      <dgm:constrLst>
                        <dgm:constr type="lMarg"/>
                        <dgm:constr type="tMarg"/>
                        <dgm:constr type="bMarg"/>
                      </dgm:constrLst>
                    </dgm:else>
                  </dgm:choose>
                  <dgm:ruleLst>
                    <dgm:rule type="primFontSz" val="5" fact="NaN" max="NaN"/>
                  </dgm:ruleLst>
                </dgm:layoutNode>
              </dgm:forEach>
              <dgm:forEach name="Name53" axis="ch" ptType="node" st="2" cnt="1">
                <dgm:layoutNode name="bullet3b" styleLbl="node1">
                  <dgm:alg type="sp"/>
                  <dgm:shape xmlns:r="http://schemas.openxmlformats.org/officeDocument/2006/relationships" type="ellipse" r:blip="">
                    <dgm:adjLst/>
                  </dgm:shape>
                  <dgm:presOf/>
                  <dgm:constrLst/>
                  <dgm:ruleLst/>
                </dgm:layoutNode>
                <dgm:layoutNode name="textBox3b" styleLbl="revTx">
                  <dgm:varLst>
                    <dgm:bulletEnabled val="1"/>
                  </dgm:varLst>
                  <dgm:choose name="Name54">
                    <dgm:if name="Name55" func="var" arg="dir" op="equ" val="norm">
                      <dgm:choose name="Name56">
                        <dgm:if name="Name57" axis="root des" ptType="all node" func="maxDepth" op="gt" val="1">
                          <dgm:alg type="tx">
                            <dgm:param type="txAnchorVert" val="t"/>
                            <dgm:param type="parTxLTRAlign" val="l"/>
                            <dgm:param type="parTxRTLAlign" val="r"/>
                          </dgm:alg>
                        </dgm:if>
                        <dgm:else name="Name58">
                          <dgm:alg type="tx">
                            <dgm:param type="txAnchorVert" val="t"/>
                            <dgm:param type="parTxLTRAlign" val="l"/>
                            <dgm:param type="parTxRTLAlign" val="l"/>
                          </dgm:alg>
                        </dgm:else>
                      </dgm:choose>
                    </dgm:if>
                    <dgm:else name="Name59">
                      <dgm:choose name="Name60">
                        <dgm:if name="Name61" axis="root des" ptType="all node" func="maxDepth" op="gt" val="1">
                          <dgm:alg type="tx">
                            <dgm:param type="txAnchorVert" val="b"/>
                            <dgm:param type="txAnchorVertCh" val="b"/>
                            <dgm:param type="parTxLTRAlign" val="l"/>
                            <dgm:param type="parTxRTLAlign" val="r"/>
                          </dgm:alg>
                        </dgm:if>
                        <dgm:else name="Name62">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63">
                    <dgm:if name="Name64" func="var" arg="dir" op="equ" val="norm">
                      <dgm:constrLst>
                        <dgm:constr type="rMarg"/>
                        <dgm:constr type="tMarg"/>
                        <dgm:constr type="bMarg"/>
                      </dgm:constrLst>
                    </dgm:if>
                    <dgm:else name="Name65">
                      <dgm:constrLst>
                        <dgm:constr type="lMarg"/>
                        <dgm:constr type="tMarg"/>
                        <dgm:constr type="bMarg"/>
                      </dgm:constrLst>
                    </dgm:else>
                  </dgm:choose>
                  <dgm:ruleLst>
                    <dgm:rule type="primFontSz" val="5" fact="NaN" max="NaN"/>
                  </dgm:ruleLst>
                </dgm:layoutNode>
              </dgm:forEach>
              <dgm:forEach name="Name66" axis="ch" ptType="node" st="3" cnt="1">
                <dgm:layoutNode name="bullet3c" styleLbl="node1">
                  <dgm:alg type="sp"/>
                  <dgm:shape xmlns:r="http://schemas.openxmlformats.org/officeDocument/2006/relationships" type="ellipse" r:blip="">
                    <dgm:adjLst/>
                  </dgm:shape>
                  <dgm:presOf/>
                  <dgm:constrLst/>
                  <dgm:ruleLst/>
                </dgm:layoutNode>
                <dgm:layoutNode name="textBox3c" styleLbl="revTx">
                  <dgm:varLst>
                    <dgm:bulletEnabled val="1"/>
                  </dgm:varLst>
                  <dgm:choose name="Name67">
                    <dgm:if name="Name68" func="var" arg="dir" op="equ" val="norm">
                      <dgm:choose name="Name69">
                        <dgm:if name="Name70" axis="root des" ptType="all node" func="maxDepth" op="gt" val="1">
                          <dgm:alg type="tx">
                            <dgm:param type="txAnchorVert" val="t"/>
                            <dgm:param type="parTxLTRAlign" val="l"/>
                            <dgm:param type="parTxRTLAlign" val="r"/>
                          </dgm:alg>
                        </dgm:if>
                        <dgm:else name="Name71">
                          <dgm:alg type="tx">
                            <dgm:param type="txAnchorVert" val="t"/>
                            <dgm:param type="parTxLTRAlign" val="l"/>
                            <dgm:param type="parTxRTLAlign" val="l"/>
                          </dgm:alg>
                        </dgm:else>
                      </dgm:choose>
                    </dgm:if>
                    <dgm:else name="Name72">
                      <dgm:choose name="Name73">
                        <dgm:if name="Name74" axis="root des" ptType="all node" func="maxDepth" op="gt" val="1">
                          <dgm:alg type="tx">
                            <dgm:param type="txAnchorVert" val="b"/>
                            <dgm:param type="txAnchorVertCh" val="b"/>
                            <dgm:param type="parTxLTRAlign" val="l"/>
                            <dgm:param type="parTxRTLAlign" val="r"/>
                          </dgm:alg>
                        </dgm:if>
                        <dgm:else name="Name75">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76">
                    <dgm:if name="Name77" func="var" arg="dir" op="equ" val="norm">
                      <dgm:constrLst>
                        <dgm:constr type="rMarg"/>
                        <dgm:constr type="tMarg"/>
                        <dgm:constr type="bMarg"/>
                      </dgm:constrLst>
                    </dgm:if>
                    <dgm:else name="Name78">
                      <dgm:constrLst>
                        <dgm:constr type="lMarg"/>
                        <dgm:constr type="tMarg"/>
                        <dgm:constr type="bMarg"/>
                      </dgm:constrLst>
                    </dgm:else>
                  </dgm:choose>
                  <dgm:ruleLst>
                    <dgm:rule type="primFontSz" val="5" fact="NaN" max="NaN"/>
                  </dgm:ruleLst>
                </dgm:layoutNode>
              </dgm:forEach>
            </dgm:layoutNode>
          </dgm:if>
          <dgm:if name="Name79" axis="ch" ptType="node" func="cnt" op="equ" val="4">
            <dgm:layoutNode name="arrowDiagram4">
              <dgm:alg type="composite">
                <dgm:param type="vertAlign" val="none"/>
                <dgm:param type="horzAlign" val="none"/>
              </dgm:alg>
              <dgm:shape xmlns:r="http://schemas.openxmlformats.org/officeDocument/2006/relationships" r:blip="">
                <dgm:adjLst/>
              </dgm:shape>
              <dgm:presOf/>
              <dgm:choose name="Name80">
                <dgm:if name="Name81" func="var" arg="dir" op="equ" val="norm">
                  <dgm:constrLst>
                    <dgm:constr type="ctrX" for="ch" forName="bullet4a" refType="w" fact="0.11"/>
                    <dgm:constr type="ctrY" for="ch" forName="bullet4a" refType="h" fact="0.762"/>
                    <dgm:constr type="w" for="ch" forName="bullet4a" refType="w" fact="0.023"/>
                    <dgm:constr type="h" for="ch" forName="bullet4a" refType="w" refFor="ch" refForName="bullet4a"/>
                    <dgm:constr type="l" for="ch" forName="textBox4a" refType="ctrX" refFor="ch" refForName="bullet4a"/>
                    <dgm:constr type="t" for="ch" forName="textBox4a" refType="ctrY" refFor="ch" refForName="bullet4a"/>
                    <dgm:constr type="w" for="ch" forName="textBox4a" refType="w" fact="0.171"/>
                    <dgm:constr type="h" for="ch" forName="textBox4a" refType="h" fact="0.238"/>
                    <dgm:constr type="userA" refType="h" refFor="ch" refForName="bullet4a" fact="0.53"/>
                    <dgm:constr type="lMarg" for="ch" forName="textBox4a" refType="userA" fact="2.834"/>
                    <dgm:constr type="ctrX" for="ch" forName="bullet4b" refType="w" fact="0.281"/>
                    <dgm:constr type="ctrY" for="ch" forName="bullet4b" refType="h" fact="0.543"/>
                    <dgm:constr type="w" for="ch" forName="bullet4b" refType="w" fact="0.04"/>
                    <dgm:constr type="h" for="ch" forName="bullet4b" refType="w" refFor="ch" refForName="bullet4b"/>
                    <dgm:constr type="l" for="ch" forName="textBox4b" refType="ctrX" refFor="ch" refForName="bullet4b"/>
                    <dgm:constr type="t" for="ch" forName="textBox4b" refType="ctrY" refFor="ch" refForName="bullet4b"/>
                    <dgm:constr type="w" for="ch" forName="textBox4b" refType="w" fact="0.21"/>
                    <dgm:constr type="h" for="ch" forName="textBox4b" refType="h" fact="0.457"/>
                    <dgm:constr type="userB" refType="h" refFor="ch" refForName="bullet4b" fact="0.53"/>
                    <dgm:constr type="lMarg" for="ch" forName="textBox4b" refType="userB" fact="2.834"/>
                    <dgm:constr type="ctrX" for="ch" forName="bullet4c" refType="w" fact="0.495"/>
                    <dgm:constr type="ctrY" for="ch" forName="bullet4c" refType="h" fact="0.382"/>
                    <dgm:constr type="w" for="ch" forName="bullet4c" refType="w" fact="0.053"/>
                    <dgm:constr type="h" for="ch" forName="bullet4c" refType="w" refFor="ch" refForName="bullet4c"/>
                    <dgm:constr type="l" for="ch" forName="textBox4c" refType="ctrX" refFor="ch" refForName="bullet4c"/>
                    <dgm:constr type="t" for="ch" forName="textBox4c" refType="ctrY" refFor="ch" refForName="bullet4c"/>
                    <dgm:constr type="w" for="ch" forName="textBox4c" refType="w" fact="0.21"/>
                    <dgm:constr type="h" for="ch" forName="textBox4c" refType="h" fact="0.618"/>
                    <dgm:constr type="userC" refType="h" refFor="ch" refForName="bullet4c" fact="0.53"/>
                    <dgm:constr type="lMarg" for="ch" forName="textBox4c" refType="userC" fact="2.834"/>
                    <dgm:constr type="ctrX" for="ch" forName="bullet4d" refType="w" fact="0.73"/>
                    <dgm:constr type="ctrY" for="ch" forName="bullet4d" refType="h" fact="0.283"/>
                    <dgm:constr type="w" for="ch" forName="bullet4d" refType="w" fact="0.071"/>
                    <dgm:constr type="h" for="ch" forName="bullet4d" refType="w" refFor="ch" refForName="bullet4d"/>
                    <dgm:constr type="l" for="ch" forName="textBox4d" refType="ctrX" refFor="ch" refForName="bullet4d"/>
                    <dgm:constr type="t" for="ch" forName="textBox4d" refType="ctrY" refFor="ch" refForName="bullet4d"/>
                    <dgm:constr type="w" for="ch" forName="textBox4d" refType="w" fact="0.21"/>
                    <dgm:constr type="h" for="ch" forName="textBox4d" refType="h" fact="0.717"/>
                    <dgm:constr type="userD" refType="h" refFor="ch" refForName="bullet4d" fact="0.53"/>
                    <dgm:constr type="lMarg" for="ch" forName="textBox4d" refType="userD" fact="2.834"/>
                    <dgm:constr type="primFontSz" for="ch" ptType="node" op="equ" val="65"/>
                  </dgm:constrLst>
                </dgm:if>
                <dgm:else name="Name82">
                  <dgm:constrLst>
                    <dgm:constr type="ctrX" for="ch" forName="bullet4a" refType="w" fact="0.11"/>
                    <dgm:constr type="ctrY" for="ch" forName="bullet4a" refType="h" fact="0.762"/>
                    <dgm:constr type="w" for="ch" forName="bullet4a" refType="w" fact="0.023"/>
                    <dgm:constr type="h" for="ch" forName="bullet4a" refType="w" refFor="ch" refForName="bullet4a"/>
                    <dgm:constr type="r" for="ch" forName="textBox4a" refType="ctrX" refFor="ch" refForName="bullet4a"/>
                    <dgm:constr type="b" for="ch" forName="textBox4a" refType="ctrY" refFor="ch" refForName="bullet4a"/>
                    <dgm:constr type="w" for="ch" forName="textBox4a" refType="w" fact="0.11"/>
                    <dgm:constr type="h" for="ch" forName="textBox4a" refType="h" fact="0.762"/>
                    <dgm:constr type="userA" refType="h" refFor="ch" refForName="bullet4a" fact="0.53"/>
                    <dgm:constr type="rMarg" for="ch" forName="textBox4a" refType="userA" fact="2.834"/>
                    <dgm:constr type="ctrX" for="ch" forName="bullet4b" refType="w" fact="0.281"/>
                    <dgm:constr type="ctrY" for="ch" forName="bullet4b" refType="h" fact="0.543"/>
                    <dgm:constr type="w" for="ch" forName="bullet4b" refType="w" fact="0.04"/>
                    <dgm:constr type="h" for="ch" forName="bullet4b" refType="w" refFor="ch" refForName="bullet4b"/>
                    <dgm:constr type="r" for="ch" forName="textBox4b" refType="ctrX" refFor="ch" refForName="bullet4b"/>
                    <dgm:constr type="b" for="ch" forName="textBox4b" refType="ctrY" refFor="ch" refForName="bullet4b"/>
                    <dgm:constr type="w" for="ch" forName="textBox4b" refType="w" fact="0.171"/>
                    <dgm:constr type="h" for="ch" forName="textBox4b" refType="h" fact="0.543"/>
                    <dgm:constr type="userB" refType="h" refFor="ch" refForName="bullet4b" fact="0.53"/>
                    <dgm:constr type="rMarg" for="ch" forName="textBox4b" refType="userB" fact="2.834"/>
                    <dgm:constr type="ctrX" for="ch" forName="bullet4c" refType="w" fact="0.495"/>
                    <dgm:constr type="ctrY" for="ch" forName="bullet4c" refType="h" fact="0.382"/>
                    <dgm:constr type="w" for="ch" forName="bullet4c" refType="w" fact="0.053"/>
                    <dgm:constr type="h" for="ch" forName="bullet4c" refType="w" refFor="ch" refForName="bullet4c"/>
                    <dgm:constr type="r" for="ch" forName="textBox4c" refType="ctrX" refFor="ch" refForName="bullet4c"/>
                    <dgm:constr type="b" for="ch" forName="textBox4c" refType="ctrY" refFor="ch" refForName="bullet4c"/>
                    <dgm:constr type="w" for="ch" forName="textBox4c" refType="w" fact="0.21"/>
                    <dgm:constr type="h" for="ch" forName="textBox4c" refType="h" fact="0.382"/>
                    <dgm:constr type="userC" refType="h" refFor="ch" refForName="bullet4c" fact="0.53"/>
                    <dgm:constr type="rMarg" for="ch" forName="textBox4c" refType="userC" fact="2.834"/>
                    <dgm:constr type="ctrX" for="ch" forName="bullet4d" refType="w" fact="0.73"/>
                    <dgm:constr type="ctrY" for="ch" forName="bullet4d" refType="h" fact="0.283"/>
                    <dgm:constr type="w" for="ch" forName="bullet4d" refType="w" fact="0.071"/>
                    <dgm:constr type="h" for="ch" forName="bullet4d" refType="w" refFor="ch" refForName="bullet4d"/>
                    <dgm:constr type="r" for="ch" forName="textBox4d" refType="ctrX" refFor="ch" refForName="bullet4d"/>
                    <dgm:constr type="b" for="ch" forName="textBox4d" refType="ctrY" refFor="ch" refForName="bullet4d"/>
                    <dgm:constr type="w" for="ch" forName="textBox4d" refType="w" fact="0.21"/>
                    <dgm:constr type="h" for="ch" forName="textBox4d" refType="h" fact="0.283"/>
                    <dgm:constr type="userD" refType="h" refFor="ch" refForName="bullet4d" fact="0.53"/>
                    <dgm:constr type="rMarg" for="ch" forName="textBox4d" refType="userD" fact="2.834"/>
                    <dgm:constr type="primFontSz" for="ch" ptType="node" op="equ" val="65"/>
                  </dgm:constrLst>
                </dgm:else>
              </dgm:choose>
              <dgm:ruleLst/>
              <dgm:forEach name="Name83" axis="ch" ptType="node" cnt="1">
                <dgm:layoutNode name="bullet4a" styleLbl="node1">
                  <dgm:alg type="sp"/>
                  <dgm:shape xmlns:r="http://schemas.openxmlformats.org/officeDocument/2006/relationships" type="ellipse" r:blip="">
                    <dgm:adjLst/>
                  </dgm:shape>
                  <dgm:presOf/>
                  <dgm:constrLst/>
                  <dgm:ruleLst/>
                </dgm:layoutNode>
                <dgm:layoutNode name="textBox4a" styleLbl="revTx">
                  <dgm:varLst>
                    <dgm:bulletEnabled val="1"/>
                  </dgm:varLst>
                  <dgm:choose name="Name84">
                    <dgm:if name="Name85" func="var" arg="dir" op="equ" val="norm">
                      <dgm:choose name="Name86">
                        <dgm:if name="Name87" axis="root des" ptType="all node" func="maxDepth" op="gt" val="1">
                          <dgm:alg type="tx">
                            <dgm:param type="txAnchorVert" val="t"/>
                            <dgm:param type="parTxLTRAlign" val="l"/>
                            <dgm:param type="parTxRTLAlign" val="r"/>
                          </dgm:alg>
                        </dgm:if>
                        <dgm:else name="Name88">
                          <dgm:alg type="tx">
                            <dgm:param type="txAnchorVert" val="t"/>
                            <dgm:param type="parTxLTRAlign" val="l"/>
                            <dgm:param type="parTxRTLAlign" val="l"/>
                          </dgm:alg>
                        </dgm:else>
                      </dgm:choose>
                    </dgm:if>
                    <dgm:else name="Name89">
                      <dgm:choose name="Name90">
                        <dgm:if name="Name91" axis="root des" ptType="all node" func="maxDepth" op="gt" val="1">
                          <dgm:alg type="tx">
                            <dgm:param type="txAnchorVert" val="b"/>
                            <dgm:param type="txAnchorVertCh" val="b"/>
                            <dgm:param type="parTxLTRAlign" val="l"/>
                            <dgm:param type="parTxRTLAlign" val="r"/>
                          </dgm:alg>
                        </dgm:if>
                        <dgm:else name="Name92">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93">
                    <dgm:if name="Name94" func="var" arg="dir" op="equ" val="norm">
                      <dgm:constrLst>
                        <dgm:constr type="rMarg"/>
                        <dgm:constr type="tMarg"/>
                        <dgm:constr type="bMarg"/>
                      </dgm:constrLst>
                    </dgm:if>
                    <dgm:else name="Name95">
                      <dgm:constrLst>
                        <dgm:constr type="lMarg"/>
                        <dgm:constr type="tMarg"/>
                        <dgm:constr type="bMarg"/>
                      </dgm:constrLst>
                    </dgm:else>
                  </dgm:choose>
                  <dgm:ruleLst>
                    <dgm:rule type="primFontSz" val="5" fact="NaN" max="NaN"/>
                  </dgm:ruleLst>
                </dgm:layoutNode>
              </dgm:forEach>
              <dgm:forEach name="Name96" axis="ch" ptType="node" st="2" cnt="1">
                <dgm:layoutNode name="bullet4b" styleLbl="node1">
                  <dgm:alg type="sp"/>
                  <dgm:shape xmlns:r="http://schemas.openxmlformats.org/officeDocument/2006/relationships" type="ellipse" r:blip="">
                    <dgm:adjLst/>
                  </dgm:shape>
                  <dgm:presOf/>
                  <dgm:constrLst/>
                  <dgm:ruleLst/>
                </dgm:layoutNode>
                <dgm:layoutNode name="textBox4b" styleLbl="revTx">
                  <dgm:varLst>
                    <dgm:bulletEnabled val="1"/>
                  </dgm:varLst>
                  <dgm:choose name="Name97">
                    <dgm:if name="Name98" func="var" arg="dir" op="equ" val="norm">
                      <dgm:choose name="Name99">
                        <dgm:if name="Name100" axis="root des" ptType="all node" func="maxDepth" op="gt" val="1">
                          <dgm:alg type="tx">
                            <dgm:param type="txAnchorVert" val="t"/>
                            <dgm:param type="parTxLTRAlign" val="l"/>
                            <dgm:param type="parTxRTLAlign" val="r"/>
                          </dgm:alg>
                        </dgm:if>
                        <dgm:else name="Name101">
                          <dgm:alg type="tx">
                            <dgm:param type="txAnchorVert" val="t"/>
                            <dgm:param type="parTxLTRAlign" val="l"/>
                            <dgm:param type="parTxRTLAlign" val="l"/>
                          </dgm:alg>
                        </dgm:else>
                      </dgm:choose>
                    </dgm:if>
                    <dgm:else name="Name102">
                      <dgm:choose name="Name103">
                        <dgm:if name="Name104" axis="root des" ptType="all node" func="maxDepth" op="gt" val="1">
                          <dgm:alg type="tx">
                            <dgm:param type="txAnchorVert" val="b"/>
                            <dgm:param type="txAnchorVertCh" val="b"/>
                            <dgm:param type="parTxLTRAlign" val="l"/>
                            <dgm:param type="parTxRTLAlign" val="r"/>
                          </dgm:alg>
                        </dgm:if>
                        <dgm:else name="Name105">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06">
                    <dgm:if name="Name107" func="var" arg="dir" op="equ" val="norm">
                      <dgm:constrLst>
                        <dgm:constr type="rMarg"/>
                        <dgm:constr type="tMarg"/>
                        <dgm:constr type="bMarg"/>
                      </dgm:constrLst>
                    </dgm:if>
                    <dgm:else name="Name108">
                      <dgm:constrLst>
                        <dgm:constr type="lMarg"/>
                        <dgm:constr type="tMarg"/>
                        <dgm:constr type="bMarg"/>
                      </dgm:constrLst>
                    </dgm:else>
                  </dgm:choose>
                  <dgm:ruleLst>
                    <dgm:rule type="primFontSz" val="5" fact="NaN" max="NaN"/>
                  </dgm:ruleLst>
                </dgm:layoutNode>
              </dgm:forEach>
              <dgm:forEach name="Name109" axis="ch" ptType="node" st="3" cnt="1">
                <dgm:layoutNode name="bullet4c" styleLbl="node1">
                  <dgm:alg type="sp"/>
                  <dgm:shape xmlns:r="http://schemas.openxmlformats.org/officeDocument/2006/relationships" type="ellipse" r:blip="">
                    <dgm:adjLst/>
                  </dgm:shape>
                  <dgm:presOf/>
                  <dgm:constrLst/>
                  <dgm:ruleLst/>
                </dgm:layoutNode>
                <dgm:layoutNode name="textBox4c" styleLbl="revTx">
                  <dgm:varLst>
                    <dgm:bulletEnabled val="1"/>
                  </dgm:varLst>
                  <dgm:choose name="Name110">
                    <dgm:if name="Name111" func="var" arg="dir" op="equ" val="norm">
                      <dgm:choose name="Name112">
                        <dgm:if name="Name113" axis="root des" ptType="all node" func="maxDepth" op="gt" val="1">
                          <dgm:alg type="tx">
                            <dgm:param type="txAnchorVert" val="t"/>
                            <dgm:param type="parTxLTRAlign" val="l"/>
                            <dgm:param type="parTxRTLAlign" val="r"/>
                          </dgm:alg>
                        </dgm:if>
                        <dgm:else name="Name114">
                          <dgm:alg type="tx">
                            <dgm:param type="txAnchorVert" val="t"/>
                            <dgm:param type="parTxLTRAlign" val="l"/>
                            <dgm:param type="parTxRTLAlign" val="l"/>
                          </dgm:alg>
                        </dgm:else>
                      </dgm:choose>
                    </dgm:if>
                    <dgm:else name="Name115">
                      <dgm:choose name="Name116">
                        <dgm:if name="Name117" axis="root des" ptType="all node" func="maxDepth" op="gt" val="1">
                          <dgm:alg type="tx">
                            <dgm:param type="txAnchorVert" val="b"/>
                            <dgm:param type="txAnchorVertCh" val="b"/>
                            <dgm:param type="parTxLTRAlign" val="l"/>
                            <dgm:param type="parTxRTLAlign" val="r"/>
                          </dgm:alg>
                        </dgm:if>
                        <dgm:else name="Name118">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19">
                    <dgm:if name="Name120" func="var" arg="dir" op="equ" val="norm">
                      <dgm:constrLst>
                        <dgm:constr type="rMarg"/>
                        <dgm:constr type="tMarg"/>
                        <dgm:constr type="bMarg"/>
                      </dgm:constrLst>
                    </dgm:if>
                    <dgm:else name="Name121">
                      <dgm:constrLst>
                        <dgm:constr type="lMarg"/>
                        <dgm:constr type="tMarg"/>
                        <dgm:constr type="bMarg"/>
                      </dgm:constrLst>
                    </dgm:else>
                  </dgm:choose>
                  <dgm:ruleLst>
                    <dgm:rule type="primFontSz" val="5" fact="NaN" max="NaN"/>
                  </dgm:ruleLst>
                </dgm:layoutNode>
              </dgm:forEach>
              <dgm:forEach name="Name122" axis="ch" ptType="node" st="4" cnt="1">
                <dgm:layoutNode name="bullet4d" styleLbl="node1">
                  <dgm:alg type="sp"/>
                  <dgm:shape xmlns:r="http://schemas.openxmlformats.org/officeDocument/2006/relationships" type="ellipse" r:blip="">
                    <dgm:adjLst/>
                  </dgm:shape>
                  <dgm:presOf/>
                  <dgm:constrLst/>
                  <dgm:ruleLst/>
                </dgm:layoutNode>
                <dgm:layoutNode name="textBox4d" styleLbl="revTx">
                  <dgm:varLst>
                    <dgm:bulletEnabled val="1"/>
                  </dgm:varLst>
                  <dgm:choose name="Name123">
                    <dgm:if name="Name124" func="var" arg="dir" op="equ" val="norm">
                      <dgm:choose name="Name125">
                        <dgm:if name="Name126" axis="root des" ptType="all node" func="maxDepth" op="gt" val="1">
                          <dgm:alg type="tx">
                            <dgm:param type="txAnchorVert" val="t"/>
                            <dgm:param type="parTxLTRAlign" val="l"/>
                            <dgm:param type="parTxRTLAlign" val="r"/>
                          </dgm:alg>
                        </dgm:if>
                        <dgm:else name="Name127">
                          <dgm:alg type="tx">
                            <dgm:param type="txAnchorVert" val="t"/>
                            <dgm:param type="parTxLTRAlign" val="l"/>
                            <dgm:param type="parTxRTLAlign" val="l"/>
                          </dgm:alg>
                        </dgm:else>
                      </dgm:choose>
                    </dgm:if>
                    <dgm:else name="Name128">
                      <dgm:choose name="Name129">
                        <dgm:if name="Name130" axis="root des" ptType="all node" func="maxDepth" op="gt" val="1">
                          <dgm:alg type="tx">
                            <dgm:param type="txAnchorVert" val="b"/>
                            <dgm:param type="txAnchorVertCh" val="b"/>
                            <dgm:param type="parTxLTRAlign" val="l"/>
                            <dgm:param type="parTxRTLAlign" val="r"/>
                          </dgm:alg>
                        </dgm:if>
                        <dgm:else name="Name131">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32">
                    <dgm:if name="Name133" func="var" arg="dir" op="equ" val="norm">
                      <dgm:constrLst>
                        <dgm:constr type="rMarg"/>
                        <dgm:constr type="tMarg"/>
                        <dgm:constr type="bMarg"/>
                      </dgm:constrLst>
                    </dgm:if>
                    <dgm:else name="Name134">
                      <dgm:constrLst>
                        <dgm:constr type="lMarg"/>
                        <dgm:constr type="tMarg"/>
                        <dgm:constr type="bMarg"/>
                      </dgm:constrLst>
                    </dgm:else>
                  </dgm:choose>
                  <dgm:ruleLst>
                    <dgm:rule type="primFontSz" val="5" fact="NaN" max="NaN"/>
                  </dgm:ruleLst>
                </dgm:layoutNode>
              </dgm:forEach>
            </dgm:layoutNode>
          </dgm:if>
          <dgm:else name="Name135">
            <dgm:layoutNode name="arrowDiagram5">
              <dgm:alg type="composite">
                <dgm:param type="vertAlign" val="none"/>
                <dgm:param type="horzAlign" val="none"/>
              </dgm:alg>
              <dgm:shape xmlns:r="http://schemas.openxmlformats.org/officeDocument/2006/relationships" r:blip="">
                <dgm:adjLst/>
              </dgm:shape>
              <dgm:presOf/>
              <dgm:choose name="Name136">
                <dgm:if name="Name137" func="var" arg="dir" op="equ" val="norm">
                  <dgm:constrLst>
                    <dgm:constr type="ctrX" for="ch" forName="bullet5a" refType="w" fact="0.11"/>
                    <dgm:constr type="ctrY" for="ch" forName="bullet5a" refType="h" fact="0.762"/>
                    <dgm:constr type="w" for="ch" forName="bullet5a" refType="w" fact="0.023"/>
                    <dgm:constr type="h" for="ch" forName="bullet5a" refType="w" refFor="ch" refForName="bullet5a"/>
                    <dgm:constr type="l" for="ch" forName="textBox5a" refType="ctrX" refFor="ch" refForName="bullet5a"/>
                    <dgm:constr type="t" for="ch" forName="textBox5a" refType="ctrY" refFor="ch" refForName="bullet5a"/>
                    <dgm:constr type="w" for="ch" forName="textBox5a" refType="w" fact="0.131"/>
                    <dgm:constr type="h" for="ch" forName="textBox5a" refType="h" fact="0.238"/>
                    <dgm:constr type="userA" refType="h" refFor="ch" refForName="bullet5a" fact="0.53"/>
                    <dgm:constr type="lMarg" for="ch" forName="textBox5a" refType="userA" fact="2.834"/>
                    <dgm:constr type="ctrX" for="ch" forName="bullet5b" refType="w" fact="0.241"/>
                    <dgm:constr type="ctrY" for="ch" forName="bullet5b" refType="h" fact="0.581"/>
                    <dgm:constr type="w" for="ch" forName="bullet5b" refType="w" fact="0.036"/>
                    <dgm:constr type="h" for="ch" forName="bullet5b" refType="w" refFor="ch" refForName="bullet5b"/>
                    <dgm:constr type="l" for="ch" forName="textBox5b" refType="ctrX" refFor="ch" refForName="bullet5b"/>
                    <dgm:constr type="t" for="ch" forName="textBox5b" refType="ctrY" refFor="ch" refForName="bullet5b"/>
                    <dgm:constr type="w" for="ch" forName="textBox5b" refType="w" fact="0.166"/>
                    <dgm:constr type="h" for="ch" forName="textBox5b" refType="h" fact="0.419"/>
                    <dgm:constr type="userB" refType="h" refFor="ch" refForName="bullet5b" fact="0.53"/>
                    <dgm:constr type="lMarg" for="ch" forName="textBox5b" refType="userB" fact="2.834"/>
                    <dgm:constr type="ctrX" for="ch" forName="bullet5c" refType="w" fact="0.407"/>
                    <dgm:constr type="ctrY" for="ch" forName="bullet5c" refType="h" fact="0.438"/>
                    <dgm:constr type="w" for="ch" forName="bullet5c" refType="w" fact="0.048"/>
                    <dgm:constr type="h" for="ch" forName="bullet5c" refType="w" refFor="ch" refForName="bullet5c"/>
                    <dgm:constr type="l" for="ch" forName="textBox5c" refType="ctrX" refFor="ch" refForName="bullet5c"/>
                    <dgm:constr type="t" for="ch" forName="textBox5c" refType="ctrY" refFor="ch" refForName="bullet5c"/>
                    <dgm:constr type="w" for="ch" forName="textBox5c" refType="w" fact="0.193"/>
                    <dgm:constr type="h" for="ch" forName="textBox5c" refType="h" fact="0.562"/>
                    <dgm:constr type="userC" refType="h" refFor="ch" refForName="bullet5c" fact="0.53"/>
                    <dgm:constr type="lMarg" for="ch" forName="textBox5c" refType="userC" fact="2.834"/>
                    <dgm:constr type="ctrX" for="ch" forName="bullet5d" refType="w" fact="0.6"/>
                    <dgm:constr type="ctrY" for="ch" forName="bullet5d" refType="h" fact="0.33"/>
                    <dgm:constr type="w" for="ch" forName="bullet5d" refType="w" fact="0.062"/>
                    <dgm:constr type="h" for="ch" forName="bullet5d" refType="w" refFor="ch" refForName="bullet5d"/>
                    <dgm:constr type="l" for="ch" forName="textBox5d" refType="ctrX" refFor="ch" refForName="bullet5d"/>
                    <dgm:constr type="t" for="ch" forName="textBox5d" refType="ctrY" refFor="ch" refForName="bullet5d"/>
                    <dgm:constr type="w" for="ch" forName="textBox5d" refType="w" fact="0.2"/>
                    <dgm:constr type="h" for="ch" forName="textBox5d" refType="h" fact="0.67"/>
                    <dgm:constr type="userD" refType="h" refFor="ch" refForName="bullet5d" fact="0.53"/>
                    <dgm:constr type="lMarg" for="ch" forName="textBox5d" refType="userD" fact="2.834"/>
                    <dgm:constr type="ctrX" for="ch" forName="bullet5e" refType="w" fact="0.8"/>
                    <dgm:constr type="ctrY" for="ch" forName="bullet5e" refType="h" fact="0.264"/>
                    <dgm:constr type="w" for="ch" forName="bullet5e" refType="w" fact="0.079"/>
                    <dgm:constr type="h" for="ch" forName="bullet5e" refType="w" refFor="ch" refForName="bullet5e"/>
                    <dgm:constr type="l" for="ch" forName="textBox5e" refType="ctrX" refFor="ch" refForName="bullet5e"/>
                    <dgm:constr type="t" for="ch" forName="textBox5e" refType="ctrY" refFor="ch" refForName="bullet5e"/>
                    <dgm:constr type="w" for="ch" forName="textBox5e" refType="w" fact="0.2"/>
                    <dgm:constr type="h" for="ch" forName="textBox5e" refType="h" fact="0.736"/>
                    <dgm:constr type="userE" refType="h" refFor="ch" refForName="bullet5e" fact="0.53"/>
                    <dgm:constr type="lMarg" for="ch" forName="textBox5e" refType="userE" fact="2.834"/>
                    <dgm:constr type="primFontSz" for="ch" ptType="node" op="equ" val="65"/>
                  </dgm:constrLst>
                </dgm:if>
                <dgm:else name="Name138">
                  <dgm:constrLst>
                    <dgm:constr type="ctrX" for="ch" forName="bullet5a" refType="w" fact="0.11"/>
                    <dgm:constr type="ctrY" for="ch" forName="bullet5a" refType="h" fact="0.762"/>
                    <dgm:constr type="w" for="ch" forName="bullet5a" refType="w" fact="0.023"/>
                    <dgm:constr type="h" for="ch" forName="bullet5a" refType="w" refFor="ch" refForName="bullet5a"/>
                    <dgm:constr type="r" for="ch" forName="textBox5a" refType="ctrX" refFor="ch" refForName="bullet5a"/>
                    <dgm:constr type="b" for="ch" forName="textBox5a" refType="ctrY" refFor="ch" refForName="bullet5a"/>
                    <dgm:constr type="w" for="ch" forName="textBox5a" refType="w" fact="0.11"/>
                    <dgm:constr type="h" for="ch" forName="textBox5a" refType="h" fact="0.762"/>
                    <dgm:constr type="userA" refType="h" refFor="ch" refForName="bullet5a" fact="0.53"/>
                    <dgm:constr type="rMarg" for="ch" forName="textBox5a" refType="userA" fact="2.834"/>
                    <dgm:constr type="ctrX" for="ch" forName="bullet5b" refType="w" fact="0.241"/>
                    <dgm:constr type="ctrY" for="ch" forName="bullet5b" refType="h" fact="0.581"/>
                    <dgm:constr type="w" for="ch" forName="bullet5b" refType="w" fact="0.036"/>
                    <dgm:constr type="h" for="ch" forName="bullet5b" refType="w" refFor="ch" refForName="bullet5b"/>
                    <dgm:constr type="r" for="ch" forName="textBox5b" refType="ctrX" refFor="ch" refForName="bullet5b"/>
                    <dgm:constr type="b" for="ch" forName="textBox5b" refType="ctrY" refFor="ch" refForName="bullet5b"/>
                    <dgm:constr type="w" for="ch" forName="textBox5b" refType="w" fact="0.131"/>
                    <dgm:constr type="h" for="ch" forName="textBox5b" refType="h" fact="0.581"/>
                    <dgm:constr type="userB" refType="h" refFor="ch" refForName="bullet5b" fact="0.53"/>
                    <dgm:constr type="rMarg" for="ch" forName="textBox5b" refType="userB" fact="2.834"/>
                    <dgm:constr type="ctrX" for="ch" forName="bullet5c" refType="w" fact="0.407"/>
                    <dgm:constr type="ctrY" for="ch" forName="bullet5c" refType="h" fact="0.438"/>
                    <dgm:constr type="w" for="ch" forName="bullet5c" refType="w" fact="0.048"/>
                    <dgm:constr type="h" for="ch" forName="bullet5c" refType="w" refFor="ch" refForName="bullet5c"/>
                    <dgm:constr type="r" for="ch" forName="textBox5c" refType="ctrX" refFor="ch" refForName="bullet5c"/>
                    <dgm:constr type="b" for="ch" forName="textBox5c" refType="ctrY" refFor="ch" refForName="bullet5c"/>
                    <dgm:constr type="w" for="ch" forName="textBox5c" refType="w" fact="0.166"/>
                    <dgm:constr type="h" for="ch" forName="textBox5c" refType="h" fact="0.438"/>
                    <dgm:constr type="userC" refType="h" refFor="ch" refForName="bullet5c" fact="0.53"/>
                    <dgm:constr type="rMarg" for="ch" forName="textBox5c" refType="userC" fact="2.834"/>
                    <dgm:constr type="ctrX" for="ch" forName="bullet5d" refType="w" fact="0.6"/>
                    <dgm:constr type="ctrY" for="ch" forName="bullet5d" refType="h" fact="0.33"/>
                    <dgm:constr type="w" for="ch" forName="bullet5d" refType="w" fact="0.062"/>
                    <dgm:constr type="h" for="ch" forName="bullet5d" refType="w" refFor="ch" refForName="bullet5d"/>
                    <dgm:constr type="r" for="ch" forName="textBox5d" refType="ctrX" refFor="ch" refForName="bullet5d"/>
                    <dgm:constr type="b" for="ch" forName="textBox5d" refType="ctrY" refFor="ch" refForName="bullet5d"/>
                    <dgm:constr type="w" for="ch" forName="textBox5d" refType="w" fact="0.193"/>
                    <dgm:constr type="h" for="ch" forName="textBox5d" refType="h" fact="0.33"/>
                    <dgm:constr type="userD" refType="h" refFor="ch" refForName="bullet5d" fact="0.53"/>
                    <dgm:constr type="rMarg" for="ch" forName="textBox5d" refType="userD" fact="2.834"/>
                    <dgm:constr type="ctrX" for="ch" forName="bullet5e" refType="w" fact="0.8"/>
                    <dgm:constr type="ctrY" for="ch" forName="bullet5e" refType="h" fact="0.264"/>
                    <dgm:constr type="w" for="ch" forName="bullet5e" refType="w" fact="0.079"/>
                    <dgm:constr type="h" for="ch" forName="bullet5e" refType="w" refFor="ch" refForName="bullet5e"/>
                    <dgm:constr type="r" for="ch" forName="textBox5e" refType="ctrX" refFor="ch" refForName="bullet5e"/>
                    <dgm:constr type="b" for="ch" forName="textBox5e" refType="ctrY" refFor="ch" refForName="bullet5e"/>
                    <dgm:constr type="w" for="ch" forName="textBox5e" refType="w" fact="0.2"/>
                    <dgm:constr type="h" for="ch" forName="textBox5e" refType="h" fact="0.264"/>
                    <dgm:constr type="userE" refType="h" refFor="ch" refForName="bullet5e" fact="0.53"/>
                    <dgm:constr type="rMarg" for="ch" forName="textBox5e" refType="userE" fact="2.834"/>
                    <dgm:constr type="primFontSz" for="ch" ptType="node" op="equ" val="65"/>
                  </dgm:constrLst>
                </dgm:else>
              </dgm:choose>
              <dgm:ruleLst/>
              <dgm:forEach name="Name139" axis="ch" ptType="node" cnt="1">
                <dgm:layoutNode name="bullet5a" styleLbl="node1">
                  <dgm:alg type="sp"/>
                  <dgm:shape xmlns:r="http://schemas.openxmlformats.org/officeDocument/2006/relationships" type="ellipse" r:blip="">
                    <dgm:adjLst/>
                  </dgm:shape>
                  <dgm:presOf/>
                  <dgm:constrLst/>
                  <dgm:ruleLst/>
                </dgm:layoutNode>
                <dgm:layoutNode name="textBox5a" styleLbl="revTx">
                  <dgm:varLst>
                    <dgm:bulletEnabled val="1"/>
                  </dgm:varLst>
                  <dgm:choose name="Name140">
                    <dgm:if name="Name141" func="var" arg="dir" op="equ" val="norm">
                      <dgm:choose name="Name142">
                        <dgm:if name="Name143" axis="root des" ptType="all node" func="maxDepth" op="gt" val="1">
                          <dgm:alg type="tx">
                            <dgm:param type="txAnchorVert" val="t"/>
                            <dgm:param type="parTxLTRAlign" val="l"/>
                            <dgm:param type="parTxRTLAlign" val="r"/>
                          </dgm:alg>
                        </dgm:if>
                        <dgm:else name="Name144">
                          <dgm:alg type="tx">
                            <dgm:param type="txAnchorVert" val="t"/>
                            <dgm:param type="parTxLTRAlign" val="l"/>
                            <dgm:param type="parTxRTLAlign" val="l"/>
                          </dgm:alg>
                        </dgm:else>
                      </dgm:choose>
                    </dgm:if>
                    <dgm:else name="Name145">
                      <dgm:choose name="Name146">
                        <dgm:if name="Name147" axis="root des" ptType="all node" func="maxDepth" op="gt" val="1">
                          <dgm:alg type="tx">
                            <dgm:param type="txAnchorVert" val="b"/>
                            <dgm:param type="txAnchorVertCh" val="b"/>
                            <dgm:param type="parTxLTRAlign" val="l"/>
                            <dgm:param type="parTxRTLAlign" val="r"/>
                          </dgm:alg>
                        </dgm:if>
                        <dgm:else name="Name148">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49">
                    <dgm:if name="Name150" func="var" arg="dir" op="equ" val="norm">
                      <dgm:constrLst>
                        <dgm:constr type="rMarg"/>
                        <dgm:constr type="tMarg"/>
                        <dgm:constr type="bMarg"/>
                      </dgm:constrLst>
                    </dgm:if>
                    <dgm:else name="Name151">
                      <dgm:constrLst>
                        <dgm:constr type="lMarg"/>
                        <dgm:constr type="tMarg"/>
                        <dgm:constr type="bMarg"/>
                      </dgm:constrLst>
                    </dgm:else>
                  </dgm:choose>
                  <dgm:ruleLst>
                    <dgm:rule type="primFontSz" val="5" fact="NaN" max="NaN"/>
                  </dgm:ruleLst>
                </dgm:layoutNode>
              </dgm:forEach>
              <dgm:forEach name="Name152" axis="ch" ptType="node" st="2" cnt="1">
                <dgm:layoutNode name="bullet5b" styleLbl="node1">
                  <dgm:alg type="sp"/>
                  <dgm:shape xmlns:r="http://schemas.openxmlformats.org/officeDocument/2006/relationships" type="ellipse" r:blip="">
                    <dgm:adjLst/>
                  </dgm:shape>
                  <dgm:presOf/>
                  <dgm:constrLst/>
                  <dgm:ruleLst/>
                </dgm:layoutNode>
                <dgm:layoutNode name="textBox5b" styleLbl="revTx">
                  <dgm:varLst>
                    <dgm:bulletEnabled val="1"/>
                  </dgm:varLst>
                  <dgm:choose name="Name153">
                    <dgm:if name="Name154" func="var" arg="dir" op="equ" val="norm">
                      <dgm:choose name="Name155">
                        <dgm:if name="Name156" axis="root des" ptType="all node" func="maxDepth" op="gt" val="1">
                          <dgm:alg type="tx">
                            <dgm:param type="txAnchorVert" val="t"/>
                            <dgm:param type="parTxLTRAlign" val="l"/>
                            <dgm:param type="parTxRTLAlign" val="r"/>
                          </dgm:alg>
                        </dgm:if>
                        <dgm:else name="Name157">
                          <dgm:alg type="tx">
                            <dgm:param type="txAnchorVert" val="t"/>
                            <dgm:param type="parTxLTRAlign" val="l"/>
                            <dgm:param type="parTxRTLAlign" val="l"/>
                          </dgm:alg>
                        </dgm:else>
                      </dgm:choose>
                    </dgm:if>
                    <dgm:else name="Name158">
                      <dgm:choose name="Name159">
                        <dgm:if name="Name160" axis="root des" ptType="all node" func="maxDepth" op="gt" val="1">
                          <dgm:alg type="tx">
                            <dgm:param type="txAnchorVert" val="b"/>
                            <dgm:param type="txAnchorVertCh" val="b"/>
                            <dgm:param type="parTxLTRAlign" val="l"/>
                            <dgm:param type="parTxRTLAlign" val="r"/>
                          </dgm:alg>
                        </dgm:if>
                        <dgm:else name="Name161">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62">
                    <dgm:if name="Name163" func="var" arg="dir" op="equ" val="norm">
                      <dgm:constrLst>
                        <dgm:constr type="rMarg"/>
                        <dgm:constr type="tMarg"/>
                        <dgm:constr type="bMarg"/>
                      </dgm:constrLst>
                    </dgm:if>
                    <dgm:else name="Name164">
                      <dgm:constrLst>
                        <dgm:constr type="lMarg"/>
                        <dgm:constr type="tMarg"/>
                        <dgm:constr type="bMarg"/>
                      </dgm:constrLst>
                    </dgm:else>
                  </dgm:choose>
                  <dgm:ruleLst>
                    <dgm:rule type="primFontSz" val="5" fact="NaN" max="NaN"/>
                  </dgm:ruleLst>
                </dgm:layoutNode>
              </dgm:forEach>
              <dgm:forEach name="Name165" axis="ch" ptType="node" st="3" cnt="1">
                <dgm:layoutNode name="bullet5c" styleLbl="node1">
                  <dgm:alg type="sp"/>
                  <dgm:shape xmlns:r="http://schemas.openxmlformats.org/officeDocument/2006/relationships" type="ellipse" r:blip="">
                    <dgm:adjLst/>
                  </dgm:shape>
                  <dgm:presOf/>
                  <dgm:constrLst/>
                  <dgm:ruleLst/>
                </dgm:layoutNode>
                <dgm:layoutNode name="textBox5c" styleLbl="revTx">
                  <dgm:varLst>
                    <dgm:bulletEnabled val="1"/>
                  </dgm:varLst>
                  <dgm:choose name="Name166">
                    <dgm:if name="Name167" func="var" arg="dir" op="equ" val="norm">
                      <dgm:choose name="Name168">
                        <dgm:if name="Name169" axis="root des" ptType="all node" func="maxDepth" op="gt" val="1">
                          <dgm:alg type="tx">
                            <dgm:param type="txAnchorVert" val="t"/>
                            <dgm:param type="parTxLTRAlign" val="l"/>
                            <dgm:param type="parTxRTLAlign" val="r"/>
                          </dgm:alg>
                        </dgm:if>
                        <dgm:else name="Name170">
                          <dgm:alg type="tx">
                            <dgm:param type="txAnchorVert" val="t"/>
                            <dgm:param type="parTxLTRAlign" val="l"/>
                            <dgm:param type="parTxRTLAlign" val="l"/>
                          </dgm:alg>
                        </dgm:else>
                      </dgm:choose>
                    </dgm:if>
                    <dgm:else name="Name171">
                      <dgm:choose name="Name172">
                        <dgm:if name="Name173" axis="root des" ptType="all node" func="maxDepth" op="gt" val="1">
                          <dgm:alg type="tx">
                            <dgm:param type="txAnchorVert" val="b"/>
                            <dgm:param type="txAnchorVertCh" val="b"/>
                            <dgm:param type="parTxLTRAlign" val="l"/>
                            <dgm:param type="parTxRTLAlign" val="r"/>
                          </dgm:alg>
                        </dgm:if>
                        <dgm:else name="Name174">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75">
                    <dgm:if name="Name176" func="var" arg="dir" op="equ" val="norm">
                      <dgm:constrLst>
                        <dgm:constr type="rMarg"/>
                        <dgm:constr type="tMarg"/>
                        <dgm:constr type="bMarg"/>
                      </dgm:constrLst>
                    </dgm:if>
                    <dgm:else name="Name177">
                      <dgm:constrLst>
                        <dgm:constr type="lMarg"/>
                        <dgm:constr type="tMarg"/>
                        <dgm:constr type="bMarg"/>
                      </dgm:constrLst>
                    </dgm:else>
                  </dgm:choose>
                  <dgm:ruleLst>
                    <dgm:rule type="primFontSz" val="5" fact="NaN" max="NaN"/>
                  </dgm:ruleLst>
                </dgm:layoutNode>
              </dgm:forEach>
              <dgm:forEach name="Name178" axis="ch" ptType="node" st="4" cnt="1">
                <dgm:layoutNode name="bullet5d" styleLbl="node1">
                  <dgm:alg type="sp"/>
                  <dgm:shape xmlns:r="http://schemas.openxmlformats.org/officeDocument/2006/relationships" type="ellipse" r:blip="">
                    <dgm:adjLst/>
                  </dgm:shape>
                  <dgm:presOf/>
                  <dgm:constrLst/>
                  <dgm:ruleLst/>
                </dgm:layoutNode>
                <dgm:layoutNode name="textBox5d" styleLbl="revTx">
                  <dgm:varLst>
                    <dgm:bulletEnabled val="1"/>
                  </dgm:varLst>
                  <dgm:choose name="Name179">
                    <dgm:if name="Name180" func="var" arg="dir" op="equ" val="norm">
                      <dgm:choose name="Name181">
                        <dgm:if name="Name182" axis="root des" ptType="all node" func="maxDepth" op="gt" val="1">
                          <dgm:alg type="tx">
                            <dgm:param type="txAnchorVert" val="t"/>
                            <dgm:param type="parTxLTRAlign" val="l"/>
                            <dgm:param type="parTxRTLAlign" val="r"/>
                          </dgm:alg>
                        </dgm:if>
                        <dgm:else name="Name183">
                          <dgm:alg type="tx">
                            <dgm:param type="txAnchorVert" val="t"/>
                            <dgm:param type="parTxLTRAlign" val="l"/>
                            <dgm:param type="parTxRTLAlign" val="l"/>
                          </dgm:alg>
                        </dgm:else>
                      </dgm:choose>
                    </dgm:if>
                    <dgm:else name="Name184">
                      <dgm:choose name="Name185">
                        <dgm:if name="Name186" axis="root des" ptType="all node" func="maxDepth" op="gt" val="1">
                          <dgm:alg type="tx">
                            <dgm:param type="txAnchorVert" val="b"/>
                            <dgm:param type="txAnchorVertCh" val="b"/>
                            <dgm:param type="parTxLTRAlign" val="l"/>
                            <dgm:param type="parTxRTLAlign" val="r"/>
                          </dgm:alg>
                        </dgm:if>
                        <dgm:else name="Name187">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88">
                    <dgm:if name="Name189" func="var" arg="dir" op="equ" val="norm">
                      <dgm:constrLst>
                        <dgm:constr type="rMarg"/>
                        <dgm:constr type="tMarg"/>
                        <dgm:constr type="bMarg"/>
                      </dgm:constrLst>
                    </dgm:if>
                    <dgm:else name="Name190">
                      <dgm:constrLst>
                        <dgm:constr type="lMarg"/>
                        <dgm:constr type="tMarg"/>
                        <dgm:constr type="bMarg"/>
                      </dgm:constrLst>
                    </dgm:else>
                  </dgm:choose>
                  <dgm:ruleLst>
                    <dgm:rule type="primFontSz" val="5" fact="NaN" max="NaN"/>
                  </dgm:ruleLst>
                </dgm:layoutNode>
              </dgm:forEach>
              <dgm:forEach name="Name191" axis="ch" ptType="node" st="5" cnt="1">
                <dgm:layoutNode name="bullet5e" styleLbl="node1">
                  <dgm:alg type="sp"/>
                  <dgm:shape xmlns:r="http://schemas.openxmlformats.org/officeDocument/2006/relationships" type="ellipse" r:blip="">
                    <dgm:adjLst/>
                  </dgm:shape>
                  <dgm:presOf/>
                  <dgm:constrLst/>
                  <dgm:ruleLst/>
                </dgm:layoutNode>
                <dgm:layoutNode name="textBox5e" styleLbl="revTx">
                  <dgm:varLst>
                    <dgm:bulletEnabled val="1"/>
                  </dgm:varLst>
                  <dgm:choose name="Name192">
                    <dgm:if name="Name193" func="var" arg="dir" op="equ" val="norm">
                      <dgm:choose name="Name194">
                        <dgm:if name="Name195" axis="root des" ptType="all node" func="maxDepth" op="gt" val="1">
                          <dgm:alg type="tx">
                            <dgm:param type="txAnchorVert" val="t"/>
                            <dgm:param type="parTxLTRAlign" val="l"/>
                            <dgm:param type="parTxRTLAlign" val="r"/>
                          </dgm:alg>
                        </dgm:if>
                        <dgm:else name="Name196">
                          <dgm:alg type="tx">
                            <dgm:param type="txAnchorVert" val="t"/>
                            <dgm:param type="parTxLTRAlign" val="l"/>
                            <dgm:param type="parTxRTLAlign" val="l"/>
                          </dgm:alg>
                        </dgm:else>
                      </dgm:choose>
                    </dgm:if>
                    <dgm:else name="Name197">
                      <dgm:choose name="Name198">
                        <dgm:if name="Name199" axis="root des" ptType="all node" func="maxDepth" op="gt" val="1">
                          <dgm:alg type="tx">
                            <dgm:param type="txAnchorVert" val="b"/>
                            <dgm:param type="txAnchorVertCh" val="b"/>
                            <dgm:param type="parTxLTRAlign" val="l"/>
                            <dgm:param type="parTxRTLAlign" val="r"/>
                          </dgm:alg>
                        </dgm:if>
                        <dgm:else name="Name200">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201">
                    <dgm:if name="Name202" func="var" arg="dir" op="equ" val="norm">
                      <dgm:constrLst>
                        <dgm:constr type="rMarg"/>
                        <dgm:constr type="tMarg"/>
                        <dgm:constr type="bMarg"/>
                      </dgm:constrLst>
                    </dgm:if>
                    <dgm:else name="Name203">
                      <dgm:constrLst>
                        <dgm:constr type="lMarg"/>
                        <dgm:constr type="tMarg"/>
                        <dgm:constr type="bMarg"/>
                      </dgm:constrLst>
                    </dgm:else>
                  </dgm:choose>
                  <dgm:ruleLst>
                    <dgm:rule type="primFontSz" val="5" fact="NaN" max="NaN"/>
                  </dgm:ruleLst>
                </dgm:layoutNode>
              </dgm:forEach>
            </dgm:layoutNode>
          </dgm:else>
        </dgm:choose>
      </dgm:if>
      <dgm:else name="Name204"/>
    </dgm:choose>
  </dgm:layoutNode>
</dgm:layoutDef>
</file>

<file path=ppt/diagrams/layout3.xml><?xml version="1.0" encoding="utf-8"?>
<dgm:layoutDef xmlns:dgm="http://schemas.openxmlformats.org/drawingml/2006/diagram" xmlns:a="http://schemas.openxmlformats.org/drawingml/2006/main" uniqueId="urn:microsoft.com/office/officeart/2005/8/layout/process5">
  <dgm:title val=""/>
  <dgm:desc val=""/>
  <dgm:catLst>
    <dgm:cat type="process" pri="17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diagram">
    <dgm:varLst>
      <dgm:dir/>
      <dgm:resizeHandles val="exact"/>
    </dgm:varLst>
    <dgm:choose name="Name0">
      <dgm:if name="Name1" axis="self" func="var" arg="dir" op="equ" val="norm">
        <dgm:alg type="snake">
          <dgm:param type="grDir" val="tL"/>
          <dgm:param type="flowDir" val="row"/>
          <dgm:param type="contDir" val="revDir"/>
          <dgm:param type="bkpt" val="endCnv"/>
        </dgm:alg>
      </dgm:if>
      <dgm:else name="Name2">
        <dgm:alg type="snake">
          <dgm:param type="grDir" val="tR"/>
          <dgm:param type="flowDir" val="row"/>
          <dgm:param type="contDir" val="revDir"/>
          <dgm:param type="bkpt" val="endCnv"/>
        </dgm:alg>
      </dgm:else>
    </dgm:choose>
    <dgm:shape xmlns:r="http://schemas.openxmlformats.org/officeDocument/2006/relationships" r:blip="">
      <dgm:adjLst/>
    </dgm:shape>
    <dgm:presOf/>
    <dgm:constrLst>
      <dgm:constr type="w" for="ch" ptType="node" refType="w"/>
      <dgm:constr type="w" for="ch" forName="sibTrans" refType="w" refFor="ch" refPtType="node" op="equ" fact="0.4"/>
      <dgm:constr type="sp" refType="w" refFor="ch" refForName="sibTrans" op="equ"/>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Lst>
          <dgm:ruleLst/>
          <dgm:layoutNode name="connectorText">
            <dgm:alg type="tx">
              <dgm:param type="autoTxRot" val="upr"/>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process2">
  <dgm:title val=""/>
  <dgm:desc val=""/>
  <dgm:catLst>
    <dgm:cat type="process"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resizeHandles val="exact"/>
    </dgm:varLst>
    <dgm:alg type="lin">
      <dgm:param type="linDir" val="fromT"/>
    </dgm:alg>
    <dgm:shape xmlns:r="http://schemas.openxmlformats.org/officeDocument/2006/relationships" r:blip="">
      <dgm:adjLst/>
    </dgm:shape>
    <dgm:presOf/>
    <dgm:constrLst>
      <dgm:constr type="h" for="ch" ptType="node" refType="h"/>
      <dgm:constr type="h" for="ch" ptType="sibTrans" refType="h" refFor="ch" refPtType="node" fact="0.5"/>
      <dgm:constr type="w" for="ch" ptType="node" op="equ"/>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choose name="Name0">
          <dgm:if name="Name1" axis="root des" ptType="all node" func="maxDepth" op="gt" val="1">
            <dgm:alg type="tx">
              <dgm:param type="parTxLTRAlign" val="l"/>
              <dgm:param type="parTxRTLAlign" val="r"/>
              <dgm:param type="txAnchorVertCh" val="mid"/>
            </dgm:alg>
          </dgm:if>
          <dgm:else name="Name2">
            <dgm:alg type="tx"/>
          </dgm:else>
        </dgm:choose>
        <dgm:shape xmlns:r="http://schemas.openxmlformats.org/officeDocument/2006/relationships" type="roundRect" r:blip="">
          <dgm:adjLst>
            <dgm:adj idx="1" val="0.1"/>
          </dgm:adjLst>
        </dgm:shape>
        <dgm:presOf axis="desOrSelf" ptType="node"/>
        <dgm:constrLst>
          <dgm:constr type="w" refType="h" fact="1.8"/>
          <dgm:constr type="tMarg" refType="primFontSz" fact="0.3"/>
          <dgm:constr type="bMarg" refType="primFontSz" fact="0.3"/>
          <dgm:constr type="lMarg" refType="primFontSz" fact="0.3"/>
          <dgm:constr type="rMarg" refType="primFontSz" fact="0.3"/>
        </dgm:constrLst>
        <dgm:ruleLst>
          <dgm:rule type="primFontSz" val="18" fact="NaN" max="NaN"/>
          <dgm:rule type="w" val="NaN" fact="4" max="NaN"/>
          <dgm:rule type="primFontSz" val="5"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w" refType="h" fact="0.9"/>
            <dgm:constr type="connDist"/>
            <dgm:constr type="wArH" refType="w" fact="0.5"/>
            <dgm:constr type="hArH" refType="w"/>
            <dgm:constr type="stemThick" refType="w" fact="0.6"/>
            <dgm:constr type="begPad" refType="connDist" fact="0.125"/>
            <dgm:constr type="endPad" refType="connDist" fact="0.125"/>
          </dgm:constrLst>
          <dgm:ruleLst/>
          <dgm:layoutNode name="connectorText">
            <dgm:alg type="tx">
              <dgm:param type="autoTxRot" val="upr"/>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process2">
  <dgm:title val=""/>
  <dgm:desc val=""/>
  <dgm:catLst>
    <dgm:cat type="process"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resizeHandles val="exact"/>
    </dgm:varLst>
    <dgm:alg type="lin">
      <dgm:param type="linDir" val="fromT"/>
    </dgm:alg>
    <dgm:shape xmlns:r="http://schemas.openxmlformats.org/officeDocument/2006/relationships" r:blip="">
      <dgm:adjLst/>
    </dgm:shape>
    <dgm:presOf/>
    <dgm:constrLst>
      <dgm:constr type="h" for="ch" ptType="node" refType="h"/>
      <dgm:constr type="h" for="ch" ptType="sibTrans" refType="h" refFor="ch" refPtType="node" fact="0.5"/>
      <dgm:constr type="w" for="ch" ptType="node" op="equ"/>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choose name="Name0">
          <dgm:if name="Name1" axis="root des" ptType="all node" func="maxDepth" op="gt" val="1">
            <dgm:alg type="tx">
              <dgm:param type="parTxLTRAlign" val="l"/>
              <dgm:param type="parTxRTLAlign" val="r"/>
              <dgm:param type="txAnchorVertCh" val="mid"/>
            </dgm:alg>
          </dgm:if>
          <dgm:else name="Name2">
            <dgm:alg type="tx"/>
          </dgm:else>
        </dgm:choose>
        <dgm:shape xmlns:r="http://schemas.openxmlformats.org/officeDocument/2006/relationships" type="roundRect" r:blip="">
          <dgm:adjLst>
            <dgm:adj idx="1" val="0.1"/>
          </dgm:adjLst>
        </dgm:shape>
        <dgm:presOf axis="desOrSelf" ptType="node"/>
        <dgm:constrLst>
          <dgm:constr type="w" refType="h" fact="1.8"/>
          <dgm:constr type="tMarg" refType="primFontSz" fact="0.3"/>
          <dgm:constr type="bMarg" refType="primFontSz" fact="0.3"/>
          <dgm:constr type="lMarg" refType="primFontSz" fact="0.3"/>
          <dgm:constr type="rMarg" refType="primFontSz" fact="0.3"/>
        </dgm:constrLst>
        <dgm:ruleLst>
          <dgm:rule type="primFontSz" val="18" fact="NaN" max="NaN"/>
          <dgm:rule type="w" val="NaN" fact="4" max="NaN"/>
          <dgm:rule type="primFontSz" val="5"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w" refType="h" fact="0.9"/>
            <dgm:constr type="connDist"/>
            <dgm:constr type="wArH" refType="w" fact="0.5"/>
            <dgm:constr type="hArH" refType="w"/>
            <dgm:constr type="stemThick" refType="w" fact="0.6"/>
            <dgm:constr type="begPad" refType="connDist" fact="0.125"/>
            <dgm:constr type="endPad" refType="connDist" fact="0.125"/>
          </dgm:constrLst>
          <dgm:ruleLst/>
          <dgm:layoutNode name="connectorText">
            <dgm:alg type="tx">
              <dgm:param type="autoTxRot" val="upr"/>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process2">
  <dgm:title val=""/>
  <dgm:desc val=""/>
  <dgm:catLst>
    <dgm:cat type="process"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resizeHandles val="exact"/>
    </dgm:varLst>
    <dgm:alg type="lin">
      <dgm:param type="linDir" val="fromT"/>
    </dgm:alg>
    <dgm:shape xmlns:r="http://schemas.openxmlformats.org/officeDocument/2006/relationships" r:blip="">
      <dgm:adjLst/>
    </dgm:shape>
    <dgm:presOf/>
    <dgm:constrLst>
      <dgm:constr type="h" for="ch" ptType="node" refType="h"/>
      <dgm:constr type="h" for="ch" ptType="sibTrans" refType="h" refFor="ch" refPtType="node" fact="0.5"/>
      <dgm:constr type="w" for="ch" ptType="node" op="equ"/>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choose name="Name0">
          <dgm:if name="Name1" axis="root des" ptType="all node" func="maxDepth" op="gt" val="1">
            <dgm:alg type="tx">
              <dgm:param type="parTxLTRAlign" val="l"/>
              <dgm:param type="parTxRTLAlign" val="r"/>
              <dgm:param type="txAnchorVertCh" val="mid"/>
            </dgm:alg>
          </dgm:if>
          <dgm:else name="Name2">
            <dgm:alg type="tx"/>
          </dgm:else>
        </dgm:choose>
        <dgm:shape xmlns:r="http://schemas.openxmlformats.org/officeDocument/2006/relationships" type="roundRect" r:blip="">
          <dgm:adjLst>
            <dgm:adj idx="1" val="0.1"/>
          </dgm:adjLst>
        </dgm:shape>
        <dgm:presOf axis="desOrSelf" ptType="node"/>
        <dgm:constrLst>
          <dgm:constr type="w" refType="h" fact="1.8"/>
          <dgm:constr type="tMarg" refType="primFontSz" fact="0.3"/>
          <dgm:constr type="bMarg" refType="primFontSz" fact="0.3"/>
          <dgm:constr type="lMarg" refType="primFontSz" fact="0.3"/>
          <dgm:constr type="rMarg" refType="primFontSz" fact="0.3"/>
        </dgm:constrLst>
        <dgm:ruleLst>
          <dgm:rule type="primFontSz" val="18" fact="NaN" max="NaN"/>
          <dgm:rule type="w" val="NaN" fact="4" max="NaN"/>
          <dgm:rule type="primFontSz" val="5"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w" refType="h" fact="0.9"/>
            <dgm:constr type="connDist"/>
            <dgm:constr type="wArH" refType="w" fact="0.5"/>
            <dgm:constr type="hArH" refType="w"/>
            <dgm:constr type="stemThick" refType="w" fact="0.6"/>
            <dgm:constr type="begPad" refType="connDist" fact="0.125"/>
            <dgm:constr type="endPad" refType="connDist" fact="0.125"/>
          </dgm:constrLst>
          <dgm:ruleLst/>
          <dgm:layoutNode name="connectorText">
            <dgm:alg type="tx">
              <dgm:param type="autoTxRot" val="upr"/>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5/8/layout/process2">
  <dgm:title val=""/>
  <dgm:desc val=""/>
  <dgm:catLst>
    <dgm:cat type="process"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resizeHandles val="exact"/>
    </dgm:varLst>
    <dgm:alg type="lin">
      <dgm:param type="linDir" val="fromT"/>
    </dgm:alg>
    <dgm:shape xmlns:r="http://schemas.openxmlformats.org/officeDocument/2006/relationships" r:blip="">
      <dgm:adjLst/>
    </dgm:shape>
    <dgm:presOf/>
    <dgm:constrLst>
      <dgm:constr type="h" for="ch" ptType="node" refType="h"/>
      <dgm:constr type="h" for="ch" ptType="sibTrans" refType="h" refFor="ch" refPtType="node" fact="0.5"/>
      <dgm:constr type="w" for="ch" ptType="node" op="equ"/>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choose name="Name0">
          <dgm:if name="Name1" axis="root des" ptType="all node" func="maxDepth" op="gt" val="1">
            <dgm:alg type="tx">
              <dgm:param type="parTxLTRAlign" val="l"/>
              <dgm:param type="parTxRTLAlign" val="r"/>
              <dgm:param type="txAnchorVertCh" val="mid"/>
            </dgm:alg>
          </dgm:if>
          <dgm:else name="Name2">
            <dgm:alg type="tx"/>
          </dgm:else>
        </dgm:choose>
        <dgm:shape xmlns:r="http://schemas.openxmlformats.org/officeDocument/2006/relationships" type="roundRect" r:blip="">
          <dgm:adjLst>
            <dgm:adj idx="1" val="0.1"/>
          </dgm:adjLst>
        </dgm:shape>
        <dgm:presOf axis="desOrSelf" ptType="node"/>
        <dgm:constrLst>
          <dgm:constr type="w" refType="h" fact="1.8"/>
          <dgm:constr type="tMarg" refType="primFontSz" fact="0.3"/>
          <dgm:constr type="bMarg" refType="primFontSz" fact="0.3"/>
          <dgm:constr type="lMarg" refType="primFontSz" fact="0.3"/>
          <dgm:constr type="rMarg" refType="primFontSz" fact="0.3"/>
        </dgm:constrLst>
        <dgm:ruleLst>
          <dgm:rule type="primFontSz" val="18" fact="NaN" max="NaN"/>
          <dgm:rule type="w" val="NaN" fact="4" max="NaN"/>
          <dgm:rule type="primFontSz" val="5"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w" refType="h" fact="0.9"/>
            <dgm:constr type="connDist"/>
            <dgm:constr type="wArH" refType="w" fact="0.5"/>
            <dgm:constr type="hArH" refType="w"/>
            <dgm:constr type="stemThick" refType="w" fact="0.6"/>
            <dgm:constr type="begPad" refType="connDist" fact="0.125"/>
            <dgm:constr type="endPad" refType="connDist" fact="0.125"/>
          </dgm:constrLst>
          <dgm:ruleLst/>
          <dgm:layoutNode name="connectorText">
            <dgm:alg type="tx">
              <dgm:param type="autoTxRot" val="upr"/>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8.xml><?xml version="1.0" encoding="utf-8"?>
<dgm:layoutDef xmlns:dgm="http://schemas.openxmlformats.org/drawingml/2006/diagram" xmlns:a="http://schemas.openxmlformats.org/drawingml/2006/main" uniqueId="urn:microsoft.com/office/officeart/2005/8/layout/venn1">
  <dgm:title val=""/>
  <dgm:desc val=""/>
  <dgm:catLst>
    <dgm:cat type="relationship" pri="28000"/>
    <dgm:cat type="convert" pri="19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Lst>
      <dgm:cxnLst>
        <dgm:cxn modelId="7" srcId="0" destId="1" srcOrd="0" destOrd="0"/>
        <dgm:cxn modelId="8" srcId="0" destId="2" srcOrd="1" destOrd="0"/>
        <dgm:cxn modelId="9" srcId="0" destId="3" srcOrd="2" destOrd="0"/>
        <dgm:cxn modelId="10" srcId="0" destId="4" srcOrd="3" destOrd="0"/>
      </dgm:cxnLst>
      <dgm:bg/>
      <dgm:whole/>
    </dgm:dataModel>
  </dgm:clrData>
  <dgm:layoutNode name="compositeShape">
    <dgm:varLst>
      <dgm:chMax val="7"/>
      <dgm:dir/>
      <dgm:resizeHandles val="exact"/>
    </dgm:varLst>
    <dgm:choose name="Name0">
      <dgm:if name="Name1" axis="ch" ptType="node" func="cnt" op="equ" val="1">
        <dgm:alg type="composite">
          <dgm:param type="ar" val="1"/>
        </dgm:alg>
      </dgm:if>
      <dgm:if name="Name2" axis="ch" ptType="node" func="cnt" op="equ" val="2">
        <dgm:alg type="composite">
          <dgm:param type="ar" val="1.792"/>
        </dgm:alg>
      </dgm:if>
      <dgm:if name="Name3" axis="ch" ptType="node" func="cnt" op="equ" val="3">
        <dgm:alg type="composite">
          <dgm:param type="ar" val="1"/>
        </dgm:alg>
      </dgm:if>
      <dgm:if name="Name4" axis="ch" ptType="node" func="cnt" op="equ" val="4">
        <dgm:alg type="composite">
          <dgm:param type="ar" val="1"/>
        </dgm:alg>
      </dgm:if>
      <dgm:if name="Name5" axis="ch" ptType="node" func="cnt" op="equ" val="5">
        <dgm:alg type="composite">
          <dgm:param type="ar" val="1.4"/>
        </dgm:alg>
      </dgm:if>
      <dgm:if name="Name6" axis="ch" ptType="node" func="cnt" op="equ" val="6">
        <dgm:alg type="composite">
          <dgm:param type="ar" val="1.285"/>
        </dgm:alg>
      </dgm:if>
      <dgm:if name="Name7" axis="ch" ptType="node" func="cnt" op="equ" val="7">
        <dgm:alg type="composite">
          <dgm:param type="ar" val="1.359"/>
        </dgm:alg>
      </dgm:if>
      <dgm:else name="Name8">
        <dgm:alg type="composite">
          <dgm:param type="ar" val="1.359"/>
        </dgm:alg>
      </dgm:else>
    </dgm:choose>
    <dgm:shape xmlns:r="http://schemas.openxmlformats.org/officeDocument/2006/relationships" r:blip="">
      <dgm:adjLst/>
    </dgm:shape>
    <dgm:presOf/>
    <dgm:choose name="Name9">
      <dgm:if name="Name10" axis="ch" ptType="node" func="cnt" op="equ" val="1">
        <dgm:constrLst>
          <dgm:constr type="ctrX" for="ch" forName="circ1TxSh" refType="w" fact="0.5"/>
          <dgm:constr type="ctrY" for="ch" forName="circ1TxSh" refType="h" fact="0.5"/>
          <dgm:constr type="w" for="ch" forName="circ1TxSh" refType="w"/>
          <dgm:constr type="h" for="ch" forName="circ1TxSh" refType="h"/>
          <dgm:constr type="primFontSz" for="ch" ptType="node" op="equ"/>
        </dgm:constrLst>
      </dgm:if>
      <dgm:if name="Name11" axis="ch" ptType="node" func="cnt" op="equ" val="2">
        <dgm:constrLst>
          <dgm:constr type="ctrX" for="ch" forName="circ1" refType="w" fact="0.3"/>
          <dgm:constr type="ctrY" for="ch" forName="circ1" refType="h" fact="0.5"/>
          <dgm:constr type="w" for="ch" forName="circ1" refType="w" fact="0.555"/>
          <dgm:constr type="h" for="ch" forName="circ1" refType="h" fact="0.99456"/>
          <dgm:constr type="l" for="ch" forName="circ1Tx" refType="w" fact="0.1"/>
          <dgm:constr type="t" for="ch" forName="circ1Tx" refType="h" fact="0.12"/>
          <dgm:constr type="w" for="ch" forName="circ1Tx" refType="w" fact="0.32"/>
          <dgm:constr type="h" for="ch" forName="circ1Tx" refType="h" fact="0.76"/>
          <dgm:constr type="ctrX" for="ch" forName="circ2" refType="w" fact="0.7"/>
          <dgm:constr type="ctrY" for="ch" forName="circ2" refType="h" fact="0.5"/>
          <dgm:constr type="w" for="ch" forName="circ2" refType="w" fact="0.555"/>
          <dgm:constr type="h" for="ch" forName="circ2" refType="h" fact="0.99456"/>
          <dgm:constr type="l" for="ch" forName="circ2Tx" refType="w" fact="0.58"/>
          <dgm:constr type="t" for="ch" forName="circ2Tx" refType="h" fact="0.12"/>
          <dgm:constr type="w" for="ch" forName="circ2Tx" refType="w" fact="0.32"/>
          <dgm:constr type="h" for="ch" forName="circ2Tx" refType="h" fact="0.76"/>
          <dgm:constr type="primFontSz" for="ch" ptType="node" op="equ"/>
        </dgm:constrLst>
      </dgm:if>
      <dgm:if name="Name12" axis="ch" ptType="node" func="cnt" op="equ" val="3">
        <dgm:constrLst>
          <dgm:constr type="ctrX" for="ch" forName="circ1" refType="w" fact="0.5"/>
          <dgm:constr type="ctrY" for="ch" forName="circ1" refType="w" fact="0.25"/>
          <dgm:constr type="w" for="ch" forName="circ1" refType="w" fact="0.6"/>
          <dgm:constr type="h" for="ch" forName="circ1" refType="h" fact="0.6"/>
          <dgm:constr type="l" for="ch" forName="circ1Tx" refType="w" fact="0.28"/>
          <dgm:constr type="t" for="ch" forName="circ1Tx" refType="h" fact="0.055"/>
          <dgm:constr type="w" for="ch" forName="circ1Tx" refType="w" fact="0.44"/>
          <dgm:constr type="h" for="ch" forName="circ1Tx" refType="h" fact="0.27"/>
          <dgm:constr type="ctrX" for="ch" forName="circ2" refType="w" fact="0.7165"/>
          <dgm:constr type="ctrY" for="ch" forName="circ2" refType="w" fact="0.625"/>
          <dgm:constr type="w" for="ch" forName="circ2" refType="w" fact="0.6"/>
          <dgm:constr type="h" for="ch" forName="circ2" refType="h" fact="0.6"/>
          <dgm:constr type="l" for="ch" forName="circ2Tx" refType="w" fact="0.6"/>
          <dgm:constr type="t" for="ch" forName="circ2Tx" refType="h" fact="0.48"/>
          <dgm:constr type="w" for="ch" forName="circ2Tx" refType="w" fact="0.36"/>
          <dgm:constr type="h" for="ch" forName="circ2Tx" refType="h" fact="0.33"/>
          <dgm:constr type="ctrX" for="ch" forName="circ3" refType="w" fact="0.2835"/>
          <dgm:constr type="ctrY" for="ch" forName="circ3" refType="w" fact="0.625"/>
          <dgm:constr type="w" for="ch" forName="circ3" refType="w" fact="0.6"/>
          <dgm:constr type="h" for="ch" forName="circ3" refType="h" fact="0.6"/>
          <dgm:constr type="l" for="ch" forName="circ3Tx" refType="w" fact="0.04"/>
          <dgm:constr type="t" for="ch" forName="circ3Tx" refType="h" fact="0.48"/>
          <dgm:constr type="w" for="ch" forName="circ3Tx" refType="w" fact="0.36"/>
          <dgm:constr type="h" for="ch" forName="circ3Tx" refType="h" fact="0.33"/>
          <dgm:constr type="primFontSz" for="ch" ptType="node" op="equ"/>
        </dgm:constrLst>
      </dgm:if>
      <dgm:if name="Name13" axis="ch" ptType="node" func="cnt" op="equ" val="4">
        <dgm:constrLst>
          <dgm:constr type="ctrX" for="ch" forName="circ1" refType="w" fact="0.5"/>
          <dgm:constr type="ctrY" for="ch" forName="circ1" refType="w" fact="0.27"/>
          <dgm:constr type="w" for="ch" forName="circ1" refType="w" fact="0.52"/>
          <dgm:constr type="h" for="ch" forName="circ1" refType="h" fact="0.52"/>
          <dgm:constr type="l" for="ch" forName="circ1Tx" refType="w" fact="0.3"/>
          <dgm:constr type="t" for="ch" forName="circ1Tx" refType="h" fact="0.08"/>
          <dgm:constr type="w" for="ch" forName="circ1Tx" refType="w" fact="0.4"/>
          <dgm:constr type="h" for="ch" forName="circ1Tx" refType="h" fact="0.165"/>
          <dgm:constr type="ctrX" for="ch" forName="circ2" refType="w" fact="0.73"/>
          <dgm:constr type="ctrY" for="ch" forName="circ2" refType="w" fact="0.5"/>
          <dgm:constr type="w" for="ch" forName="circ2" refType="w" fact="0.52"/>
          <dgm:constr type="h" for="ch" forName="circ2" refType="h" fact="0.52"/>
          <dgm:constr type="r" for="ch" forName="circ2Tx" refType="w" fact="0.95"/>
          <dgm:constr type="t" for="ch" forName="circ2Tx" refType="h" fact="0.3"/>
          <dgm:constr type="w" for="ch" forName="circ2Tx" refType="w" fact="0.2"/>
          <dgm:constr type="h" for="ch" forName="circ2Tx" refType="h" fact="0.4"/>
          <dgm:constr type="ctrX" for="ch" forName="circ3" refType="w" fact="0.5"/>
          <dgm:constr type="ctrY" for="ch" forName="circ3" refType="w" fact="0.73"/>
          <dgm:constr type="w" for="ch" forName="circ3" refType="w" fact="0.52"/>
          <dgm:constr type="h" for="ch" forName="circ3" refType="h" fact="0.52"/>
          <dgm:constr type="l" for="ch" forName="circ3Tx" refType="w" fact="0.3"/>
          <dgm:constr type="b" for="ch" forName="circ3Tx" refType="h" fact="0.92"/>
          <dgm:constr type="w" for="ch" forName="circ3Tx" refType="w" fact="0.4"/>
          <dgm:constr type="h" for="ch" forName="circ3Tx" refType="h" fact="0.165"/>
          <dgm:constr type="ctrX" for="ch" forName="circ4" refType="w" fact="0.27"/>
          <dgm:constr type="ctrY" for="ch" forName="circ4" refType="h" fact="0.5"/>
          <dgm:constr type="w" for="ch" forName="circ4" refType="w" fact="0.52"/>
          <dgm:constr type="h" for="ch" forName="circ4" refType="h" fact="0.52"/>
          <dgm:constr type="l" for="ch" forName="circ4Tx" refType="w" fact="0.05"/>
          <dgm:constr type="t" for="ch" forName="circ4Tx" refType="h" fact="0.3"/>
          <dgm:constr type="w" for="ch" forName="circ4Tx" refType="w" fact="0.2"/>
          <dgm:constr type="h" for="ch" forName="circ4Tx" refType="h" fact="0.4"/>
          <dgm:constr type="primFontSz" for="ch" ptType="node" op="equ"/>
        </dgm:constrLst>
      </dgm:if>
      <dgm:if name="Name14" axis="ch" ptType="node" func="cnt" op="equ" val="5">
        <dgm:constrLst>
          <dgm:constr type="ctrX" for="ch" forName="circ1" refType="w" fact="0.5"/>
          <dgm:constr type="ctrY" for="ch" forName="circ1" refType="h" fact="0.46"/>
          <dgm:constr type="w" for="ch" forName="circ1" refType="w" fact="0.25"/>
          <dgm:constr type="h" for="ch" forName="circ1" refType="h" fact="0.35"/>
          <dgm:constr type="l" for="ch" forName="circ1Tx" refType="w" fact="0.355"/>
          <dgm:constr type="t" for="ch" forName="circ1Tx"/>
          <dgm:constr type="w" for="ch" forName="circ1Tx" refType="w" fact="0.29"/>
          <dgm:constr type="h" for="ch" forName="circ1Tx" refType="h" fact="0.235"/>
          <dgm:constr type="ctrX" for="ch" forName="circ2" refType="w" fact="0.5951"/>
          <dgm:constr type="ctrY" for="ch" forName="circ2" refType="h" fact="0.5567"/>
          <dgm:constr type="w" for="ch" forName="circ2" refType="w" fact="0.25"/>
          <dgm:constr type="h" for="ch" forName="circ2" refType="h" fact="0.35"/>
          <dgm:constr type="l" for="ch" forName="circ2Tx" refType="w" fact="0.74"/>
          <dgm:constr type="t" for="ch" forName="circ2Tx" refType="h" fact="0.31"/>
          <dgm:constr type="w" for="ch" forName="circ2Tx" refType="w" fact="0.26"/>
          <dgm:constr type="h" for="ch" forName="circ2Tx" refType="h" fact="0.255"/>
          <dgm:constr type="ctrX" for="ch" forName="circ3" refType="w" fact="0.5588"/>
          <dgm:constr type="ctrY" for="ch" forName="circ3" refType="h" fact="0.7133"/>
          <dgm:constr type="w" for="ch" forName="circ3" refType="w" fact="0.25"/>
          <dgm:constr type="h" for="ch" forName="circ3" refType="h" fact="0.35"/>
          <dgm:constr type="l" for="ch" forName="circ3Tx" refType="w" fact="0.7"/>
          <dgm:constr type="t" for="ch" forName="circ3Tx" refType="h" fact="0.745"/>
          <dgm:constr type="w" for="ch" forName="circ3Tx" refType="w" fact="0.26"/>
          <dgm:constr type="h" for="ch" forName="circ3Tx" refType="h" fact="0.255"/>
          <dgm:constr type="ctrX" for="ch" forName="circ4" refType="w" fact="0.4412"/>
          <dgm:constr type="ctrY" for="ch" forName="circ4" refType="h" fact="0.7133"/>
          <dgm:constr type="w" for="ch" forName="circ4" refType="w" fact="0.25"/>
          <dgm:constr type="h" for="ch" forName="circ4" refType="h" fact="0.35"/>
          <dgm:constr type="l" for="ch" forName="circ4Tx" refType="w" fact="0.04"/>
          <dgm:constr type="t" for="ch" forName="circ4Tx" refType="h" fact="0.745"/>
          <dgm:constr type="w" for="ch" forName="circ4Tx" refType="w" fact="0.26"/>
          <dgm:constr type="h" for="ch" forName="circ4Tx" refType="h" fact="0.255"/>
          <dgm:constr type="ctrX" for="ch" forName="circ5" refType="w" fact="0.4049"/>
          <dgm:constr type="ctrY" for="ch" forName="circ5" refType="h" fact="0.5567"/>
          <dgm:constr type="w" for="ch" forName="circ5" refType="w" fact="0.25"/>
          <dgm:constr type="h" for="ch" forName="circ5" refType="h" fact="0.35"/>
          <dgm:constr type="l" for="ch" forName="circ5Tx"/>
          <dgm:constr type="t" for="ch" forName="circ5Tx" refType="h" fact="0.31"/>
          <dgm:constr type="w" for="ch" forName="circ5Tx" refType="w" fact="0.26"/>
          <dgm:constr type="h" for="ch" forName="circ5Tx" refType="h" fact="0.255"/>
          <dgm:constr type="primFontSz" for="ch" ptType="node" op="equ"/>
        </dgm:constrLst>
      </dgm:if>
      <dgm:if name="Name15" axis="ch" ptType="node" func="cnt" op="equ" val="6">
        <dgm:constrLst>
          <dgm:constr type="ctrX" for="ch" forName="circ1" refType="w" fact="0.5"/>
          <dgm:constr type="ctrY" for="ch" forName="circ1" refType="h" fact="0.3844"/>
          <dgm:constr type="w" for="ch" forName="circ1" refType="w" fact="0.24"/>
          <dgm:constr type="h" for="ch" forName="circ1" refType="h" fact="0.3084"/>
          <dgm:constr type="l" for="ch" forName="circ1Tx" refType="w" fact="0.35"/>
          <dgm:constr type="t" for="ch" forName="circ1Tx"/>
          <dgm:constr type="w" for="ch" forName="circ1Tx" refType="w" fact="0.3"/>
          <dgm:constr type="h" for="ch" forName="circ1Tx" refType="h" fact="0.21"/>
          <dgm:constr type="ctrX" for="ch" forName="circ2" refType="w" fact="0.5779"/>
          <dgm:constr type="ctrY" for="ch" forName="circ2" refType="h" fact="0.4422"/>
          <dgm:constr type="w" for="ch" forName="circ2" refType="w" fact="0.24"/>
          <dgm:constr type="h" for="ch" forName="circ2" refType="h" fact="0.3084"/>
          <dgm:constr type="l" for="ch" forName="circ2Tx" refType="w" fact="0.7157"/>
          <dgm:constr type="t" for="ch" forName="circ2Tx" refType="h" fact="0.2"/>
          <dgm:constr type="w" for="ch" forName="circ2Tx" refType="w" fact="0.2843"/>
          <dgm:constr type="h" for="ch" forName="circ2Tx" refType="h" fact="0.23"/>
          <dgm:constr type="ctrX" for="ch" forName="circ3" refType="w" fact="0.5779"/>
          <dgm:constr type="ctrY" for="ch" forName="circ3" refType="h" fact="0.5578"/>
          <dgm:constr type="w" for="ch" forName="circ3" refType="w" fact="0.24"/>
          <dgm:constr type="h" for="ch" forName="circ3" refType="h" fact="0.3084"/>
          <dgm:constr type="l" for="ch" forName="circ3Tx" refType="w" fact="0.7157"/>
          <dgm:constr type="t" for="ch" forName="circ3Tx" refType="h" fact="0.543"/>
          <dgm:constr type="w" for="ch" forName="circ3Tx" refType="w" fact="0.2843"/>
          <dgm:constr type="h" for="ch" forName="circ3Tx" refType="h" fact="0.257"/>
          <dgm:constr type="ctrX" for="ch" forName="circ4" refType="w" fact="0.5"/>
          <dgm:constr type="ctrY" for="ch" forName="circ4" refType="h" fact="0.6157"/>
          <dgm:constr type="w" for="ch" forName="circ4" refType="w" fact="0.24"/>
          <dgm:constr type="h" for="ch" forName="circ4" refType="h" fact="0.3084"/>
          <dgm:constr type="l" for="ch" forName="circ4Tx" refType="w" fact="0.35"/>
          <dgm:constr type="t" for="ch" forName="circ4Tx" refType="h" fact="0.79"/>
          <dgm:constr type="w" for="ch" forName="circ4Tx" refType="w" fact="0.3"/>
          <dgm:constr type="h" for="ch" forName="circ4Tx" refType="h" fact="0.21"/>
          <dgm:constr type="ctrX" for="ch" forName="circ5" refType="w" fact="0.4221"/>
          <dgm:constr type="ctrY" for="ch" forName="circ5" refType="h" fact="0.5578"/>
          <dgm:constr type="w" for="ch" forName="circ5" refType="w" fact="0.24"/>
          <dgm:constr type="h" for="ch" forName="circ5" refType="h" fact="0.3084"/>
          <dgm:constr type="l" for="ch" forName="circ5Tx" refType="w" fact="0"/>
          <dgm:constr type="t" for="ch" forName="circ5Tx" refType="h" fact="0.543"/>
          <dgm:constr type="w" for="ch" forName="circ5Tx" refType="w" fact="0.2843"/>
          <dgm:constr type="h" for="ch" forName="circ5Tx" refType="h" fact="0.257"/>
          <dgm:constr type="ctrX" for="ch" forName="circ6" refType="w" fact="0.4221"/>
          <dgm:constr type="ctrY" for="ch" forName="circ6" refType="h" fact="0.4422"/>
          <dgm:constr type="w" for="ch" forName="circ6" refType="w" fact="0.24"/>
          <dgm:constr type="h" for="ch" forName="circ6" refType="h" fact="0.3084"/>
          <dgm:constr type="l" for="ch" forName="circ6Tx" refType="w" fact="0"/>
          <dgm:constr type="t" for="ch" forName="circ6Tx" refType="h" fact="0.2"/>
          <dgm:constr type="w" for="ch" forName="circ6Tx" refType="w" fact="0.2843"/>
          <dgm:constr type="h" for="ch" forName="circ6Tx" refType="h" fact="0.257"/>
          <dgm:constr type="primFontSz" for="ch" ptType="node" op="equ"/>
        </dgm:constrLst>
      </dgm:if>
      <dgm:else name="Name16">
        <dgm:constrLst>
          <dgm:constr type="ctrX" for="ch" forName="circ1" refType="w" fact="0.5"/>
          <dgm:constr type="ctrY" for="ch" forName="circ1" refType="h" fact="0.4177"/>
          <dgm:constr type="w" for="ch" forName="circ1" refType="w" fact="0.24"/>
          <dgm:constr type="h" for="ch" forName="circ1" refType="h" fact="0.3262"/>
          <dgm:constr type="l" for="ch" forName="circ1Tx" refType="w" fact="0.3625"/>
          <dgm:constr type="t" for="ch" forName="circ1Tx"/>
          <dgm:constr type="w" for="ch" forName="circ1Tx" refType="w" fact="0.275"/>
          <dgm:constr type="h" for="ch" forName="circ1Tx" refType="h" fact="0.2"/>
          <dgm:constr type="ctrX" for="ch" forName="circ2" refType="w" fact="0.5704"/>
          <dgm:constr type="ctrY" for="ch" forName="circ2" refType="h" fact="0.4637"/>
          <dgm:constr type="w" for="ch" forName="circ2" refType="w" fact="0.24"/>
          <dgm:constr type="h" for="ch" forName="circ2" refType="h" fact="0.3262"/>
          <dgm:constr type="l" for="ch" forName="circ2Tx" refType="w" fact="0.72"/>
          <dgm:constr type="t" for="ch" forName="circ2Tx" refType="h" fact="0.19"/>
          <dgm:constr type="w" for="ch" forName="circ2Tx" refType="w" fact="0.26"/>
          <dgm:constr type="h" for="ch" forName="circ2Tx" refType="h" fact="0.22"/>
          <dgm:constr type="ctrX" for="ch" forName="circ3" refType="w" fact="0.5877"/>
          <dgm:constr type="ctrY" for="ch" forName="circ3" refType="h" fact="0.5672"/>
          <dgm:constr type="w" for="ch" forName="circ3" refType="w" fact="0.24"/>
          <dgm:constr type="h" for="ch" forName="circ3" refType="h" fact="0.3262"/>
          <dgm:constr type="l" for="ch" forName="circ3Tx" refType="w" fact="0.745"/>
          <dgm:constr type="t" for="ch" forName="circ3Tx" refType="h" fact="0.47"/>
          <dgm:constr type="w" for="ch" forName="circ3Tx" refType="w" fact="0.255"/>
          <dgm:constr type="h" for="ch" forName="circ3Tx" refType="h" fact="0.235"/>
          <dgm:constr type="ctrX" for="ch" forName="circ4" refType="w" fact="0.539"/>
          <dgm:constr type="ctrY" for="ch" forName="circ4" refType="h" fact="0.6502"/>
          <dgm:constr type="w" for="ch" forName="circ4" refType="w" fact="0.24"/>
          <dgm:constr type="h" for="ch" forName="circ4" refType="h" fact="0.3262"/>
          <dgm:constr type="l" for="ch" forName="circ4Tx" refType="w" fact="0.635"/>
          <dgm:constr type="t" for="ch" forName="circ4Tx" refType="h" fact="0.785"/>
          <dgm:constr type="w" for="ch" forName="circ4Tx" refType="w" fact="0.275"/>
          <dgm:constr type="h" for="ch" forName="circ4Tx" refType="h" fact="0.215"/>
          <dgm:constr type="ctrX" for="ch" forName="circ5" refType="w" fact="0.461"/>
          <dgm:constr type="ctrY" for="ch" forName="circ5" refType="h" fact="0.6502"/>
          <dgm:constr type="w" for="ch" forName="circ5" refType="w" fact="0.24"/>
          <dgm:constr type="h" for="ch" forName="circ5" refType="h" fact="0.3262"/>
          <dgm:constr type="l" for="ch" forName="circ5Tx" refType="w" fact="0.09"/>
          <dgm:constr type="t" for="ch" forName="circ5Tx" refType="h" fact="0.785"/>
          <dgm:constr type="w" for="ch" forName="circ5Tx" refType="w" fact="0.275"/>
          <dgm:constr type="h" for="ch" forName="circ5Tx" refType="h" fact="0.215"/>
          <dgm:constr type="ctrX" for="ch" forName="circ6" refType="w" fact="0.4123"/>
          <dgm:constr type="ctrY" for="ch" forName="circ6" refType="h" fact="0.5672"/>
          <dgm:constr type="w" for="ch" forName="circ6" refType="w" fact="0.24"/>
          <dgm:constr type="h" for="ch" forName="circ6" refType="h" fact="0.3262"/>
          <dgm:constr type="l" for="ch" forName="circ6Tx"/>
          <dgm:constr type="t" for="ch" forName="circ6Tx" refType="h" fact="0.47"/>
          <dgm:constr type="w" for="ch" forName="circ6Tx" refType="w" fact="0.255"/>
          <dgm:constr type="h" for="ch" forName="circ6Tx" refType="h" fact="0.235"/>
          <dgm:constr type="ctrX" for="ch" forName="circ7" refType="w" fact="0.4296"/>
          <dgm:constr type="ctrY" for="ch" forName="circ7" refType="h" fact="0.4637"/>
          <dgm:constr type="w" for="ch" forName="circ7" refType="w" fact="0.24"/>
          <dgm:constr type="h" for="ch" forName="circ7" refType="h" fact="0.3262"/>
          <dgm:constr type="l" for="ch" forName="circ7Tx" refType="w" fact="0.02"/>
          <dgm:constr type="t" for="ch" forName="circ7Tx" refType="h" fact="0.19"/>
          <dgm:constr type="w" for="ch" forName="circ7Tx" refType="w" fact="0.26"/>
          <dgm:constr type="h" for="ch" forName="circ7Tx" refType="h" fact="0.22"/>
          <dgm:constr type="primFontSz" for="ch" ptType="node" op="equ"/>
        </dgm:constrLst>
      </dgm:else>
    </dgm:choose>
    <dgm:ruleLst/>
    <dgm:forEach name="Name17" axis="ch" ptType="node" cnt="1">
      <dgm:choose name="Name18">
        <dgm:if name="Name19" axis="root ch" ptType="all node" func="cnt" op="equ" val="1">
          <dgm:layoutNode name="circ1TxSh" styleLbl="vennNode1">
            <dgm:alg type="tx">
              <dgm:param type="txAnchorHorzCh" val="ctr"/>
              <dgm:param type="txAnchorVertCh" val="mid"/>
            </dgm:alg>
            <dgm:shape xmlns:r="http://schemas.openxmlformats.org/officeDocument/2006/relationships" type="ellipse" r:blip="">
              <dgm:adjLst/>
            </dgm:shape>
            <dgm:choose name="Name20">
              <dgm:if name="Name21" func="var" arg="dir" op="equ" val="norm">
                <dgm:choose name="Name22">
                  <dgm:if name="Name23" axis="root ch" ptType="all node" func="cnt" op="lte" val="4">
                    <dgm:presOf axis="desOrSelf" ptType="node"/>
                  </dgm:if>
                  <dgm:else name="Name24">
                    <dgm:presOf/>
                  </dgm:else>
                </dgm:choose>
              </dgm:if>
              <dgm:else name="Name25">
                <dgm:choose name="Name26">
                  <dgm:if name="Name27" axis="root ch" ptType="all node" func="cnt" op="equ" val="2">
                    <dgm:presOf axis="root ch desOrSelf" ptType="all node node" st="1 2 1" cnt="1 1 0"/>
                  </dgm:if>
                  <dgm:else name="Name28">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if>
        <dgm:else name="Name29">
          <dgm:layoutNode name="circ1" styleLbl="vennNode1">
            <dgm:alg type="sp"/>
            <dgm:shape xmlns:r="http://schemas.openxmlformats.org/officeDocument/2006/relationships" type="ellipse" r:blip="">
              <dgm:adjLst/>
            </dgm:shape>
            <dgm:choose name="Name30">
              <dgm:if name="Name31" func="var" arg="dir" op="equ" val="norm">
                <dgm:choose name="Name32">
                  <dgm:if name="Name33" axis="root ch" ptType="all node" func="cnt" op="lte" val="4">
                    <dgm:presOf axis="desOrSelf" ptType="node"/>
                  </dgm:if>
                  <dgm:else name="Name34">
                    <dgm:presOf/>
                  </dgm:else>
                </dgm:choose>
              </dgm:if>
              <dgm:else name="Name35">
                <dgm:choose name="Name36">
                  <dgm:if name="Name37" axis="root ch" ptType="all node" func="cnt" op="equ" val="2">
                    <dgm:presOf axis="root ch desOrSelf" ptType="all node node" st="1 2 1" cnt="1 1 0"/>
                  </dgm:if>
                  <dgm:else name="Name38">
                    <dgm:choose name="Name39">
                      <dgm:if name="Name40" axis="root ch" ptType="all node" func="cnt" op="lte" val="4">
                        <dgm:presOf axis="desOrSelf" ptType="node"/>
                      </dgm:if>
                      <dgm:else name="Name41">
                        <dgm:presOf/>
                      </dgm:else>
                    </dgm:choose>
                  </dgm:else>
                </dgm:choose>
              </dgm:else>
            </dgm:choose>
            <dgm:constrLst/>
            <dgm:ruleLst/>
          </dgm:layoutNode>
          <dgm:layoutNode name="circ1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42">
              <dgm:if name="Name43" func="var" arg="dir" op="equ" val="norm">
                <dgm:presOf axis="desOrSelf" ptType="node"/>
              </dgm:if>
              <dgm:else name="Name44">
                <dgm:choose name="Name45">
                  <dgm:if name="Name46" axis="root ch" ptType="all node" func="cnt" op="equ" val="2">
                    <dgm:presOf axis="root ch desOrSelf" ptType="all node node" st="1 2 1" cnt="1 1 0"/>
                  </dgm:if>
                  <dgm:else name="Name47">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else>
      </dgm:choose>
    </dgm:forEach>
    <dgm:forEach name="Name48" axis="ch" ptType="node" st="2" cnt="1">
      <dgm:layoutNode name="circ2" styleLbl="vennNode1">
        <dgm:alg type="sp"/>
        <dgm:shape xmlns:r="http://schemas.openxmlformats.org/officeDocument/2006/relationships" type="ellipse" r:blip="">
          <dgm:adjLst/>
        </dgm:shape>
        <dgm:choose name="Name49">
          <dgm:if name="Name50" func="var" arg="dir" op="equ" val="norm">
            <dgm:choose name="Name51">
              <dgm:if name="Name52" axis="root ch" ptType="all node" func="cnt" op="lte" val="4">
                <dgm:presOf axis="desOrSelf" ptType="node"/>
              </dgm:if>
              <dgm:else name="Name53">
                <dgm:presOf/>
              </dgm:else>
            </dgm:choose>
          </dgm:if>
          <dgm:else name="Name54">
            <dgm:choose name="Name55">
              <dgm:if name="Name56" axis="root ch" ptType="all node" func="cnt" op="equ" val="2">
                <dgm:presOf axis="root ch desOrSelf" ptType="all node node" st="1 1 1" cnt="1 1 0"/>
              </dgm:if>
              <dgm:if name="Name57" axis="root ch" ptType="all node" func="cnt" op="equ" val="3">
                <dgm:presOf axis="root ch desOrSelf" ptType="all node node" st="1 3 1" cnt="1 1 0"/>
              </dgm:if>
              <dgm:if name="Name58" axis="root ch" ptType="all node" func="cnt" op="equ" val="4">
                <dgm:presOf axis="root ch desOrSelf" ptType="all node node" st="1 4 1" cnt="1 1 0"/>
              </dgm:if>
              <dgm:else name="Name59">
                <dgm:presOf/>
              </dgm:else>
            </dgm:choose>
          </dgm:else>
        </dgm:choose>
        <dgm:constrLst/>
        <dgm:ruleLst/>
      </dgm:layoutNode>
      <dgm:layoutNode name="circ2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60">
          <dgm:if name="Name61" func="var" arg="dir" op="equ" val="norm">
            <dgm:presOf axis="desOrSelf" ptType="node"/>
          </dgm:if>
          <dgm:else name="Name62">
            <dgm:choose name="Name63">
              <dgm:if name="Name64" axis="root ch" ptType="all node" func="cnt" op="equ" val="2">
                <dgm:presOf axis="root ch desOrSelf" ptType="all node node" st="1 1 1" cnt="1 1 0"/>
              </dgm:if>
              <dgm:if name="Name65" axis="root ch" ptType="all node" func="cnt" op="equ" val="3">
                <dgm:presOf axis="root ch desOrSelf" ptType="all node node" st="1 3 1" cnt="1 1 0"/>
              </dgm:if>
              <dgm:if name="Name66" axis="root ch" ptType="all node" func="cnt" op="equ" val="4">
                <dgm:presOf axis="root ch desOrSelf" ptType="all node node" st="1 4 1" cnt="1 1 0"/>
              </dgm:if>
              <dgm:if name="Name67" axis="root ch" ptType="all node" func="cnt" op="equ" val="5">
                <dgm:presOf axis="root ch desOrSelf" ptType="all node node" st="1 5 1" cnt="1 1 0"/>
              </dgm:if>
              <dgm:if name="Name68" axis="root ch" ptType="all node" func="cnt" op="equ" val="6">
                <dgm:presOf axis="root ch desOrSelf" ptType="all node node" st="1 6 1" cnt="1 1 0"/>
              </dgm:if>
              <dgm:else name="Name69">
                <dgm:presOf axis="root ch desOrSelf" ptType="all node node" st="1 7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70" axis="ch" ptType="node" st="3" cnt="1">
      <dgm:layoutNode name="circ3" styleLbl="vennNode1">
        <dgm:alg type="sp"/>
        <dgm:shape xmlns:r="http://schemas.openxmlformats.org/officeDocument/2006/relationships" type="ellipse" r:blip="">
          <dgm:adjLst/>
        </dgm:shape>
        <dgm:choose name="Name71">
          <dgm:if name="Name72" func="var" arg="dir" op="equ" val="norm">
            <dgm:choose name="Name73">
              <dgm:if name="Name74" axis="root ch" ptType="all node" func="cnt" op="lte" val="4">
                <dgm:presOf axis="desOrSelf" ptType="node"/>
              </dgm:if>
              <dgm:else name="Name75">
                <dgm:presOf/>
              </dgm:else>
            </dgm:choose>
          </dgm:if>
          <dgm:else name="Name76">
            <dgm:choose name="Name77">
              <dgm:if name="Name78" axis="root ch" ptType="all node" func="cnt" op="equ" val="3">
                <dgm:presOf axis="root ch desOrSelf" ptType="all node node" st="1 2 1" cnt="1 1 0"/>
              </dgm:if>
              <dgm:if name="Name79" axis="root ch" ptType="all node" func="cnt" op="equ" val="4">
                <dgm:presOf axis="root ch desOrSelf" ptType="all node node" st="1 3 1" cnt="1 1 0"/>
              </dgm:if>
              <dgm:else name="Name80">
                <dgm:presOf/>
              </dgm:else>
            </dgm:choose>
          </dgm:else>
        </dgm:choose>
        <dgm:constrLst/>
        <dgm:ruleLst/>
      </dgm:layoutNode>
      <dgm:layoutNode name="circ3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81">
          <dgm:if name="Name82" func="var" arg="dir" op="equ" val="norm">
            <dgm:presOf axis="desOrSelf" ptType="node"/>
          </dgm:if>
          <dgm:else name="Name83">
            <dgm:choose name="Name84">
              <dgm:if name="Name85" axis="root ch" ptType="all node" func="cnt" op="equ" val="3">
                <dgm:presOf axis="root ch desOrSelf" ptType="all node node" st="1 2 1" cnt="1 1 0"/>
              </dgm:if>
              <dgm:if name="Name86" axis="root ch" ptType="all node" func="cnt" op="equ" val="4">
                <dgm:presOf axis="root ch desOrSelf" ptType="all node node" st="1 3 1" cnt="1 1 0"/>
              </dgm:if>
              <dgm:if name="Name87" axis="root ch" ptType="all node" func="cnt" op="equ" val="5">
                <dgm:presOf axis="root ch desOrSelf" ptType="all node node" st="1 4 1" cnt="1 1 0"/>
              </dgm:if>
              <dgm:if name="Name88" axis="root ch" ptType="all node" func="cnt" op="equ" val="6">
                <dgm:presOf axis="root ch desOrSelf" ptType="all node node" st="1 5 1" cnt="1 1 0"/>
              </dgm:if>
              <dgm:else name="Name89">
                <dgm:presOf axis="root ch desOrSelf" ptType="all node node" st="1 6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90" axis="ch" ptType="node" st="4" cnt="1">
      <dgm:layoutNode name="circ4" styleLbl="vennNode1">
        <dgm:alg type="sp"/>
        <dgm:shape xmlns:r="http://schemas.openxmlformats.org/officeDocument/2006/relationships" type="ellipse" r:blip="">
          <dgm:adjLst/>
        </dgm:shape>
        <dgm:choose name="Name91">
          <dgm:if name="Name92" func="var" arg="dir" op="equ" val="norm">
            <dgm:choose name="Name93">
              <dgm:if name="Name94" axis="root ch" ptType="all node" func="cnt" op="lte" val="4">
                <dgm:presOf axis="desOrSelf" ptType="node"/>
              </dgm:if>
              <dgm:else name="Name95">
                <dgm:presOf/>
              </dgm:else>
            </dgm:choose>
          </dgm:if>
          <dgm:else name="Name96">
            <dgm:choose name="Name97">
              <dgm:if name="Name98" axis="root ch" ptType="all node" func="cnt" op="equ" val="4">
                <dgm:presOf axis="root ch desOrSelf" ptType="all node node" st="1 2 1" cnt="1 1 0"/>
              </dgm:if>
              <dgm:else name="Name99">
                <dgm:presOf/>
              </dgm:else>
            </dgm:choose>
          </dgm:else>
        </dgm:choose>
        <dgm:constrLst/>
        <dgm:ruleLst/>
      </dgm:layoutNode>
      <dgm:layoutNode name="circ4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0">
          <dgm:if name="Name101" func="var" arg="dir" op="equ" val="norm">
            <dgm:presOf axis="desOrSelf" ptType="node"/>
          </dgm:if>
          <dgm:else name="Name102">
            <dgm:choose name="Name103">
              <dgm:if name="Name104" axis="root ch" ptType="all node" func="cnt" op="equ" val="4">
                <dgm:presOf axis="root ch desOrSelf" ptType="all node node" st="1 2 1" cnt="1 1 0"/>
              </dgm:if>
              <dgm:if name="Name105" axis="root ch" ptType="all node" func="cnt" op="equ" val="5">
                <dgm:presOf axis="root ch desOrSelf" ptType="all node node" st="1 3 1" cnt="1 1 0"/>
              </dgm:if>
              <dgm:if name="Name106" axis="root ch" ptType="all node" func="cnt" op="equ" val="6">
                <dgm:presOf axis="root ch desOrSelf" ptType="all node node" st="1 4 1" cnt="1 1 0"/>
              </dgm:if>
              <dgm:else name="Name107">
                <dgm:presOf axis="root ch desOrSelf" ptType="all node node" st="1 5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08" axis="ch" ptType="node" st="5" cnt="1">
      <dgm:layoutNode name="circ5" styleLbl="vennNode1">
        <dgm:alg type="sp"/>
        <dgm:shape xmlns:r="http://schemas.openxmlformats.org/officeDocument/2006/relationships" type="ellipse" r:blip="">
          <dgm:adjLst/>
        </dgm:shape>
        <dgm:presOf/>
        <dgm:constrLst/>
        <dgm:ruleLst/>
      </dgm:layoutNode>
      <dgm:layoutNode name="circ5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9">
          <dgm:if name="Name110" func="var" arg="dir" op="equ" val="norm">
            <dgm:presOf axis="desOrSelf" ptType="node"/>
          </dgm:if>
          <dgm:else name="Name111">
            <dgm:choose name="Name112">
              <dgm:if name="Name113" axis="root ch" ptType="all node" func="cnt" op="equ" val="5">
                <dgm:presOf axis="root ch desOrSelf" ptType="all node node" st="1 2 1" cnt="1 1 0"/>
              </dgm:if>
              <dgm:if name="Name114" axis="root ch" ptType="all node" func="cnt" op="equ" val="6">
                <dgm:presOf axis="root ch desOrSelf" ptType="all node node" st="1 3 1" cnt="1 1 0"/>
              </dgm:if>
              <dgm:else name="Name115">
                <dgm:presOf axis="root ch desOrSelf" ptType="all node node" st="1 4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16" axis="ch" ptType="node" st="6" cnt="1">
      <dgm:layoutNode name="circ6" styleLbl="vennNode1">
        <dgm:alg type="sp"/>
        <dgm:shape xmlns:r="http://schemas.openxmlformats.org/officeDocument/2006/relationships" type="ellipse" r:blip="">
          <dgm:adjLst/>
        </dgm:shape>
        <dgm:presOf/>
        <dgm:constrLst/>
        <dgm:ruleLst/>
      </dgm:layoutNode>
      <dgm:layoutNode name="circ6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17">
          <dgm:if name="Name118" func="var" arg="dir" op="equ" val="norm">
            <dgm:presOf axis="desOrSelf" ptType="node"/>
          </dgm:if>
          <dgm:else name="Name119">
            <dgm:choose name="Name120">
              <dgm:if name="Name121" axis="root ch" ptType="all node" func="cnt" op="equ" val="6">
                <dgm:presOf axis="root ch desOrSelf" ptType="all node node" st="1 2 1" cnt="1 1 0"/>
              </dgm:if>
              <dgm:else name="Name122">
                <dgm:presOf axis="root ch desOrSelf" ptType="all node node" st="1 3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23" axis="ch" ptType="node" st="7" cnt="1">
      <dgm:layoutNode name="circ7" styleLbl="vennNode1">
        <dgm:alg type="sp"/>
        <dgm:shape xmlns:r="http://schemas.openxmlformats.org/officeDocument/2006/relationships" type="ellipse" r:blip="">
          <dgm:adjLst/>
        </dgm:shape>
        <dgm:presOf/>
        <dgm:constrLst/>
        <dgm:ruleLst/>
      </dgm:layoutNode>
      <dgm:layoutNode name="circ7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24">
          <dgm:if name="Name125" func="var" arg="dir" op="equ" val="norm">
            <dgm:presOf axis="desOrSelf" ptType="node"/>
          </dgm:if>
          <dgm:else name="Name126">
            <dgm:presOf axis="root ch desOrSelf" ptType="all node node" st="1 2 1" cnt="1 1 0"/>
          </dgm:else>
        </dgm:choose>
        <dgm:constrLst>
          <dgm:constr type="tMarg"/>
          <dgm:constr type="bMarg"/>
          <dgm:constr type="lMarg"/>
          <dgm:constr type="rMarg"/>
          <dgm:constr type="primFontSz" val="65"/>
        </dgm:constrLst>
        <dgm:ruleLst>
          <dgm:rule type="primFontSz" val="5" fact="NaN" max="NaN"/>
        </dgm:ruleLst>
      </dgm:layoutNode>
    </dgm:forEach>
  </dgm:layoutNode>
</dgm:layoutDef>
</file>

<file path=ppt/diagrams/layout9.xml><?xml version="1.0" encoding="utf-8"?>
<dgm:layoutDef xmlns:dgm="http://schemas.openxmlformats.org/drawingml/2006/diagram" xmlns:a="http://schemas.openxmlformats.org/drawingml/2006/main" uniqueId="urn:microsoft.com/office/officeart/2005/8/layout/default#1">
  <dgm:title val=""/>
  <dgm:desc val=""/>
  <dgm:catLst>
    <dgm:cat type="list" pri="1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3.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7.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8.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image" Target="../media/image5.png"/></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5.png"/></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5.png"/></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5.png"/></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5.png"/></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5.png"/></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5.png"/></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5.png"/></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5.png"/></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png"/></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png"/></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png"/></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png"/></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png"/></Relationships>
</file>

<file path=ppt/drawings/_rels/vmlDrawing7.vml.rels><?xml version="1.0" encoding="UTF-8" standalone="yes"?>
<Relationships xmlns="http://schemas.openxmlformats.org/package/2006/relationships"><Relationship Id="rId1" Type="http://schemas.openxmlformats.org/officeDocument/2006/relationships/image" Target="../media/image5.png"/></Relationships>
</file>

<file path=ppt/drawings/_rels/vmlDrawing8.vml.rels><?xml version="1.0" encoding="UTF-8" standalone="yes"?>
<Relationships xmlns="http://schemas.openxmlformats.org/package/2006/relationships"><Relationship Id="rId1" Type="http://schemas.openxmlformats.org/officeDocument/2006/relationships/image" Target="../media/image5.png"/></Relationships>
</file>

<file path=ppt/drawings/_rels/vmlDrawing9.vml.rels><?xml version="1.0" encoding="UTF-8" standalone="yes"?>
<Relationships xmlns="http://schemas.openxmlformats.org/package/2006/relationships"><Relationship Id="rId1" Type="http://schemas.openxmlformats.org/officeDocument/2006/relationships/image" Target="../media/image5.png"/></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248E1D2-8EAB-46DE-BF84-D95FF1F53E0E}" type="datetimeFigureOut">
              <a:rPr lang="en-US" smtClean="0"/>
              <a:t>12/6/2019</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8EAAC04-C225-4CDB-89C7-6C9235E77929}" type="slidenum">
              <a:rPr lang="en-US" smtClean="0"/>
              <a:t>‹#›</a:t>
            </a:fld>
            <a:endParaRPr lang="en-US"/>
          </a:p>
        </p:txBody>
      </p:sp>
    </p:spTree>
    <p:extLst>
      <p:ext uri="{BB962C8B-B14F-4D97-AF65-F5344CB8AC3E}">
        <p14:creationId xmlns:p14="http://schemas.microsoft.com/office/powerpoint/2010/main" val="15392281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hyperlink" Target="http://www.consilium.europa.eu/cms3_applications/Applications/newsRoom/LoadDocument.asp?directory=en/ec/&amp;filename=00200-r1.en1.pdf" TargetMode="External"/><Relationship Id="rId2" Type="http://schemas.openxmlformats.org/officeDocument/2006/relationships/slide" Target="../slides/slide2.xml"/><Relationship Id="rId1" Type="http://schemas.openxmlformats.org/officeDocument/2006/relationships/notesMaster" Target="../notesMasters/notesMaster1.xml"/><Relationship Id="rId5" Type="http://schemas.openxmlformats.org/officeDocument/2006/relationships/hyperlink" Target="http://europa.eu/growthandjobs/index_en.htm" TargetMode="External"/><Relationship Id="rId4" Type="http://schemas.openxmlformats.org/officeDocument/2006/relationships/hyperlink" Target="http://ec.europa.eu/sustainable/sds2001/index_en.htm" TargetMode="Externa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3" Type="http://schemas.openxmlformats.org/officeDocument/2006/relationships/hyperlink" Target="https://www.legifrance.gouv.fr/affichTexteArticle.do;jsessionid=A23B6B41C097FA8406E565BAC7C23680.tpdila11v_1?idArticle=JORFARTI000033558666&amp;cidTexte=JORFTEXT000033558528&amp;dateTexte=29990101&amp;categorieLien=id" TargetMode="External"/><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3" Type="http://schemas.openxmlformats.org/officeDocument/2006/relationships/hyperlink" Target="http://eur-lex.europa.eu/legal-content/EN/TXT/?uri=uriserv:OJ.L_.2014.094.01.0065.01.ENG" TargetMode="External"/><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blogs.reuters.com/search/journalist.php?edition=us&amp;n=alex.hudson&amp;" TargetMode="External"/><Relationship Id="rId2" Type="http://schemas.openxmlformats.org/officeDocument/2006/relationships/slide" Target="../slides/slide13.xml"/><Relationship Id="rId1" Type="http://schemas.openxmlformats.org/officeDocument/2006/relationships/notesMaster" Target="../notesMasters/notesMaster1.xml"/><Relationship Id="rId5" Type="http://schemas.openxmlformats.org/officeDocument/2006/relationships/hyperlink" Target="http://blogs.reuters.com/search/journalist.php?edition=us&amp;n=eric.walsh&amp;" TargetMode="External"/><Relationship Id="rId4" Type="http://schemas.openxmlformats.org/officeDocument/2006/relationships/hyperlink" Target="http://blogs.reuters.com/search/journalist.php?edition=us&amp;n=david.holmes&amp;" TargetMode="Externa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8962" name="Slide Image Placeholder 1">
            <a:extLst>
              <a:ext uri="{FF2B5EF4-FFF2-40B4-BE49-F238E27FC236}">
                <a16:creationId xmlns:a16="http://schemas.microsoft.com/office/drawing/2014/main" id="{6F46FC34-23FF-4299-BA9F-CEB579F89A8B}"/>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68963" name="Notes Placeholder 2">
            <a:extLst>
              <a:ext uri="{FF2B5EF4-FFF2-40B4-BE49-F238E27FC236}">
                <a16:creationId xmlns:a16="http://schemas.microsoft.com/office/drawing/2014/main" id="{11BD7263-944C-47C4-A9E2-8EF77E244699}"/>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r>
              <a:rPr lang="en-US" altLang="en-US"/>
              <a:t>The crucial milestone for the development of Sustainable Public Procurement in Europe was the </a:t>
            </a:r>
            <a:r>
              <a:rPr lang="en-US" altLang="en-US">
                <a:hlinkClick r:id="rId3" tooltip="blocked::http://www.consilium.europa.eu/cms3_applications/Applications/newsRoom/LoadDocument.asp?directory=en/ec/&amp;filename=00200-r1.en1.pdf"/>
              </a:rPr>
              <a:t>Gothenburg European Council</a:t>
            </a:r>
            <a:r>
              <a:rPr lang="en-US" altLang="en-US"/>
              <a:t> (June 2001)and the adoption of the </a:t>
            </a:r>
            <a:r>
              <a:rPr lang="en-US" altLang="en-US">
                <a:hlinkClick r:id="rId4" tooltip="blocked::http://ec.europa.eu/sustainable/sds2001/index_en.htm"/>
              </a:rPr>
              <a:t>EU Sustainable Development Strategy</a:t>
            </a:r>
            <a:r>
              <a:rPr lang="en-US" altLang="en-US"/>
              <a:t>. The philosophy of this strategy is that economic, social and environmental objectives could be pursued simultaneously adding an environmental dimension to the </a:t>
            </a:r>
            <a:r>
              <a:rPr lang="en-US" altLang="en-US">
                <a:hlinkClick r:id="rId5"/>
              </a:rPr>
              <a:t>Lisbon Process</a:t>
            </a:r>
            <a:r>
              <a:rPr lang="en-US" altLang="en-US"/>
              <a:t>, launched in March 2000. (In the Lisbon Strategy, the EU aims to become </a:t>
            </a:r>
            <a:r>
              <a:rPr lang="en-US" altLang="en-US" i="1"/>
              <a:t>‘the most competitive and dynamic knowledge-based economy in the world, capable of sustainable economic growth with more and better jobs and greater social cohesion’</a:t>
            </a:r>
            <a:r>
              <a:rPr lang="en-US" altLang="en-US"/>
              <a:t> by 2010.)</a:t>
            </a:r>
          </a:p>
        </p:txBody>
      </p:sp>
      <p:sp>
        <p:nvSpPr>
          <p:cNvPr id="168964" name="Slide Number Placeholder 3">
            <a:extLst>
              <a:ext uri="{FF2B5EF4-FFF2-40B4-BE49-F238E27FC236}">
                <a16:creationId xmlns:a16="http://schemas.microsoft.com/office/drawing/2014/main" id="{EE5FDF42-0DEB-46EE-B1B7-D8B060DDFCF1}"/>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Perpetua" panose="02020502060401020303" pitchFamily="18" charset="0"/>
              </a:defRPr>
            </a:lvl1pPr>
            <a:lvl2pPr marL="741363" indent="-284163">
              <a:defRPr>
                <a:solidFill>
                  <a:schemeClr val="tx1"/>
                </a:solidFill>
                <a:latin typeface="Perpetua" panose="02020502060401020303" pitchFamily="18" charset="0"/>
              </a:defRPr>
            </a:lvl2pPr>
            <a:lvl3pPr marL="1141413" indent="-227013">
              <a:defRPr>
                <a:solidFill>
                  <a:schemeClr val="tx1"/>
                </a:solidFill>
                <a:latin typeface="Perpetua" panose="02020502060401020303" pitchFamily="18" charset="0"/>
              </a:defRPr>
            </a:lvl3pPr>
            <a:lvl4pPr marL="1598613" indent="-227013">
              <a:defRPr>
                <a:solidFill>
                  <a:schemeClr val="tx1"/>
                </a:solidFill>
                <a:latin typeface="Perpetua" panose="02020502060401020303" pitchFamily="18" charset="0"/>
              </a:defRPr>
            </a:lvl4pPr>
            <a:lvl5pPr marL="2055813" indent="-227013">
              <a:defRPr>
                <a:solidFill>
                  <a:schemeClr val="tx1"/>
                </a:solidFill>
                <a:latin typeface="Perpetua" panose="02020502060401020303" pitchFamily="18" charset="0"/>
              </a:defRPr>
            </a:lvl5pPr>
            <a:lvl6pPr marL="2513013" indent="-227013" fontAlgn="base">
              <a:spcBef>
                <a:spcPct val="0"/>
              </a:spcBef>
              <a:spcAft>
                <a:spcPct val="0"/>
              </a:spcAft>
              <a:defRPr>
                <a:solidFill>
                  <a:schemeClr val="tx1"/>
                </a:solidFill>
                <a:latin typeface="Perpetua" panose="02020502060401020303" pitchFamily="18" charset="0"/>
              </a:defRPr>
            </a:lvl6pPr>
            <a:lvl7pPr marL="2970213" indent="-227013" fontAlgn="base">
              <a:spcBef>
                <a:spcPct val="0"/>
              </a:spcBef>
              <a:spcAft>
                <a:spcPct val="0"/>
              </a:spcAft>
              <a:defRPr>
                <a:solidFill>
                  <a:schemeClr val="tx1"/>
                </a:solidFill>
                <a:latin typeface="Perpetua" panose="02020502060401020303" pitchFamily="18" charset="0"/>
              </a:defRPr>
            </a:lvl7pPr>
            <a:lvl8pPr marL="3427413" indent="-227013" fontAlgn="base">
              <a:spcBef>
                <a:spcPct val="0"/>
              </a:spcBef>
              <a:spcAft>
                <a:spcPct val="0"/>
              </a:spcAft>
              <a:defRPr>
                <a:solidFill>
                  <a:schemeClr val="tx1"/>
                </a:solidFill>
                <a:latin typeface="Perpetua" panose="02020502060401020303" pitchFamily="18" charset="0"/>
              </a:defRPr>
            </a:lvl8pPr>
            <a:lvl9pPr marL="3884613" indent="-227013" fontAlgn="base">
              <a:spcBef>
                <a:spcPct val="0"/>
              </a:spcBef>
              <a:spcAft>
                <a:spcPct val="0"/>
              </a:spcAft>
              <a:defRPr>
                <a:solidFill>
                  <a:schemeClr val="tx1"/>
                </a:solidFill>
                <a:latin typeface="Perpetua" panose="02020502060401020303" pitchFamily="18"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705345F2-690D-47A0-9536-BC0B4E531D21}" type="slidenum">
              <a:rPr kumimoji="0" lang="en-US" altLang="en-US" sz="1200" b="0" i="0" u="none" strike="noStrike" kern="1200" cap="none" spc="0" normalizeH="0" baseline="0" noProof="0" smtClean="0">
                <a:ln>
                  <a:noFill/>
                </a:ln>
                <a:solidFill>
                  <a:prstClr val="black"/>
                </a:solidFill>
                <a:effectLst/>
                <a:uLnTx/>
                <a:uFillTx/>
                <a:latin typeface="Calibri" panose="020F050202020403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2</a:t>
            </a:fld>
            <a:endParaRPr kumimoji="0" lang="en-US" altLang="en-US" sz="1200" b="0" i="0" u="none" strike="noStrike" kern="1200" cap="none" spc="0" normalizeH="0" baseline="0" noProof="0">
              <a:ln>
                <a:noFill/>
              </a:ln>
              <a:solidFill>
                <a:prstClr val="black"/>
              </a:solidFill>
              <a:effectLst/>
              <a:uLnTx/>
              <a:uFillTx/>
              <a:latin typeface="Calibri" panose="020F0502020204030204" pitchFamily="34" charset="0"/>
              <a:ea typeface="+mn-ea"/>
              <a:cs typeface="Arial" panose="020B0604020202020204" pitchFamily="34" charset="0"/>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Slide Image Placeholder 1">
            <a:extLst>
              <a:ext uri="{FF2B5EF4-FFF2-40B4-BE49-F238E27FC236}">
                <a16:creationId xmlns:a16="http://schemas.microsoft.com/office/drawing/2014/main" id="{41185404-885B-402F-A3C8-3C465C2C022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5059" name="Notes Placeholder 2">
            <a:extLst>
              <a:ext uri="{FF2B5EF4-FFF2-40B4-BE49-F238E27FC236}">
                <a16:creationId xmlns:a16="http://schemas.microsoft.com/office/drawing/2014/main" id="{05612BB3-D496-4DD8-B1F8-018CDEBEE0F6}"/>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US" altLang="en-US">
              <a:latin typeface="Arial" panose="020B0604020202020204" pitchFamily="34" charset="0"/>
            </a:endParaRPr>
          </a:p>
        </p:txBody>
      </p:sp>
      <p:sp>
        <p:nvSpPr>
          <p:cNvPr id="45060" name="Slide Number Placeholder 3">
            <a:extLst>
              <a:ext uri="{FF2B5EF4-FFF2-40B4-BE49-F238E27FC236}">
                <a16:creationId xmlns:a16="http://schemas.microsoft.com/office/drawing/2014/main" id="{44DD45AD-F78F-4ACD-9552-CC463DD83FDE}"/>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357F8009-4D62-41D4-BBB7-599E681228FE}" type="slidenum">
              <a:rPr kumimoji="0" lang="en-US" alt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38</a:t>
            </a:fld>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Slide Image Placeholder 1">
            <a:extLst>
              <a:ext uri="{FF2B5EF4-FFF2-40B4-BE49-F238E27FC236}">
                <a16:creationId xmlns:a16="http://schemas.microsoft.com/office/drawing/2014/main" id="{148A86DA-CCAB-4E78-AE3F-064FB1C0A92C}"/>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8131" name="Notes Placeholder 2">
            <a:extLst>
              <a:ext uri="{FF2B5EF4-FFF2-40B4-BE49-F238E27FC236}">
                <a16:creationId xmlns:a16="http://schemas.microsoft.com/office/drawing/2014/main" id="{ECB6BB79-70D0-46FC-AFFE-FB7CF5692C1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r>
              <a:rPr lang="en-US" altLang="en-US"/>
              <a:t>excessive commissions to third-party agents or consultants; • unreasonably large discounts to third-party distributors; • third-party “consulting agreements” that include only vaguely described services; • the third-party consultant is in a different line of business than that for which it has been engaged; • the third party is related to or closely associated with the foreign official; • the third party became part of the transaction at the express request or insistence of the foreign official; • the third party is merely a shell company incorporated in an offshore jurisdiction; and • the third party requests payment to offshore bank accounts.</a:t>
            </a:r>
          </a:p>
        </p:txBody>
      </p:sp>
      <p:sp>
        <p:nvSpPr>
          <p:cNvPr id="48132" name="Slide Number Placeholder 3">
            <a:extLst>
              <a:ext uri="{FF2B5EF4-FFF2-40B4-BE49-F238E27FC236}">
                <a16:creationId xmlns:a16="http://schemas.microsoft.com/office/drawing/2014/main" id="{7A856F60-9986-46E6-9AE2-71ABCB731A2B}"/>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1223D68B-2824-40C5-9102-721DE3F35845}" type="slidenum">
              <a:rPr kumimoji="0" lang="en-US" altLang="en-US" sz="1200" b="0" i="0" u="none" strike="noStrike" kern="1200" cap="none" spc="0" normalizeH="0" baseline="0" noProof="0" smtClean="0">
                <a:ln>
                  <a:noFill/>
                </a:ln>
                <a:solidFill>
                  <a:prstClr val="black"/>
                </a:solidFill>
                <a:effectLst/>
                <a:uLnTx/>
                <a:uFillTx/>
                <a:latin typeface="Calibri" panose="020F050202020403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39</a:t>
            </a:fld>
            <a:endParaRPr kumimoji="0" lang="en-US" altLang="en-US" sz="1200" b="0" i="0" u="none" strike="noStrike" kern="1200" cap="none" spc="0" normalizeH="0" baseline="0" noProof="0">
              <a:ln>
                <a:noFill/>
              </a:ln>
              <a:solidFill>
                <a:prstClr val="black"/>
              </a:solidFill>
              <a:effectLst/>
              <a:uLnTx/>
              <a:uFillTx/>
              <a:latin typeface="Calibri" panose="020F0502020204030204" pitchFamily="34" charset="0"/>
              <a:ea typeface="+mn-ea"/>
              <a:cs typeface="Arial" panose="020B0604020202020204" pitchFamily="34" charset="0"/>
            </a:endParaRP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Slide Image Placeholder 1">
            <a:extLst>
              <a:ext uri="{FF2B5EF4-FFF2-40B4-BE49-F238E27FC236}">
                <a16:creationId xmlns:a16="http://schemas.microsoft.com/office/drawing/2014/main" id="{609C82F0-AD3A-43E4-973D-7CEB7DEFB914}"/>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3795" name="Notes Placeholder 2">
            <a:extLst>
              <a:ext uri="{FF2B5EF4-FFF2-40B4-BE49-F238E27FC236}">
                <a16:creationId xmlns:a16="http://schemas.microsoft.com/office/drawing/2014/main" id="{7A54A5C7-9830-4023-813C-D6607D1C5F18}"/>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r>
              <a:rPr lang="en-US" altLang="en-US">
                <a:latin typeface="Arial" panose="020B0604020202020204" pitchFamily="34" charset="0"/>
              </a:rPr>
              <a:t>Sources:</a:t>
            </a:r>
          </a:p>
          <a:p>
            <a:pPr>
              <a:spcBef>
                <a:spcPct val="0"/>
              </a:spcBef>
            </a:pPr>
            <a:endParaRPr lang="en-US" altLang="en-US">
              <a:latin typeface="Arial" panose="020B0604020202020204" pitchFamily="34" charset="0"/>
            </a:endParaRPr>
          </a:p>
          <a:p>
            <a:pPr>
              <a:spcBef>
                <a:spcPct val="0"/>
              </a:spcBef>
            </a:pPr>
            <a:r>
              <a:rPr lang="en-US" altLang="en-US">
                <a:latin typeface="Arial" panose="020B0604020202020204" pitchFamily="34" charset="0"/>
              </a:rPr>
              <a:t>Serious Fraud Office, </a:t>
            </a:r>
            <a:r>
              <a:rPr lang="en-US" altLang="en-US" i="1">
                <a:latin typeface="Arial" panose="020B0604020202020204" pitchFamily="34" charset="0"/>
              </a:rPr>
              <a:t>Approach of the Serious Fraud Office to Dealing with Overseas Corruption</a:t>
            </a:r>
            <a:r>
              <a:rPr lang="en-US" altLang="en-US">
                <a:latin typeface="Arial" panose="020B0604020202020204" pitchFamily="34" charset="0"/>
              </a:rPr>
              <a:t>, at 1 (2009), </a:t>
            </a:r>
            <a:r>
              <a:rPr lang="en-US" altLang="en-US" i="1">
                <a:latin typeface="Arial" panose="020B0604020202020204" pitchFamily="34" charset="0"/>
              </a:rPr>
              <a:t>available at http://www.sfo.gov.uk/media/28313/approach%20of%20the%20sfo%20to%20dealing%20with%20overseas%20corruption.pdf. </a:t>
            </a:r>
            <a:endParaRPr lang="en-US" altLang="en-US">
              <a:latin typeface="Arial" panose="020B0604020202020204" pitchFamily="34" charset="0"/>
            </a:endParaRPr>
          </a:p>
          <a:p>
            <a:pPr>
              <a:spcBef>
                <a:spcPct val="0"/>
              </a:spcBef>
            </a:pPr>
            <a:endParaRPr lang="en-US" altLang="en-US">
              <a:latin typeface="Arial" panose="020B0604020202020204" pitchFamily="34" charset="0"/>
            </a:endParaRPr>
          </a:p>
          <a:p>
            <a:pPr>
              <a:spcBef>
                <a:spcPct val="0"/>
              </a:spcBef>
            </a:pPr>
            <a:r>
              <a:rPr lang="en-US" altLang="en-US">
                <a:latin typeface="Arial" panose="020B0604020202020204" pitchFamily="34" charset="0"/>
              </a:rPr>
              <a:t>Lord Bach, </a:t>
            </a:r>
            <a:r>
              <a:rPr lang="en-US" altLang="en-US" i="1">
                <a:latin typeface="Arial" panose="020B0604020202020204" pitchFamily="34" charset="0"/>
              </a:rPr>
              <a:t>Letter to Lord Henley re: Bribery Bill -- “Adequate Procedures’ Guidance </a:t>
            </a:r>
            <a:r>
              <a:rPr lang="en-US" altLang="en-US">
                <a:latin typeface="Arial" panose="020B0604020202020204" pitchFamily="34" charset="0"/>
              </a:rPr>
              <a:t>(Dec. 2009), </a:t>
            </a:r>
            <a:r>
              <a:rPr lang="en-US" altLang="en-US" i="1">
                <a:latin typeface="Arial" panose="020B0604020202020204" pitchFamily="34" charset="0"/>
              </a:rPr>
              <a:t>http://www.justice.gov.uk/publications/docs/bach-letter-adequate-procedures-guidance.pdf</a:t>
            </a:r>
            <a:r>
              <a:rPr lang="en-US" altLang="en-US">
                <a:latin typeface="Arial" panose="020B0604020202020204" pitchFamily="34" charset="0"/>
              </a:rPr>
              <a:t>. </a:t>
            </a:r>
          </a:p>
          <a:p>
            <a:pPr>
              <a:spcBef>
                <a:spcPct val="0"/>
              </a:spcBef>
            </a:pPr>
            <a:endParaRPr lang="en-US" altLang="en-US"/>
          </a:p>
          <a:p>
            <a:pPr>
              <a:spcBef>
                <a:spcPct val="0"/>
              </a:spcBef>
            </a:pPr>
            <a:r>
              <a:rPr lang="en-US" altLang="en-US"/>
              <a:t>Ministry of Justice, </a:t>
            </a:r>
            <a:r>
              <a:rPr lang="en-US" altLang="en-US" i="1"/>
              <a:t>Consultation on Guidance About Commercial Organisations Preventing Bribery (Section 9 of the Bribery Act 2010)</a:t>
            </a:r>
            <a:endParaRPr lang="en-US" altLang="en-US">
              <a:latin typeface="Arial" panose="020B0604020202020204" pitchFamily="34" charset="0"/>
            </a:endParaRPr>
          </a:p>
        </p:txBody>
      </p:sp>
      <p:sp>
        <p:nvSpPr>
          <p:cNvPr id="33796" name="Slide Number Placeholder 3">
            <a:extLst>
              <a:ext uri="{FF2B5EF4-FFF2-40B4-BE49-F238E27FC236}">
                <a16:creationId xmlns:a16="http://schemas.microsoft.com/office/drawing/2014/main" id="{6E8678EC-A065-401B-B53A-881AFF077BEB}"/>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Garamond" panose="02020404030301010803" pitchFamily="18" charset="0"/>
              </a:defRPr>
            </a:lvl1pPr>
            <a:lvl2pPr marL="742950" indent="-285750">
              <a:defRPr>
                <a:solidFill>
                  <a:schemeClr val="tx1"/>
                </a:solidFill>
                <a:latin typeface="Garamond" panose="02020404030301010803" pitchFamily="18" charset="0"/>
              </a:defRPr>
            </a:lvl2pPr>
            <a:lvl3pPr marL="1143000" indent="-228600">
              <a:defRPr>
                <a:solidFill>
                  <a:schemeClr val="tx1"/>
                </a:solidFill>
                <a:latin typeface="Garamond" panose="02020404030301010803" pitchFamily="18" charset="0"/>
              </a:defRPr>
            </a:lvl3pPr>
            <a:lvl4pPr marL="1600200" indent="-228600">
              <a:defRPr>
                <a:solidFill>
                  <a:schemeClr val="tx1"/>
                </a:solidFill>
                <a:latin typeface="Garamond" panose="02020404030301010803" pitchFamily="18" charset="0"/>
              </a:defRPr>
            </a:lvl4pPr>
            <a:lvl5pPr marL="2057400" indent="-228600">
              <a:defRPr>
                <a:solidFill>
                  <a:schemeClr val="tx1"/>
                </a:solidFill>
                <a:latin typeface="Garamond" panose="02020404030301010803" pitchFamily="18" charset="0"/>
              </a:defRPr>
            </a:lvl5pPr>
            <a:lvl6pPr marL="2514600" indent="-228600" fontAlgn="base">
              <a:spcBef>
                <a:spcPct val="0"/>
              </a:spcBef>
              <a:spcAft>
                <a:spcPct val="0"/>
              </a:spcAft>
              <a:defRPr>
                <a:solidFill>
                  <a:schemeClr val="tx1"/>
                </a:solidFill>
                <a:latin typeface="Garamond" panose="02020404030301010803" pitchFamily="18" charset="0"/>
              </a:defRPr>
            </a:lvl6pPr>
            <a:lvl7pPr marL="2971800" indent="-228600" fontAlgn="base">
              <a:spcBef>
                <a:spcPct val="0"/>
              </a:spcBef>
              <a:spcAft>
                <a:spcPct val="0"/>
              </a:spcAft>
              <a:defRPr>
                <a:solidFill>
                  <a:schemeClr val="tx1"/>
                </a:solidFill>
                <a:latin typeface="Garamond" panose="02020404030301010803" pitchFamily="18" charset="0"/>
              </a:defRPr>
            </a:lvl7pPr>
            <a:lvl8pPr marL="3429000" indent="-228600" fontAlgn="base">
              <a:spcBef>
                <a:spcPct val="0"/>
              </a:spcBef>
              <a:spcAft>
                <a:spcPct val="0"/>
              </a:spcAft>
              <a:defRPr>
                <a:solidFill>
                  <a:schemeClr val="tx1"/>
                </a:solidFill>
                <a:latin typeface="Garamond" panose="02020404030301010803" pitchFamily="18" charset="0"/>
              </a:defRPr>
            </a:lvl8pPr>
            <a:lvl9pPr marL="3886200" indent="-228600" fontAlgn="base">
              <a:spcBef>
                <a:spcPct val="0"/>
              </a:spcBef>
              <a:spcAft>
                <a:spcPct val="0"/>
              </a:spcAft>
              <a:defRPr>
                <a:solidFill>
                  <a:schemeClr val="tx1"/>
                </a:solidFill>
                <a:latin typeface="Garamond" panose="02020404030301010803" pitchFamily="18"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CB2D6B49-F8BD-49AD-B0E5-70AE05BD9B33}" type="slidenum">
              <a:rPr kumimoji="0" lang="en-US" altLang="en-US" sz="1200" b="0"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41</a:t>
            </a:fld>
            <a:endParaRPr kumimoji="0" lang="en-US" alt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Slide Image Placeholder 1">
            <a:extLst>
              <a:ext uri="{FF2B5EF4-FFF2-40B4-BE49-F238E27FC236}">
                <a16:creationId xmlns:a16="http://schemas.microsoft.com/office/drawing/2014/main" id="{C229D9B2-8CDE-41B9-9A17-90ED8F0EBFEA}"/>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 name="Notes Placeholder 2">
            <a:extLst>
              <a:ext uri="{FF2B5EF4-FFF2-40B4-BE49-F238E27FC236}">
                <a16:creationId xmlns:a16="http://schemas.microsoft.com/office/drawing/2014/main" id="{E20D4458-CD8F-4C33-B841-60848EA2723C}"/>
              </a:ext>
            </a:extLst>
          </p:cNvPr>
          <p:cNvSpPr>
            <a:spLocks noGrp="1"/>
          </p:cNvSpPr>
          <p:nvPr>
            <p:ph type="body" idx="1"/>
          </p:nvPr>
        </p:nvSpPr>
        <p:spPr/>
        <p:txBody>
          <a:bodyPr>
            <a:normAutofit/>
          </a:bodyPr>
          <a:lstStyle/>
          <a:p>
            <a:pPr fontAlgn="auto">
              <a:spcBef>
                <a:spcPts val="0"/>
              </a:spcBef>
              <a:spcAft>
                <a:spcPts val="0"/>
              </a:spcAft>
              <a:defRPr/>
            </a:pPr>
            <a:r>
              <a:rPr lang="en-US" dirty="0"/>
              <a:t>Art. 5th. For the purposes of this Law, acts harmful to the public administration, national or foreign, are those performed by the legal persons cited in the paragraph of Art. 1st, which violate the national or foreign public patrimony, principles of the public administration, or the international commitments assumed by Brazil, defined thus: </a:t>
            </a:r>
          </a:p>
          <a:p>
            <a:pPr fontAlgn="auto">
              <a:spcBef>
                <a:spcPts val="0"/>
              </a:spcBef>
              <a:spcAft>
                <a:spcPts val="0"/>
              </a:spcAft>
              <a:defRPr/>
            </a:pPr>
            <a:r>
              <a:rPr lang="en-US" dirty="0"/>
              <a:t>. . .</a:t>
            </a:r>
          </a:p>
          <a:p>
            <a:pPr fontAlgn="auto">
              <a:spcBef>
                <a:spcPts val="0"/>
              </a:spcBef>
              <a:spcAft>
                <a:spcPts val="0"/>
              </a:spcAft>
              <a:defRPr/>
            </a:pPr>
            <a:endParaRPr lang="en-US" dirty="0"/>
          </a:p>
          <a:p>
            <a:pPr fontAlgn="auto">
              <a:spcBef>
                <a:spcPts val="0"/>
              </a:spcBef>
              <a:spcAft>
                <a:spcPts val="0"/>
              </a:spcAft>
              <a:defRPr/>
            </a:pPr>
            <a:r>
              <a:rPr lang="en-US" dirty="0"/>
              <a:t>IV – insofar as requests for bids and contracts: </a:t>
            </a:r>
          </a:p>
          <a:p>
            <a:pPr fontAlgn="auto">
              <a:spcBef>
                <a:spcPts val="0"/>
              </a:spcBef>
              <a:spcAft>
                <a:spcPts val="0"/>
              </a:spcAft>
              <a:defRPr/>
            </a:pPr>
            <a:endParaRPr lang="en-US" dirty="0"/>
          </a:p>
          <a:p>
            <a:pPr fontAlgn="auto">
              <a:spcBef>
                <a:spcPts val="0"/>
              </a:spcBef>
              <a:spcAft>
                <a:spcPts val="0"/>
              </a:spcAft>
              <a:defRPr/>
            </a:pPr>
            <a:r>
              <a:rPr lang="en-US" dirty="0"/>
              <a:t>. . .</a:t>
            </a:r>
          </a:p>
          <a:p>
            <a:pPr fontAlgn="auto">
              <a:spcBef>
                <a:spcPts val="0"/>
              </a:spcBef>
              <a:spcAft>
                <a:spcPts val="0"/>
              </a:spcAft>
              <a:defRPr/>
            </a:pPr>
            <a:endParaRPr lang="en-US" dirty="0"/>
          </a:p>
          <a:p>
            <a:pPr fontAlgn="auto">
              <a:spcBef>
                <a:spcPts val="0"/>
              </a:spcBef>
              <a:spcAft>
                <a:spcPts val="0"/>
              </a:spcAft>
              <a:defRPr/>
            </a:pPr>
            <a:r>
              <a:rPr lang="en-US" dirty="0"/>
              <a:t>f) to obtain an improper advantage or benefit, fraudulently, for modifications or extensions in contracts entered into with the public administration, not authorized by law, the invitation to the public request for bid, or the respective contractual instruments; or </a:t>
            </a:r>
          </a:p>
          <a:p>
            <a:pPr fontAlgn="auto">
              <a:spcBef>
                <a:spcPts val="0"/>
              </a:spcBef>
              <a:spcAft>
                <a:spcPts val="0"/>
              </a:spcAft>
              <a:defRPr/>
            </a:pPr>
            <a:r>
              <a:rPr lang="en-US" dirty="0"/>
              <a:t>g) to manipulate or defraud the economic and financial balance of contracts entered into with the public administration; </a:t>
            </a:r>
          </a:p>
        </p:txBody>
      </p:sp>
      <p:sp>
        <p:nvSpPr>
          <p:cNvPr id="49156" name="Slide Number Placeholder 3">
            <a:extLst>
              <a:ext uri="{FF2B5EF4-FFF2-40B4-BE49-F238E27FC236}">
                <a16:creationId xmlns:a16="http://schemas.microsoft.com/office/drawing/2014/main" id="{305ED445-9192-4E82-B052-FF95ED1B3340}"/>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EAAF9716-1DA8-4235-831F-6132713F6412}" type="slidenum">
              <a:rPr kumimoji="0" lang="en-US" alt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42</a:t>
            </a:fld>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Slide Image Placeholder 1">
            <a:extLst>
              <a:ext uri="{FF2B5EF4-FFF2-40B4-BE49-F238E27FC236}">
                <a16:creationId xmlns:a16="http://schemas.microsoft.com/office/drawing/2014/main" id="{B01549BA-3B53-4DED-833C-3D1E618807CB}"/>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6867" name="Notes Placeholder 2">
            <a:extLst>
              <a:ext uri="{FF2B5EF4-FFF2-40B4-BE49-F238E27FC236}">
                <a16:creationId xmlns:a16="http://schemas.microsoft.com/office/drawing/2014/main" id="{DC602588-F433-4BD5-A122-3597F614A64C}"/>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r>
              <a:rPr lang="en-US" altLang="en-US">
                <a:latin typeface="Arial" panose="020B0604020202020204" pitchFamily="34" charset="0"/>
              </a:rPr>
              <a:t>http://www.gouvernement.fr/en/sapin-ii-law-transparency-the-fight-against-corruption-modernisation-of-the-economy</a:t>
            </a:r>
          </a:p>
        </p:txBody>
      </p:sp>
      <p:sp>
        <p:nvSpPr>
          <p:cNvPr id="36868" name="Slide Number Placeholder 3">
            <a:extLst>
              <a:ext uri="{FF2B5EF4-FFF2-40B4-BE49-F238E27FC236}">
                <a16:creationId xmlns:a16="http://schemas.microsoft.com/office/drawing/2014/main" id="{17E6F6FE-7E85-4EC6-91A5-8F8AB2788F08}"/>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Garamond" panose="02020404030301010803" pitchFamily="18" charset="0"/>
              </a:defRPr>
            </a:lvl1pPr>
            <a:lvl2pPr marL="742950" indent="-285750">
              <a:defRPr>
                <a:solidFill>
                  <a:schemeClr val="tx1"/>
                </a:solidFill>
                <a:latin typeface="Garamond" panose="02020404030301010803" pitchFamily="18" charset="0"/>
              </a:defRPr>
            </a:lvl2pPr>
            <a:lvl3pPr marL="1143000" indent="-228600">
              <a:defRPr>
                <a:solidFill>
                  <a:schemeClr val="tx1"/>
                </a:solidFill>
                <a:latin typeface="Garamond" panose="02020404030301010803" pitchFamily="18" charset="0"/>
              </a:defRPr>
            </a:lvl3pPr>
            <a:lvl4pPr marL="1600200" indent="-228600">
              <a:defRPr>
                <a:solidFill>
                  <a:schemeClr val="tx1"/>
                </a:solidFill>
                <a:latin typeface="Garamond" panose="02020404030301010803" pitchFamily="18" charset="0"/>
              </a:defRPr>
            </a:lvl4pPr>
            <a:lvl5pPr marL="2057400" indent="-228600">
              <a:defRPr>
                <a:solidFill>
                  <a:schemeClr val="tx1"/>
                </a:solidFill>
                <a:latin typeface="Garamond" panose="02020404030301010803" pitchFamily="18" charset="0"/>
              </a:defRPr>
            </a:lvl5pPr>
            <a:lvl6pPr marL="2514600" indent="-228600" fontAlgn="base">
              <a:spcBef>
                <a:spcPct val="0"/>
              </a:spcBef>
              <a:spcAft>
                <a:spcPct val="0"/>
              </a:spcAft>
              <a:defRPr>
                <a:solidFill>
                  <a:schemeClr val="tx1"/>
                </a:solidFill>
                <a:latin typeface="Garamond" panose="02020404030301010803" pitchFamily="18" charset="0"/>
              </a:defRPr>
            </a:lvl6pPr>
            <a:lvl7pPr marL="2971800" indent="-228600" fontAlgn="base">
              <a:spcBef>
                <a:spcPct val="0"/>
              </a:spcBef>
              <a:spcAft>
                <a:spcPct val="0"/>
              </a:spcAft>
              <a:defRPr>
                <a:solidFill>
                  <a:schemeClr val="tx1"/>
                </a:solidFill>
                <a:latin typeface="Garamond" panose="02020404030301010803" pitchFamily="18" charset="0"/>
              </a:defRPr>
            </a:lvl7pPr>
            <a:lvl8pPr marL="3429000" indent="-228600" fontAlgn="base">
              <a:spcBef>
                <a:spcPct val="0"/>
              </a:spcBef>
              <a:spcAft>
                <a:spcPct val="0"/>
              </a:spcAft>
              <a:defRPr>
                <a:solidFill>
                  <a:schemeClr val="tx1"/>
                </a:solidFill>
                <a:latin typeface="Garamond" panose="02020404030301010803" pitchFamily="18" charset="0"/>
              </a:defRPr>
            </a:lvl8pPr>
            <a:lvl9pPr marL="3886200" indent="-228600" fontAlgn="base">
              <a:spcBef>
                <a:spcPct val="0"/>
              </a:spcBef>
              <a:spcAft>
                <a:spcPct val="0"/>
              </a:spcAft>
              <a:defRPr>
                <a:solidFill>
                  <a:schemeClr val="tx1"/>
                </a:solidFill>
                <a:latin typeface="Garamond" panose="02020404030301010803" pitchFamily="18"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BE277354-FAEF-47D6-8D03-3D04D6E5491D}" type="slidenum">
              <a:rPr kumimoji="0" lang="en-US" altLang="en-US" sz="1200" b="0"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43</a:t>
            </a:fld>
            <a:endParaRPr kumimoji="0" lang="en-US" alt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134680131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Slide Image Placeholder 1">
            <a:extLst>
              <a:ext uri="{FF2B5EF4-FFF2-40B4-BE49-F238E27FC236}">
                <a16:creationId xmlns:a16="http://schemas.microsoft.com/office/drawing/2014/main" id="{F8B520C5-060B-406E-9110-D702D7694FA1}"/>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7891" name="Notes Placeholder 2">
            <a:extLst>
              <a:ext uri="{FF2B5EF4-FFF2-40B4-BE49-F238E27FC236}">
                <a16:creationId xmlns:a16="http://schemas.microsoft.com/office/drawing/2014/main" id="{F2DC1826-0910-47CA-8413-D07452482560}"/>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r>
              <a:rPr lang="fr-FR" altLang="en-US" b="1">
                <a:latin typeface="Arial" panose="020B0604020202020204" pitchFamily="34" charset="0"/>
              </a:rPr>
              <a:t>Article 17 </a:t>
            </a:r>
            <a:r>
              <a:rPr lang="fr-FR" altLang="en-US" b="1" u="sng">
                <a:latin typeface="Arial" panose="020B0604020202020204" pitchFamily="34" charset="0"/>
                <a:hlinkClick r:id="rId3" tooltip="En savoir plus sur l'article 17"/>
              </a:rPr>
              <a:t>En savoir plus sur cet article...</a:t>
            </a:r>
            <a:endParaRPr lang="fr-FR" altLang="en-US" b="1">
              <a:latin typeface="Arial" panose="020B0604020202020204" pitchFamily="34" charset="0"/>
            </a:endParaRPr>
          </a:p>
          <a:p>
            <a:pPr>
              <a:spcBef>
                <a:spcPct val="0"/>
              </a:spcBef>
            </a:pPr>
            <a:br>
              <a:rPr lang="fr-FR" altLang="en-US">
                <a:latin typeface="Arial" panose="020B0604020202020204" pitchFamily="34" charset="0"/>
              </a:rPr>
            </a:br>
            <a:r>
              <a:rPr lang="fr-FR" altLang="en-US">
                <a:latin typeface="Arial" panose="020B0604020202020204" pitchFamily="34" charset="0"/>
              </a:rPr>
              <a:t>I. - Les présidents, les directeurs généraux et les gérants d'une société employant au moins cinq cents salariés, ou appartenant à un groupe de sociétés dont la société mère a son siège social en France et dont l'effectif comprend au moins cinq cents salariés, et dont le chiffre d'affaires ou le chiffre d'affaires consolidé est supérieur à 100 millions d'euros sont tenus de prendre les mesures destinées à prévenir et à détecter la commission, en France ou à l'étranger, de faits de corruption ou de trafic d'influence selon les modalités prévues au II.</a:t>
            </a:r>
            <a:br>
              <a:rPr lang="fr-FR" altLang="en-US">
                <a:latin typeface="Arial" panose="020B0604020202020204" pitchFamily="34" charset="0"/>
              </a:rPr>
            </a:br>
            <a:r>
              <a:rPr lang="fr-FR" altLang="en-US">
                <a:latin typeface="Arial" panose="020B0604020202020204" pitchFamily="34" charset="0"/>
              </a:rPr>
              <a:t>Cette obligation s'impose également :</a:t>
            </a:r>
            <a:br>
              <a:rPr lang="fr-FR" altLang="en-US">
                <a:latin typeface="Arial" panose="020B0604020202020204" pitchFamily="34" charset="0"/>
              </a:rPr>
            </a:br>
            <a:r>
              <a:rPr lang="fr-FR" altLang="en-US">
                <a:latin typeface="Arial" panose="020B0604020202020204" pitchFamily="34" charset="0"/>
              </a:rPr>
              <a:t>1° Aux présidents et directeurs généraux d'établissements publics à caractère industriel et commercial employant au moins cinq cents salariés, ou appartenant à un groupe public dont l'effectif comprend au moins cinq cents salariés, et dont le chiffre d'affaires ou le chiffre d'affaires consolidé est supérieur à 100 millions d'euros ;</a:t>
            </a:r>
            <a:br>
              <a:rPr lang="fr-FR" altLang="en-US">
                <a:latin typeface="Arial" panose="020B0604020202020204" pitchFamily="34" charset="0"/>
              </a:rPr>
            </a:br>
            <a:r>
              <a:rPr lang="fr-FR" altLang="en-US">
                <a:latin typeface="Arial" panose="020B0604020202020204" pitchFamily="34" charset="0"/>
              </a:rPr>
              <a:t>2° Selon les attributions qu'ils exercent, aux membres du directoire des sociétés anonymes régies par l'article L. 225-57 du code de commerce et employant au moins cinq cents salariés, ou appartenant à un groupe de sociétés dont l'effectif comprend au moins cinq cents salariés, et dont le chiffre d'affaires ou le chiffre d'affaires consolidé est supérieur à 100 millions d'euros.</a:t>
            </a:r>
            <a:br>
              <a:rPr lang="fr-FR" altLang="en-US">
                <a:latin typeface="Arial" panose="020B0604020202020204" pitchFamily="34" charset="0"/>
              </a:rPr>
            </a:br>
            <a:r>
              <a:rPr lang="fr-FR" altLang="en-US">
                <a:latin typeface="Arial" panose="020B0604020202020204" pitchFamily="34" charset="0"/>
              </a:rPr>
              <a:t>Lorsque la société établit des comptes consolidés, les obligations définies au présent article portent sur la société elle-même ainsi que sur l'ensemble de ses filiales, au sens de l'article L. 233-1 du code de commerce, ou des sociétés qu'elle contrôle, au sens de l'article L. 233-3 du même code. Les filiales ou sociétés contrôlées qui dépassent les seuils mentionnés au présent I sont réputées satisfaire aux obligations prévues au présent article dès lors que la société qui les contrôle, au sens du même article L. 233-3, met en œuvre les mesures et procédures prévues au II du présent article et que ces mesures et procédures s'appliquent à l'ensemble des filiales ou sociétés qu'elle contrôle.</a:t>
            </a:r>
            <a:br>
              <a:rPr lang="fr-FR" altLang="en-US">
                <a:latin typeface="Arial" panose="020B0604020202020204" pitchFamily="34" charset="0"/>
              </a:rPr>
            </a:br>
            <a:r>
              <a:rPr lang="fr-FR" altLang="en-US">
                <a:latin typeface="Arial" panose="020B0604020202020204" pitchFamily="34" charset="0"/>
              </a:rPr>
              <a:t>II. - Les personnes mentionnées au I mettent en œuvre les mesures et procédures suivantes :</a:t>
            </a:r>
            <a:br>
              <a:rPr lang="fr-FR" altLang="en-US">
                <a:latin typeface="Arial" panose="020B0604020202020204" pitchFamily="34" charset="0"/>
              </a:rPr>
            </a:br>
            <a:r>
              <a:rPr lang="fr-FR" altLang="en-US">
                <a:latin typeface="Arial" panose="020B0604020202020204" pitchFamily="34" charset="0"/>
              </a:rPr>
              <a:t>1° Un code de conduite définissant et illustrant les différents types de comportements à proscrire comme étant susceptibles de caractériser des faits de corruption ou de trafic d'influence. Ce code de conduite est intégré au règlement intérieur de l'entreprise et fait l'objet, à ce titre, de la procédure de consultation des représentants du personnel prévue à l'article L. 1321-4 du code du travail ;</a:t>
            </a:r>
            <a:br>
              <a:rPr lang="fr-FR" altLang="en-US">
                <a:latin typeface="Arial" panose="020B0604020202020204" pitchFamily="34" charset="0"/>
              </a:rPr>
            </a:br>
            <a:r>
              <a:rPr lang="fr-FR" altLang="en-US">
                <a:latin typeface="Arial" panose="020B0604020202020204" pitchFamily="34" charset="0"/>
              </a:rPr>
              <a:t>2° Un dispositif d'alerte interne destiné à permettre le recueil des signalements émanant d'employés et relatifs à l'existence de conduites ou de situations contraires au code de conduite de la société ;</a:t>
            </a:r>
            <a:br>
              <a:rPr lang="fr-FR" altLang="en-US">
                <a:latin typeface="Arial" panose="020B0604020202020204" pitchFamily="34" charset="0"/>
              </a:rPr>
            </a:br>
            <a:r>
              <a:rPr lang="fr-FR" altLang="en-US">
                <a:latin typeface="Arial" panose="020B0604020202020204" pitchFamily="34" charset="0"/>
              </a:rPr>
              <a:t>3° Une cartographie des risques prenant la forme d'une documentation régulièrement actualisée et destinée à identifier, analyser et hiérarchiser les risques d'exposition de la société à des sollicitations externes aux fins de corruption, en fonction notamment des secteurs d'activités et des zones géographiques dans lesquels la société exerce son activité ;</a:t>
            </a:r>
            <a:br>
              <a:rPr lang="fr-FR" altLang="en-US">
                <a:latin typeface="Arial" panose="020B0604020202020204" pitchFamily="34" charset="0"/>
              </a:rPr>
            </a:br>
            <a:r>
              <a:rPr lang="fr-FR" altLang="en-US">
                <a:latin typeface="Arial" panose="020B0604020202020204" pitchFamily="34" charset="0"/>
              </a:rPr>
              <a:t>4° Des procédures d'évaluation de la situation des clients, fournisseurs de premier rang et intermédiaires au regard de la cartographie des risques ;</a:t>
            </a:r>
            <a:br>
              <a:rPr lang="fr-FR" altLang="en-US">
                <a:latin typeface="Arial" panose="020B0604020202020204" pitchFamily="34" charset="0"/>
              </a:rPr>
            </a:br>
            <a:r>
              <a:rPr lang="fr-FR" altLang="en-US">
                <a:latin typeface="Arial" panose="020B0604020202020204" pitchFamily="34" charset="0"/>
              </a:rPr>
              <a:t>5° Des procédures de contrôles comptables, internes ou externes, destinées à s'assurer que les livres, registres et comptes ne sont pas utilisés pour masquer des faits de corruption ou de trafic d'influence. Ces contrôles peuvent être réalisés soit par les services de contrôle comptable et financier propres à la société, soit en ayant recours à un auditeur externe à l'occasion de l'accomplissement des audits de certification de comptes prévus à l'article L. 823-9 du code de commerce ;</a:t>
            </a:r>
            <a:br>
              <a:rPr lang="fr-FR" altLang="en-US">
                <a:latin typeface="Arial" panose="020B0604020202020204" pitchFamily="34" charset="0"/>
              </a:rPr>
            </a:br>
            <a:r>
              <a:rPr lang="fr-FR" altLang="en-US">
                <a:latin typeface="Arial" panose="020B0604020202020204" pitchFamily="34" charset="0"/>
              </a:rPr>
              <a:t>6° Un dispositif de formation destiné aux cadres et aux personnels les plus exposés aux risques de corruption et de trafic d'influence ;</a:t>
            </a:r>
            <a:br>
              <a:rPr lang="fr-FR" altLang="en-US">
                <a:latin typeface="Arial" panose="020B0604020202020204" pitchFamily="34" charset="0"/>
              </a:rPr>
            </a:br>
            <a:r>
              <a:rPr lang="fr-FR" altLang="en-US">
                <a:latin typeface="Arial" panose="020B0604020202020204" pitchFamily="34" charset="0"/>
              </a:rPr>
              <a:t>7° Un régime disciplinaire permettant de sanctionner les salariés de la société en cas de violation du code de conduite de la société ;</a:t>
            </a:r>
            <a:br>
              <a:rPr lang="fr-FR" altLang="en-US">
                <a:latin typeface="Arial" panose="020B0604020202020204" pitchFamily="34" charset="0"/>
              </a:rPr>
            </a:br>
            <a:r>
              <a:rPr lang="fr-FR" altLang="en-US">
                <a:latin typeface="Arial" panose="020B0604020202020204" pitchFamily="34" charset="0"/>
              </a:rPr>
              <a:t>8° Un dispositif de contrôle et d'évaluation interne des mesures mises en œuvre.</a:t>
            </a:r>
            <a:br>
              <a:rPr lang="fr-FR" altLang="en-US">
                <a:latin typeface="Arial" panose="020B0604020202020204" pitchFamily="34" charset="0"/>
              </a:rPr>
            </a:br>
            <a:r>
              <a:rPr lang="fr-FR" altLang="en-US">
                <a:latin typeface="Arial" panose="020B0604020202020204" pitchFamily="34" charset="0"/>
              </a:rPr>
              <a:t>Indépendamment de la responsabilité des personnes mentionnées au I du présent article, la société est également responsable en tant que personne morale en cas de manquement aux obligations prévues au présent II.</a:t>
            </a:r>
            <a:br>
              <a:rPr lang="fr-FR" altLang="en-US">
                <a:latin typeface="Arial" panose="020B0604020202020204" pitchFamily="34" charset="0"/>
              </a:rPr>
            </a:br>
            <a:r>
              <a:rPr lang="fr-FR" altLang="en-US">
                <a:latin typeface="Arial" panose="020B0604020202020204" pitchFamily="34" charset="0"/>
              </a:rPr>
              <a:t>III. - L'Agence française anticorruption contrôle le respect des mesures et procédures mentionnées au II du présent article.</a:t>
            </a:r>
            <a:br>
              <a:rPr lang="fr-FR" altLang="en-US">
                <a:latin typeface="Arial" panose="020B0604020202020204" pitchFamily="34" charset="0"/>
              </a:rPr>
            </a:br>
            <a:r>
              <a:rPr lang="fr-FR" altLang="en-US">
                <a:latin typeface="Arial" panose="020B0604020202020204" pitchFamily="34" charset="0"/>
              </a:rPr>
              <a:t>Le contrôle est réalisé selon les modalités prévues à l'article 4. Il donne lieu à l'établissement d'un rapport transmis à l'autorité qui a demandé le contrôle et aux représentants de la société contrôlée. Le rapport contient les observations de l'agence sur la qualité du dispositif de prévention et de détection de la corruption mis en place au sein de la société contrôlée ainsi que, le cas échéant, des recommandations en vue de l'amélioration des procédures existantes.</a:t>
            </a:r>
            <a:br>
              <a:rPr lang="fr-FR" altLang="en-US">
                <a:latin typeface="Arial" panose="020B0604020202020204" pitchFamily="34" charset="0"/>
              </a:rPr>
            </a:br>
            <a:r>
              <a:rPr lang="fr-FR" altLang="en-US">
                <a:latin typeface="Arial" panose="020B0604020202020204" pitchFamily="34" charset="0"/>
              </a:rPr>
              <a:t>IV. - En cas de manquement constaté, et après avoir mis la personne concernée en mesure de présenter ses observations, le magistrat qui dirige l'agence peut adresser un avertissement aux représentants de la société.</a:t>
            </a:r>
            <a:br>
              <a:rPr lang="fr-FR" altLang="en-US">
                <a:latin typeface="Arial" panose="020B0604020202020204" pitchFamily="34" charset="0"/>
              </a:rPr>
            </a:br>
            <a:r>
              <a:rPr lang="fr-FR" altLang="en-US">
                <a:latin typeface="Arial" panose="020B0604020202020204" pitchFamily="34" charset="0"/>
              </a:rPr>
              <a:t>Il peut saisir la commission des sanctions afin que soit enjoint à la société et à ses représentants d'adapter les procédures de conformité internes destinées à la prévention et à la détection des faits de corruption ou de trafic d'influence.</a:t>
            </a:r>
            <a:br>
              <a:rPr lang="fr-FR" altLang="en-US">
                <a:latin typeface="Arial" panose="020B0604020202020204" pitchFamily="34" charset="0"/>
              </a:rPr>
            </a:br>
            <a:r>
              <a:rPr lang="fr-FR" altLang="en-US">
                <a:latin typeface="Arial" panose="020B0604020202020204" pitchFamily="34" charset="0"/>
              </a:rPr>
              <a:t>Il peut également saisir la commission des sanctions afin que soit infligée une sanction pécuniaire. Dans ce cas, il notifie les griefs à la personne physique mise en cause et, s'agissant d'une personne morale, à son représentant légal.</a:t>
            </a:r>
            <a:br>
              <a:rPr lang="fr-FR" altLang="en-US">
                <a:latin typeface="Arial" panose="020B0604020202020204" pitchFamily="34" charset="0"/>
              </a:rPr>
            </a:br>
            <a:r>
              <a:rPr lang="fr-FR" altLang="en-US">
                <a:latin typeface="Arial" panose="020B0604020202020204" pitchFamily="34" charset="0"/>
              </a:rPr>
              <a:t>V. - La commission des sanctions peut enjoindre à la société et à ses représentants d'adapter les procédures de conformité internes à la société destinées à la prévention et à la détection des faits de corruption ou de trafic d'influence, selon les recommandations qu'elle leur adresse à cette fin, dans un délai qu'elle fixe et qui ne peut excéder trois ans.</a:t>
            </a:r>
            <a:br>
              <a:rPr lang="fr-FR" altLang="en-US">
                <a:latin typeface="Arial" panose="020B0604020202020204" pitchFamily="34" charset="0"/>
              </a:rPr>
            </a:br>
            <a:r>
              <a:rPr lang="fr-FR" altLang="en-US">
                <a:latin typeface="Arial" panose="020B0604020202020204" pitchFamily="34" charset="0"/>
              </a:rPr>
              <a:t>La commission des sanctions peut prononcer une sanction pécuniaire dont le montant ne peut excéder 200 000 € pour les personnes physiques et un million d'euros pour les personnes morales.</a:t>
            </a:r>
            <a:br>
              <a:rPr lang="fr-FR" altLang="en-US">
                <a:latin typeface="Arial" panose="020B0604020202020204" pitchFamily="34" charset="0"/>
              </a:rPr>
            </a:br>
            <a:r>
              <a:rPr lang="fr-FR" altLang="en-US">
                <a:latin typeface="Arial" panose="020B0604020202020204" pitchFamily="34" charset="0"/>
              </a:rPr>
              <a:t>Le montant de la sanction pécuniaire prononcée est proportionné à la gravité des manquements constatés et à la situation financière de la personne physique ou morale sanctionnée.</a:t>
            </a:r>
            <a:br>
              <a:rPr lang="fr-FR" altLang="en-US">
                <a:latin typeface="Arial" panose="020B0604020202020204" pitchFamily="34" charset="0"/>
              </a:rPr>
            </a:br>
            <a:r>
              <a:rPr lang="fr-FR" altLang="en-US">
                <a:latin typeface="Arial" panose="020B0604020202020204" pitchFamily="34" charset="0"/>
              </a:rPr>
              <a:t>La commission des sanctions peut ordonner la publication, la diffusion ou l'affichage de la décision d'injonction ou de sanction pécuniaire ou d'un extrait de celle-ci, selon les modalités qu'elle précise. Les frais sont supportés par la personne physique ou morale sanctionnée.</a:t>
            </a:r>
            <a:br>
              <a:rPr lang="fr-FR" altLang="en-US">
                <a:latin typeface="Arial" panose="020B0604020202020204" pitchFamily="34" charset="0"/>
              </a:rPr>
            </a:br>
            <a:r>
              <a:rPr lang="fr-FR" altLang="en-US">
                <a:latin typeface="Arial" panose="020B0604020202020204" pitchFamily="34" charset="0"/>
              </a:rPr>
              <a:t>La commission des sanctions statue par décision motivée. Aucune sanction ni injonction ne peut être prononcée sans que la personne concernée ou son représentant ait été entendu ou, à défaut, dûment convoqué.</a:t>
            </a:r>
            <a:br>
              <a:rPr lang="fr-FR" altLang="en-US">
                <a:latin typeface="Arial" panose="020B0604020202020204" pitchFamily="34" charset="0"/>
              </a:rPr>
            </a:br>
            <a:r>
              <a:rPr lang="fr-FR" altLang="en-US">
                <a:latin typeface="Arial" panose="020B0604020202020204" pitchFamily="34" charset="0"/>
              </a:rPr>
              <a:t>Les sanctions pécuniaires sont versées au Trésor public et recouvrées comme créances de l'Etat étrangères à l'impôt et au domaine.</a:t>
            </a:r>
            <a:br>
              <a:rPr lang="fr-FR" altLang="en-US">
                <a:latin typeface="Arial" panose="020B0604020202020204" pitchFamily="34" charset="0"/>
              </a:rPr>
            </a:br>
            <a:r>
              <a:rPr lang="fr-FR" altLang="en-US">
                <a:latin typeface="Arial" panose="020B0604020202020204" pitchFamily="34" charset="0"/>
              </a:rPr>
              <a:t>Un décret en Conseil d'Etat précise les conditions de fonctionnement de la commission, notamment les conditions de récusation de ses membres.</a:t>
            </a:r>
            <a:br>
              <a:rPr lang="fr-FR" altLang="en-US">
                <a:latin typeface="Arial" panose="020B0604020202020204" pitchFamily="34" charset="0"/>
              </a:rPr>
            </a:br>
            <a:r>
              <a:rPr lang="fr-FR" altLang="en-US">
                <a:latin typeface="Arial" panose="020B0604020202020204" pitchFamily="34" charset="0"/>
              </a:rPr>
              <a:t>VI. - L'action de l'Agence française anticorruption se prescrit par trois années révolues à compter du jour où le manquement a été constaté si, dans ce délai, il n'a été fait aucun acte tendant à la sanction de ce manquement.</a:t>
            </a:r>
            <a:br>
              <a:rPr lang="fr-FR" altLang="en-US">
                <a:latin typeface="Arial" panose="020B0604020202020204" pitchFamily="34" charset="0"/>
              </a:rPr>
            </a:br>
            <a:r>
              <a:rPr lang="fr-FR" altLang="en-US">
                <a:latin typeface="Arial" panose="020B0604020202020204" pitchFamily="34" charset="0"/>
              </a:rPr>
              <a:t>VII. - Les recours formés contre les décisions de la commission des sanctions sont des recours de pleine juridiction.</a:t>
            </a:r>
            <a:br>
              <a:rPr lang="fr-FR" altLang="en-US">
                <a:latin typeface="Arial" panose="020B0604020202020204" pitchFamily="34" charset="0"/>
              </a:rPr>
            </a:br>
            <a:r>
              <a:rPr lang="fr-FR" altLang="en-US">
                <a:latin typeface="Arial" panose="020B0604020202020204" pitchFamily="34" charset="0"/>
              </a:rPr>
              <a:t>VIII. - Le présent article entre en vigueur le premier jour du sixième mois suivant la promulgation de la présente loi.</a:t>
            </a:r>
          </a:p>
          <a:p>
            <a:pPr>
              <a:spcBef>
                <a:spcPct val="0"/>
              </a:spcBef>
            </a:pPr>
            <a:endParaRPr lang="en-US" altLang="en-US">
              <a:latin typeface="Arial" panose="020B0604020202020204" pitchFamily="34" charset="0"/>
            </a:endParaRPr>
          </a:p>
        </p:txBody>
      </p:sp>
      <p:sp>
        <p:nvSpPr>
          <p:cNvPr id="37892" name="Slide Number Placeholder 3">
            <a:extLst>
              <a:ext uri="{FF2B5EF4-FFF2-40B4-BE49-F238E27FC236}">
                <a16:creationId xmlns:a16="http://schemas.microsoft.com/office/drawing/2014/main" id="{E09AC33D-F884-496A-BCE6-875BA5F91C4A}"/>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Garamond" panose="02020404030301010803" pitchFamily="18" charset="0"/>
              </a:defRPr>
            </a:lvl1pPr>
            <a:lvl2pPr marL="742950" indent="-285750">
              <a:defRPr>
                <a:solidFill>
                  <a:schemeClr val="tx1"/>
                </a:solidFill>
                <a:latin typeface="Garamond" panose="02020404030301010803" pitchFamily="18" charset="0"/>
              </a:defRPr>
            </a:lvl2pPr>
            <a:lvl3pPr marL="1143000" indent="-228600">
              <a:defRPr>
                <a:solidFill>
                  <a:schemeClr val="tx1"/>
                </a:solidFill>
                <a:latin typeface="Garamond" panose="02020404030301010803" pitchFamily="18" charset="0"/>
              </a:defRPr>
            </a:lvl3pPr>
            <a:lvl4pPr marL="1600200" indent="-228600">
              <a:defRPr>
                <a:solidFill>
                  <a:schemeClr val="tx1"/>
                </a:solidFill>
                <a:latin typeface="Garamond" panose="02020404030301010803" pitchFamily="18" charset="0"/>
              </a:defRPr>
            </a:lvl4pPr>
            <a:lvl5pPr marL="2057400" indent="-228600">
              <a:defRPr>
                <a:solidFill>
                  <a:schemeClr val="tx1"/>
                </a:solidFill>
                <a:latin typeface="Garamond" panose="02020404030301010803" pitchFamily="18" charset="0"/>
              </a:defRPr>
            </a:lvl5pPr>
            <a:lvl6pPr marL="2514600" indent="-228600" fontAlgn="base">
              <a:spcBef>
                <a:spcPct val="0"/>
              </a:spcBef>
              <a:spcAft>
                <a:spcPct val="0"/>
              </a:spcAft>
              <a:defRPr>
                <a:solidFill>
                  <a:schemeClr val="tx1"/>
                </a:solidFill>
                <a:latin typeface="Garamond" panose="02020404030301010803" pitchFamily="18" charset="0"/>
              </a:defRPr>
            </a:lvl6pPr>
            <a:lvl7pPr marL="2971800" indent="-228600" fontAlgn="base">
              <a:spcBef>
                <a:spcPct val="0"/>
              </a:spcBef>
              <a:spcAft>
                <a:spcPct val="0"/>
              </a:spcAft>
              <a:defRPr>
                <a:solidFill>
                  <a:schemeClr val="tx1"/>
                </a:solidFill>
                <a:latin typeface="Garamond" panose="02020404030301010803" pitchFamily="18" charset="0"/>
              </a:defRPr>
            </a:lvl7pPr>
            <a:lvl8pPr marL="3429000" indent="-228600" fontAlgn="base">
              <a:spcBef>
                <a:spcPct val="0"/>
              </a:spcBef>
              <a:spcAft>
                <a:spcPct val="0"/>
              </a:spcAft>
              <a:defRPr>
                <a:solidFill>
                  <a:schemeClr val="tx1"/>
                </a:solidFill>
                <a:latin typeface="Garamond" panose="02020404030301010803" pitchFamily="18" charset="0"/>
              </a:defRPr>
            </a:lvl8pPr>
            <a:lvl9pPr marL="3886200" indent="-228600" fontAlgn="base">
              <a:spcBef>
                <a:spcPct val="0"/>
              </a:spcBef>
              <a:spcAft>
                <a:spcPct val="0"/>
              </a:spcAft>
              <a:defRPr>
                <a:solidFill>
                  <a:schemeClr val="tx1"/>
                </a:solidFill>
                <a:latin typeface="Garamond" panose="02020404030301010803" pitchFamily="18"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84F27589-A483-4A46-9985-3E1CE3D5CD8C}" type="slidenum">
              <a:rPr kumimoji="0" lang="en-US" altLang="en-US" sz="1200" b="0"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44</a:t>
            </a:fld>
            <a:endParaRPr kumimoji="0" lang="en-US" alt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16456740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Slide Image Placeholder 1">
            <a:extLst>
              <a:ext uri="{FF2B5EF4-FFF2-40B4-BE49-F238E27FC236}">
                <a16:creationId xmlns:a16="http://schemas.microsoft.com/office/drawing/2014/main" id="{F8E4FC22-5D96-45E9-AE2D-032400AE4AE3}"/>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0179" name="Notes Placeholder 2">
            <a:extLst>
              <a:ext uri="{FF2B5EF4-FFF2-40B4-BE49-F238E27FC236}">
                <a16:creationId xmlns:a16="http://schemas.microsoft.com/office/drawing/2014/main" id="{2FC8A5C8-FE90-42FA-9A12-7F2AD3EBC6F2}"/>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US" altLang="en-US"/>
          </a:p>
        </p:txBody>
      </p:sp>
      <p:sp>
        <p:nvSpPr>
          <p:cNvPr id="50180" name="Slide Number Placeholder 3">
            <a:extLst>
              <a:ext uri="{FF2B5EF4-FFF2-40B4-BE49-F238E27FC236}">
                <a16:creationId xmlns:a16="http://schemas.microsoft.com/office/drawing/2014/main" id="{E781112E-75C1-401F-9224-9C6B187033B9}"/>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38C7FE72-D099-457A-9584-E678F10BDB1D}" type="slidenum">
              <a:rPr kumimoji="0" lang="en-US" altLang="en-US" sz="1200" b="0" i="0" u="none" strike="noStrike" kern="1200" cap="none" spc="0" normalizeH="0" baseline="0" noProof="0" smtClean="0">
                <a:ln>
                  <a:noFill/>
                </a:ln>
                <a:solidFill>
                  <a:prstClr val="black"/>
                </a:solidFill>
                <a:effectLst/>
                <a:uLnTx/>
                <a:uFillTx/>
                <a:latin typeface="Calibri" panose="020F050202020403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48</a:t>
            </a:fld>
            <a:endParaRPr kumimoji="0" lang="en-US" altLang="en-US" sz="1200" b="0" i="0" u="none" strike="noStrike" kern="1200" cap="none" spc="0" normalizeH="0" baseline="0" noProof="0">
              <a:ln>
                <a:noFill/>
              </a:ln>
              <a:solidFill>
                <a:prstClr val="black"/>
              </a:solidFill>
              <a:effectLst/>
              <a:uLnTx/>
              <a:uFillTx/>
              <a:latin typeface="Calibri" panose="020F0502020204030204" pitchFamily="34" charset="0"/>
              <a:ea typeface="+mn-ea"/>
              <a:cs typeface="Arial" panose="020B0604020202020204" pitchFamily="34" charset="0"/>
            </a:endParaRPr>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Slide Image Placeholder 1">
            <a:extLst>
              <a:ext uri="{FF2B5EF4-FFF2-40B4-BE49-F238E27FC236}">
                <a16:creationId xmlns:a16="http://schemas.microsoft.com/office/drawing/2014/main" id="{FDCDB8C3-6A31-48BB-999C-71EE3F046412}"/>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1203" name="Notes Placeholder 2">
            <a:extLst>
              <a:ext uri="{FF2B5EF4-FFF2-40B4-BE49-F238E27FC236}">
                <a16:creationId xmlns:a16="http://schemas.microsoft.com/office/drawing/2014/main" id="{CCBBFD35-1242-4FF5-9C92-E17EC0D8C169}"/>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r>
              <a:rPr lang="en-US" altLang="en-US">
                <a:latin typeface="Arial" panose="020B0604020202020204" pitchFamily="34" charset="0"/>
              </a:rPr>
              <a:t>Sources:</a:t>
            </a:r>
          </a:p>
          <a:p>
            <a:pPr>
              <a:spcBef>
                <a:spcPct val="0"/>
              </a:spcBef>
            </a:pPr>
            <a:endParaRPr lang="en-US" altLang="en-US">
              <a:latin typeface="Arial" panose="020B0604020202020204" pitchFamily="34" charset="0"/>
            </a:endParaRPr>
          </a:p>
          <a:p>
            <a:pPr>
              <a:spcBef>
                <a:spcPct val="0"/>
              </a:spcBef>
            </a:pPr>
            <a:r>
              <a:rPr lang="en-US" altLang="en-US">
                <a:latin typeface="Arial" panose="020B0604020202020204" pitchFamily="34" charset="0"/>
              </a:rPr>
              <a:t>Serious Fraud Office, </a:t>
            </a:r>
            <a:r>
              <a:rPr lang="en-US" altLang="en-US" i="1">
                <a:latin typeface="Arial" panose="020B0604020202020204" pitchFamily="34" charset="0"/>
              </a:rPr>
              <a:t>Approach of the Serious Fraud Office to Dealing with Overseas Corruption</a:t>
            </a:r>
            <a:r>
              <a:rPr lang="en-US" altLang="en-US">
                <a:latin typeface="Arial" panose="020B0604020202020204" pitchFamily="34" charset="0"/>
              </a:rPr>
              <a:t>, at 1 (2009), </a:t>
            </a:r>
            <a:r>
              <a:rPr lang="en-US" altLang="en-US" i="1">
                <a:latin typeface="Arial" panose="020B0604020202020204" pitchFamily="34" charset="0"/>
              </a:rPr>
              <a:t>available at http://www.sfo.gov.uk/media/28313/approach%20of%20the%20sfo%20to%20dealing%20with%20overseas%20corruption.pdf. </a:t>
            </a:r>
            <a:endParaRPr lang="en-US" altLang="en-US">
              <a:latin typeface="Arial" panose="020B0604020202020204" pitchFamily="34" charset="0"/>
            </a:endParaRPr>
          </a:p>
          <a:p>
            <a:pPr>
              <a:spcBef>
                <a:spcPct val="0"/>
              </a:spcBef>
            </a:pPr>
            <a:endParaRPr lang="en-US" altLang="en-US">
              <a:latin typeface="Arial" panose="020B0604020202020204" pitchFamily="34" charset="0"/>
            </a:endParaRPr>
          </a:p>
          <a:p>
            <a:pPr>
              <a:spcBef>
                <a:spcPct val="0"/>
              </a:spcBef>
            </a:pPr>
            <a:r>
              <a:rPr lang="en-US" altLang="en-US">
                <a:latin typeface="Arial" panose="020B0604020202020204" pitchFamily="34" charset="0"/>
              </a:rPr>
              <a:t>Lord Bach, </a:t>
            </a:r>
            <a:r>
              <a:rPr lang="en-US" altLang="en-US" i="1">
                <a:latin typeface="Arial" panose="020B0604020202020204" pitchFamily="34" charset="0"/>
              </a:rPr>
              <a:t>Letter to Lord Henley re: Bribery Bill -- “Adequate Procedures’ Guidance </a:t>
            </a:r>
            <a:r>
              <a:rPr lang="en-US" altLang="en-US">
                <a:latin typeface="Arial" panose="020B0604020202020204" pitchFamily="34" charset="0"/>
              </a:rPr>
              <a:t>(Dec. 2009), </a:t>
            </a:r>
            <a:r>
              <a:rPr lang="en-US" altLang="en-US" i="1">
                <a:latin typeface="Arial" panose="020B0604020202020204" pitchFamily="34" charset="0"/>
              </a:rPr>
              <a:t>http://www.justice.gov.uk/publications/docs/bach-letter-adequate-procedures-guidance.pdf</a:t>
            </a:r>
            <a:r>
              <a:rPr lang="en-US" altLang="en-US">
                <a:latin typeface="Arial" panose="020B0604020202020204" pitchFamily="34" charset="0"/>
              </a:rPr>
              <a:t>. </a:t>
            </a:r>
          </a:p>
          <a:p>
            <a:pPr>
              <a:spcBef>
                <a:spcPct val="0"/>
              </a:spcBef>
            </a:pPr>
            <a:endParaRPr lang="en-US" altLang="en-US"/>
          </a:p>
          <a:p>
            <a:pPr>
              <a:spcBef>
                <a:spcPct val="0"/>
              </a:spcBef>
            </a:pPr>
            <a:r>
              <a:rPr lang="en-US" altLang="en-US"/>
              <a:t>Ministry of Justice, </a:t>
            </a:r>
            <a:r>
              <a:rPr lang="en-US" altLang="en-US" i="1"/>
              <a:t>Consultation on Guidance About Commercial Organisations Preventing Bribery (Section 9 of the Bribery Act 2010)</a:t>
            </a:r>
            <a:endParaRPr lang="en-US" altLang="en-US">
              <a:latin typeface="Arial" panose="020B0604020202020204" pitchFamily="34" charset="0"/>
            </a:endParaRPr>
          </a:p>
        </p:txBody>
      </p:sp>
      <p:sp>
        <p:nvSpPr>
          <p:cNvPr id="51204" name="Slide Number Placeholder 3">
            <a:extLst>
              <a:ext uri="{FF2B5EF4-FFF2-40B4-BE49-F238E27FC236}">
                <a16:creationId xmlns:a16="http://schemas.microsoft.com/office/drawing/2014/main" id="{43AC2B9E-9726-46A0-BF65-2457C92170F2}"/>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9AA4740F-D2C8-4912-A778-408E6C339171}" type="slidenum">
              <a:rPr kumimoji="0" lang="en-US" alt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51</a:t>
            </a:fld>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Slide Image Placeholder 1">
            <a:extLst>
              <a:ext uri="{FF2B5EF4-FFF2-40B4-BE49-F238E27FC236}">
                <a16:creationId xmlns:a16="http://schemas.microsoft.com/office/drawing/2014/main" id="{F74D6EFD-6F75-4B23-94BD-A6751A0C8107}"/>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8915" name="Notes Placeholder 2">
            <a:extLst>
              <a:ext uri="{FF2B5EF4-FFF2-40B4-BE49-F238E27FC236}">
                <a16:creationId xmlns:a16="http://schemas.microsoft.com/office/drawing/2014/main" id="{3108A17E-5BBD-468E-915F-8761BC26C583}"/>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US" altLang="en-US">
              <a:latin typeface="Arial" panose="020B0604020202020204" pitchFamily="34" charset="0"/>
            </a:endParaRPr>
          </a:p>
        </p:txBody>
      </p:sp>
      <p:sp>
        <p:nvSpPr>
          <p:cNvPr id="38916" name="Slide Number Placeholder 3">
            <a:extLst>
              <a:ext uri="{FF2B5EF4-FFF2-40B4-BE49-F238E27FC236}">
                <a16:creationId xmlns:a16="http://schemas.microsoft.com/office/drawing/2014/main" id="{0C1E12B0-94AE-4DAC-92D6-73EC5CF44A6E}"/>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Garamond" panose="02020404030301010803" pitchFamily="18" charset="0"/>
              </a:defRPr>
            </a:lvl1pPr>
            <a:lvl2pPr marL="742950" indent="-285750">
              <a:defRPr>
                <a:solidFill>
                  <a:schemeClr val="tx1"/>
                </a:solidFill>
                <a:latin typeface="Garamond" panose="02020404030301010803" pitchFamily="18" charset="0"/>
              </a:defRPr>
            </a:lvl2pPr>
            <a:lvl3pPr marL="1143000" indent="-228600">
              <a:defRPr>
                <a:solidFill>
                  <a:schemeClr val="tx1"/>
                </a:solidFill>
                <a:latin typeface="Garamond" panose="02020404030301010803" pitchFamily="18" charset="0"/>
              </a:defRPr>
            </a:lvl3pPr>
            <a:lvl4pPr marL="1600200" indent="-228600">
              <a:defRPr>
                <a:solidFill>
                  <a:schemeClr val="tx1"/>
                </a:solidFill>
                <a:latin typeface="Garamond" panose="02020404030301010803" pitchFamily="18" charset="0"/>
              </a:defRPr>
            </a:lvl4pPr>
            <a:lvl5pPr marL="2057400" indent="-228600">
              <a:defRPr>
                <a:solidFill>
                  <a:schemeClr val="tx1"/>
                </a:solidFill>
                <a:latin typeface="Garamond" panose="02020404030301010803" pitchFamily="18" charset="0"/>
              </a:defRPr>
            </a:lvl5pPr>
            <a:lvl6pPr marL="2514600" indent="-228600" fontAlgn="base">
              <a:spcBef>
                <a:spcPct val="0"/>
              </a:spcBef>
              <a:spcAft>
                <a:spcPct val="0"/>
              </a:spcAft>
              <a:defRPr>
                <a:solidFill>
                  <a:schemeClr val="tx1"/>
                </a:solidFill>
                <a:latin typeface="Garamond" panose="02020404030301010803" pitchFamily="18" charset="0"/>
              </a:defRPr>
            </a:lvl6pPr>
            <a:lvl7pPr marL="2971800" indent="-228600" fontAlgn="base">
              <a:spcBef>
                <a:spcPct val="0"/>
              </a:spcBef>
              <a:spcAft>
                <a:spcPct val="0"/>
              </a:spcAft>
              <a:defRPr>
                <a:solidFill>
                  <a:schemeClr val="tx1"/>
                </a:solidFill>
                <a:latin typeface="Garamond" panose="02020404030301010803" pitchFamily="18" charset="0"/>
              </a:defRPr>
            </a:lvl7pPr>
            <a:lvl8pPr marL="3429000" indent="-228600" fontAlgn="base">
              <a:spcBef>
                <a:spcPct val="0"/>
              </a:spcBef>
              <a:spcAft>
                <a:spcPct val="0"/>
              </a:spcAft>
              <a:defRPr>
                <a:solidFill>
                  <a:schemeClr val="tx1"/>
                </a:solidFill>
                <a:latin typeface="Garamond" panose="02020404030301010803" pitchFamily="18" charset="0"/>
              </a:defRPr>
            </a:lvl8pPr>
            <a:lvl9pPr marL="3886200" indent="-228600" fontAlgn="base">
              <a:spcBef>
                <a:spcPct val="0"/>
              </a:spcBef>
              <a:spcAft>
                <a:spcPct val="0"/>
              </a:spcAft>
              <a:defRPr>
                <a:solidFill>
                  <a:schemeClr val="tx1"/>
                </a:solidFill>
                <a:latin typeface="Garamond" panose="02020404030301010803" pitchFamily="18"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2EB51575-8CD8-484F-B558-BFB00EEDB3C1}" type="slidenum">
              <a:rPr kumimoji="0" lang="en-US" altLang="en-US" sz="1200" b="0"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53</a:t>
            </a:fld>
            <a:endParaRPr kumimoji="0" lang="en-US" alt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59928871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Rectangle 7">
            <a:extLst>
              <a:ext uri="{FF2B5EF4-FFF2-40B4-BE49-F238E27FC236}">
                <a16:creationId xmlns:a16="http://schemas.microsoft.com/office/drawing/2014/main" id="{6C4D8392-3554-4F62-A6E6-8E4B3F426CF3}"/>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02B76F48-459E-444B-B080-D3C9772D33A7}" type="slidenum">
              <a:rPr kumimoji="0" lang="en-US" alt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56</a:t>
            </a:fld>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2227" name="Rectangle 2">
            <a:extLst>
              <a:ext uri="{FF2B5EF4-FFF2-40B4-BE49-F238E27FC236}">
                <a16:creationId xmlns:a16="http://schemas.microsoft.com/office/drawing/2014/main" id="{9C2AB1A8-A4BE-44B5-BE55-CD27A6E248BA}"/>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2228" name="Rectangle 3">
            <a:extLst>
              <a:ext uri="{FF2B5EF4-FFF2-40B4-BE49-F238E27FC236}">
                <a16:creationId xmlns:a16="http://schemas.microsoft.com/office/drawing/2014/main" id="{3FCB1292-6086-4C99-A1F6-FAAAFD8FA9C0}"/>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r>
              <a:rPr lang="en-US" altLang="en-US">
                <a:latin typeface="Arial" panose="020B0604020202020204" pitchFamily="34" charset="0"/>
              </a:rPr>
              <a:t>In individual procurements, individual contracting officers assess the prospective contractor’s “responsibility” – whether that contractor is “qualified” to perform the work on that individual contract, both in terms of systems and in terms of its ethics.</a:t>
            </a:r>
          </a:p>
          <a:p>
            <a:pPr>
              <a:spcBef>
                <a:spcPct val="0"/>
              </a:spcBef>
            </a:pPr>
            <a:endParaRPr lang="en-US" altLang="en-US">
              <a:latin typeface="Arial" panose="020B0604020202020204" pitchFamily="34" charset="0"/>
            </a:endParaRPr>
          </a:p>
          <a:p>
            <a:pPr>
              <a:spcBef>
                <a:spcPct val="0"/>
              </a:spcBef>
            </a:pPr>
            <a:r>
              <a:rPr lang="en-US" altLang="en-US">
                <a:latin typeface="Arial" panose="020B0604020202020204" pitchFamily="34" charset="0"/>
              </a:rPr>
              <a:t>An agency’s Suspension and Debarment Official takes a much broader view – he or she assesses the contractor’s present responsibility for ALL prospective contracts.</a:t>
            </a:r>
          </a:p>
          <a:p>
            <a:pPr>
              <a:spcBef>
                <a:spcPct val="0"/>
              </a:spcBef>
            </a:pPr>
            <a:endParaRPr lang="en-US" altLang="en-US">
              <a:latin typeface="Arial" panose="020B0604020202020204" pitchFamily="34" charset="0"/>
            </a:endParaRPr>
          </a:p>
          <a:p>
            <a:pPr>
              <a:spcBef>
                <a:spcPct val="0"/>
              </a:spcBef>
            </a:pPr>
            <a:r>
              <a:rPr lang="en-US" altLang="en-US">
                <a:latin typeface="Arial" panose="020B0604020202020204" pitchFamily="34" charset="0"/>
              </a:rPr>
              <a:t>When a contractor is debarred for procurement purposes, that is, in effect, a finding that the contractor cannot and should not be found responsible (or qualified) in ANY procurement.</a:t>
            </a: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9986" name="Slide Image Placeholder 1">
            <a:extLst>
              <a:ext uri="{FF2B5EF4-FFF2-40B4-BE49-F238E27FC236}">
                <a16:creationId xmlns:a16="http://schemas.microsoft.com/office/drawing/2014/main" id="{C1DFC245-5E97-4A1C-8CDA-609D287F0AEC}"/>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69987" name="Notes Placeholder 2">
            <a:extLst>
              <a:ext uri="{FF2B5EF4-FFF2-40B4-BE49-F238E27FC236}">
                <a16:creationId xmlns:a16="http://schemas.microsoft.com/office/drawing/2014/main" id="{288F104F-B514-4D3E-B30B-6FDD5DB4B1AA}"/>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US" altLang="en-US"/>
          </a:p>
        </p:txBody>
      </p:sp>
      <p:sp>
        <p:nvSpPr>
          <p:cNvPr id="169988" name="Slide Number Placeholder 3">
            <a:extLst>
              <a:ext uri="{FF2B5EF4-FFF2-40B4-BE49-F238E27FC236}">
                <a16:creationId xmlns:a16="http://schemas.microsoft.com/office/drawing/2014/main" id="{4F3842C7-EE00-41B8-8AF4-4C4066FBBFFB}"/>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Perpetua" panose="02020502060401020303" pitchFamily="18" charset="0"/>
              </a:defRPr>
            </a:lvl1pPr>
            <a:lvl2pPr marL="741363" indent="-284163">
              <a:defRPr>
                <a:solidFill>
                  <a:schemeClr val="tx1"/>
                </a:solidFill>
                <a:latin typeface="Perpetua" panose="02020502060401020303" pitchFamily="18" charset="0"/>
              </a:defRPr>
            </a:lvl2pPr>
            <a:lvl3pPr marL="1141413" indent="-227013">
              <a:defRPr>
                <a:solidFill>
                  <a:schemeClr val="tx1"/>
                </a:solidFill>
                <a:latin typeface="Perpetua" panose="02020502060401020303" pitchFamily="18" charset="0"/>
              </a:defRPr>
            </a:lvl3pPr>
            <a:lvl4pPr marL="1598613" indent="-227013">
              <a:defRPr>
                <a:solidFill>
                  <a:schemeClr val="tx1"/>
                </a:solidFill>
                <a:latin typeface="Perpetua" panose="02020502060401020303" pitchFamily="18" charset="0"/>
              </a:defRPr>
            </a:lvl4pPr>
            <a:lvl5pPr marL="2055813" indent="-227013">
              <a:defRPr>
                <a:solidFill>
                  <a:schemeClr val="tx1"/>
                </a:solidFill>
                <a:latin typeface="Perpetua" panose="02020502060401020303" pitchFamily="18" charset="0"/>
              </a:defRPr>
            </a:lvl5pPr>
            <a:lvl6pPr marL="2513013" indent="-227013" fontAlgn="base">
              <a:spcBef>
                <a:spcPct val="0"/>
              </a:spcBef>
              <a:spcAft>
                <a:spcPct val="0"/>
              </a:spcAft>
              <a:defRPr>
                <a:solidFill>
                  <a:schemeClr val="tx1"/>
                </a:solidFill>
                <a:latin typeface="Perpetua" panose="02020502060401020303" pitchFamily="18" charset="0"/>
              </a:defRPr>
            </a:lvl6pPr>
            <a:lvl7pPr marL="2970213" indent="-227013" fontAlgn="base">
              <a:spcBef>
                <a:spcPct val="0"/>
              </a:spcBef>
              <a:spcAft>
                <a:spcPct val="0"/>
              </a:spcAft>
              <a:defRPr>
                <a:solidFill>
                  <a:schemeClr val="tx1"/>
                </a:solidFill>
                <a:latin typeface="Perpetua" panose="02020502060401020303" pitchFamily="18" charset="0"/>
              </a:defRPr>
            </a:lvl7pPr>
            <a:lvl8pPr marL="3427413" indent="-227013" fontAlgn="base">
              <a:spcBef>
                <a:spcPct val="0"/>
              </a:spcBef>
              <a:spcAft>
                <a:spcPct val="0"/>
              </a:spcAft>
              <a:defRPr>
                <a:solidFill>
                  <a:schemeClr val="tx1"/>
                </a:solidFill>
                <a:latin typeface="Perpetua" panose="02020502060401020303" pitchFamily="18" charset="0"/>
              </a:defRPr>
            </a:lvl8pPr>
            <a:lvl9pPr marL="3884613" indent="-227013" fontAlgn="base">
              <a:spcBef>
                <a:spcPct val="0"/>
              </a:spcBef>
              <a:spcAft>
                <a:spcPct val="0"/>
              </a:spcAft>
              <a:defRPr>
                <a:solidFill>
                  <a:schemeClr val="tx1"/>
                </a:solidFill>
                <a:latin typeface="Perpetua" panose="02020502060401020303" pitchFamily="18"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9FAEED6A-EB90-4A67-BD64-74303F03B894}" type="slidenum">
              <a:rPr kumimoji="0" lang="en-US" altLang="en-US" sz="1200" b="0" i="0" u="none" strike="noStrike" kern="1200" cap="none" spc="0" normalizeH="0" baseline="0" noProof="0" smtClean="0">
                <a:ln>
                  <a:noFill/>
                </a:ln>
                <a:solidFill>
                  <a:prstClr val="black"/>
                </a:solidFill>
                <a:effectLst/>
                <a:uLnTx/>
                <a:uFillTx/>
                <a:latin typeface="Calibri" panose="020F050202020403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6</a:t>
            </a:fld>
            <a:endParaRPr kumimoji="0" lang="en-US" altLang="en-US" sz="1200" b="0" i="0" u="none" strike="noStrike" kern="1200" cap="none" spc="0" normalizeH="0" baseline="0" noProof="0">
              <a:ln>
                <a:noFill/>
              </a:ln>
              <a:solidFill>
                <a:prstClr val="black"/>
              </a:solidFill>
              <a:effectLst/>
              <a:uLnTx/>
              <a:uFillTx/>
              <a:latin typeface="Calibri" panose="020F0502020204030204" pitchFamily="34" charset="0"/>
              <a:ea typeface="+mn-ea"/>
              <a:cs typeface="Arial" panose="020B0604020202020204" pitchFamily="34" charset="0"/>
            </a:endParaRPr>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0" name="Slide Image Placeholder 1">
            <a:extLst>
              <a:ext uri="{FF2B5EF4-FFF2-40B4-BE49-F238E27FC236}">
                <a16:creationId xmlns:a16="http://schemas.microsoft.com/office/drawing/2014/main" id="{B4D6B922-07EF-4AB5-9C44-223E97ED7350}"/>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 name="Notes Placeholder 2">
            <a:extLst>
              <a:ext uri="{FF2B5EF4-FFF2-40B4-BE49-F238E27FC236}">
                <a16:creationId xmlns:a16="http://schemas.microsoft.com/office/drawing/2014/main" id="{73E03AD1-63D2-43E2-930F-33113959B25C}"/>
              </a:ext>
            </a:extLst>
          </p:cNvPr>
          <p:cNvSpPr>
            <a:spLocks noGrp="1"/>
          </p:cNvSpPr>
          <p:nvPr>
            <p:ph type="body" idx="1"/>
          </p:nvPr>
        </p:nvSpPr>
        <p:spPr/>
        <p:txBody>
          <a:bodyPr>
            <a:normAutofit fontScale="25000" lnSpcReduction="20000"/>
          </a:bodyPr>
          <a:lstStyle/>
          <a:p>
            <a:pPr fontAlgn="auto">
              <a:spcBef>
                <a:spcPts val="0"/>
              </a:spcBef>
              <a:spcAft>
                <a:spcPts val="0"/>
              </a:spcAft>
              <a:defRPr/>
            </a:pPr>
            <a:r>
              <a:rPr lang="en-US" dirty="0"/>
              <a:t>New European Procurement Directive:</a:t>
            </a:r>
          </a:p>
          <a:p>
            <a:pPr fontAlgn="auto">
              <a:spcBef>
                <a:spcPts val="0"/>
              </a:spcBef>
              <a:spcAft>
                <a:spcPts val="0"/>
              </a:spcAft>
              <a:defRPr/>
            </a:pPr>
            <a:endParaRPr lang="en-US" dirty="0"/>
          </a:p>
          <a:p>
            <a:pPr fontAlgn="auto">
              <a:spcBef>
                <a:spcPts val="0"/>
              </a:spcBef>
              <a:spcAft>
                <a:spcPts val="0"/>
              </a:spcAft>
              <a:defRPr/>
            </a:pPr>
            <a:r>
              <a:rPr lang="en-US" dirty="0"/>
              <a:t>(100)</a:t>
            </a:r>
          </a:p>
          <a:p>
            <a:pPr fontAlgn="auto">
              <a:spcBef>
                <a:spcPts val="0"/>
              </a:spcBef>
              <a:spcAft>
                <a:spcPts val="0"/>
              </a:spcAft>
              <a:defRPr/>
            </a:pPr>
            <a:r>
              <a:rPr lang="en-US" dirty="0"/>
              <a:t>Public contracts should not be awarded to economic operators that have participated in a criminal </a:t>
            </a:r>
            <a:r>
              <a:rPr lang="en-US" dirty="0" err="1"/>
              <a:t>organisation</a:t>
            </a:r>
            <a:r>
              <a:rPr lang="en-US" dirty="0"/>
              <a:t> or have been found guilty of corruption, fraud to the detriment of the Union’s financial interests, terrorist offences, money laundering or terrorist financing. The non-payment of taxes or social security contributions should also lead to mandatory exclusion at the level of the Union. Member States should, however, be able to provide for a derogation from those mandatory exclusions in exceptional situations where overriding requirements in the general interest make a contract award indispensable. This might, for example, be the case where urgently needed vaccines or emergency equipment can only be purchased from an economic operator to whom one of the mandatory grounds for exclusion otherwise applies.</a:t>
            </a:r>
          </a:p>
          <a:p>
            <a:pPr fontAlgn="auto">
              <a:spcBef>
                <a:spcPts val="0"/>
              </a:spcBef>
              <a:spcAft>
                <a:spcPts val="0"/>
              </a:spcAft>
              <a:defRPr/>
            </a:pPr>
            <a:r>
              <a:rPr lang="en-US" dirty="0"/>
              <a:t>(101)</a:t>
            </a:r>
          </a:p>
          <a:p>
            <a:pPr fontAlgn="auto">
              <a:spcBef>
                <a:spcPts val="0"/>
              </a:spcBef>
              <a:spcAft>
                <a:spcPts val="0"/>
              </a:spcAft>
              <a:defRPr/>
            </a:pPr>
            <a:r>
              <a:rPr lang="en-US" dirty="0"/>
              <a:t>Contracting authorities should further be given the possibility to exclude economic operators which have proven unreliable, for instance because of violations of environmental or social obligations, including rules on accessibility for disabled persons or other forms of grave professional misconduct, such as violations of competition rules or of intellectual property rights. It should be clarified that grave professional misconduct can render an economic operator’s integrity questionable and thus render the economic operator unsuitable to receive the award of a public contract irrespective of whether the economic operator would otherwise have the technical and economical capacity to perform the contract.</a:t>
            </a:r>
          </a:p>
          <a:p>
            <a:pPr fontAlgn="auto">
              <a:spcBef>
                <a:spcPts val="0"/>
              </a:spcBef>
              <a:spcAft>
                <a:spcPts val="0"/>
              </a:spcAft>
              <a:defRPr/>
            </a:pPr>
            <a:r>
              <a:rPr lang="en-US" dirty="0"/>
              <a:t>Bearing in mind that the contracting authority will be responsible for the consequences of its possible erroneous decision, contracting authorities should also remain free to consider that there has been grave professional misconduct, where, before a final and binding decision on the presence of mandatory exclusion grounds has been rendered, they can demonstrate by any appropriate means that the economic operator has violated its obligations, including obligations relating to the payment of taxes or social security contributions, unless otherwise provided by national law. They should also be able to exclude candidates or </a:t>
            </a:r>
            <a:r>
              <a:rPr lang="en-US" dirty="0" err="1"/>
              <a:t>tenderers</a:t>
            </a:r>
            <a:r>
              <a:rPr lang="en-US" dirty="0"/>
              <a:t> whose performance in earlier public contracts has shown major deficiencies with regard to substantive requirements, for instance failure to deliver or perform, significant shortcomings of the product or service delivered, making it unusable for the intended purpose, or </a:t>
            </a:r>
            <a:r>
              <a:rPr lang="en-US" dirty="0" err="1"/>
              <a:t>misbehaviour</a:t>
            </a:r>
            <a:r>
              <a:rPr lang="en-US" dirty="0"/>
              <a:t> that casts serious doubts as to the reliability of the economic operator. National law should provide for a maximum duration for such exclusions.</a:t>
            </a:r>
          </a:p>
          <a:p>
            <a:pPr fontAlgn="auto">
              <a:spcBef>
                <a:spcPts val="0"/>
              </a:spcBef>
              <a:spcAft>
                <a:spcPts val="0"/>
              </a:spcAft>
              <a:defRPr/>
            </a:pPr>
            <a:r>
              <a:rPr lang="en-US" dirty="0"/>
              <a:t>In applying facultative grounds for exclusion, contracting authorities should pay particular attention to the principle of proportionality. Minor irregularities should only in exceptional circumstances lead to the exclusion of an economic operator. However repeated cases of minor irregularities can give rise to doubts about the reliability of an economic operator which might justify its exclusion.</a:t>
            </a:r>
          </a:p>
          <a:p>
            <a:pPr fontAlgn="auto">
              <a:spcBef>
                <a:spcPts val="0"/>
              </a:spcBef>
              <a:spcAft>
                <a:spcPts val="0"/>
              </a:spcAft>
              <a:defRPr/>
            </a:pPr>
            <a:endParaRPr lang="en-US" dirty="0"/>
          </a:p>
          <a:p>
            <a:pPr fontAlgn="auto">
              <a:spcBef>
                <a:spcPts val="0"/>
              </a:spcBef>
              <a:spcAft>
                <a:spcPts val="0"/>
              </a:spcAft>
              <a:defRPr/>
            </a:pPr>
            <a:r>
              <a:rPr lang="en-US" b="1" dirty="0"/>
              <a:t>Subsection 1</a:t>
            </a:r>
          </a:p>
          <a:p>
            <a:pPr fontAlgn="auto">
              <a:spcBef>
                <a:spcPts val="0"/>
              </a:spcBef>
              <a:spcAft>
                <a:spcPts val="0"/>
              </a:spcAft>
              <a:defRPr/>
            </a:pPr>
            <a:r>
              <a:rPr lang="en-US" b="1" dirty="0"/>
              <a:t>Criteria for qualitative selection</a:t>
            </a:r>
          </a:p>
          <a:p>
            <a:pPr fontAlgn="auto">
              <a:spcBef>
                <a:spcPts val="0"/>
              </a:spcBef>
              <a:spcAft>
                <a:spcPts val="0"/>
              </a:spcAft>
              <a:defRPr/>
            </a:pPr>
            <a:r>
              <a:rPr lang="en-US" i="1" dirty="0"/>
              <a:t>Article 57</a:t>
            </a:r>
          </a:p>
          <a:p>
            <a:pPr fontAlgn="auto">
              <a:spcBef>
                <a:spcPts val="0"/>
              </a:spcBef>
              <a:spcAft>
                <a:spcPts val="0"/>
              </a:spcAft>
              <a:defRPr/>
            </a:pPr>
            <a:r>
              <a:rPr lang="en-US" b="1" dirty="0"/>
              <a:t>Exclusion grounds</a:t>
            </a:r>
          </a:p>
          <a:p>
            <a:pPr fontAlgn="auto">
              <a:spcBef>
                <a:spcPts val="0"/>
              </a:spcBef>
              <a:spcAft>
                <a:spcPts val="0"/>
              </a:spcAft>
              <a:defRPr/>
            </a:pPr>
            <a:r>
              <a:rPr lang="en-US" dirty="0"/>
              <a:t>1.   Contracting authorities shall exclude an economic operator from participation in a procurement procedure where they have established, by verifying in accordance with Articles 59, 60 and 61, or are otherwise aware that that economic operator has been the subject of a conviction by final judgment for one of the following reasons:</a:t>
            </a:r>
          </a:p>
          <a:p>
            <a:pPr fontAlgn="auto">
              <a:spcBef>
                <a:spcPts val="0"/>
              </a:spcBef>
              <a:spcAft>
                <a:spcPts val="0"/>
              </a:spcAft>
              <a:defRPr/>
            </a:pPr>
            <a:r>
              <a:rPr lang="en-US" dirty="0"/>
              <a:t>(a)</a:t>
            </a:r>
          </a:p>
          <a:p>
            <a:pPr fontAlgn="auto">
              <a:spcBef>
                <a:spcPts val="0"/>
              </a:spcBef>
              <a:spcAft>
                <a:spcPts val="0"/>
              </a:spcAft>
              <a:defRPr/>
            </a:pPr>
            <a:r>
              <a:rPr lang="en-US" dirty="0"/>
              <a:t>participation in a criminal </a:t>
            </a:r>
            <a:r>
              <a:rPr lang="en-US" dirty="0" err="1"/>
              <a:t>organisation</a:t>
            </a:r>
            <a:r>
              <a:rPr lang="en-US" dirty="0"/>
              <a:t>, as defined in Article 2 of Council Framework Decision 2008/841/</a:t>
            </a:r>
            <a:r>
              <a:rPr lang="en-US" dirty="0" err="1"/>
              <a:t>JHA</a:t>
            </a:r>
            <a:r>
              <a:rPr lang="en-US" dirty="0">
                <a:hlinkClick r:id="rId3"/>
              </a:rPr>
              <a:t> (32)</a:t>
            </a:r>
            <a:r>
              <a:rPr lang="en-US" dirty="0"/>
              <a:t>;</a:t>
            </a:r>
          </a:p>
          <a:p>
            <a:pPr fontAlgn="auto">
              <a:spcBef>
                <a:spcPts val="0"/>
              </a:spcBef>
              <a:spcAft>
                <a:spcPts val="0"/>
              </a:spcAft>
              <a:defRPr/>
            </a:pPr>
            <a:r>
              <a:rPr lang="en-US" dirty="0"/>
              <a:t>(b)</a:t>
            </a:r>
          </a:p>
          <a:p>
            <a:pPr fontAlgn="auto">
              <a:spcBef>
                <a:spcPts val="0"/>
              </a:spcBef>
              <a:spcAft>
                <a:spcPts val="0"/>
              </a:spcAft>
              <a:defRPr/>
            </a:pPr>
            <a:r>
              <a:rPr lang="en-US" dirty="0"/>
              <a:t>corruption, as defined in Article 3 of the Convention on the fight against corruption involving officials of the European Communities or officials of Member States of the European Union</a:t>
            </a:r>
            <a:r>
              <a:rPr lang="en-US" dirty="0">
                <a:hlinkClick r:id="rId3"/>
              </a:rPr>
              <a:t> (33)</a:t>
            </a:r>
            <a:r>
              <a:rPr lang="en-US" dirty="0"/>
              <a:t> and Article 2(1) of Council Framework Decision 2003/568/</a:t>
            </a:r>
            <a:r>
              <a:rPr lang="en-US" dirty="0" err="1"/>
              <a:t>JHA</a:t>
            </a:r>
            <a:r>
              <a:rPr lang="en-US" dirty="0">
                <a:hlinkClick r:id="rId3"/>
              </a:rPr>
              <a:t> (34)</a:t>
            </a:r>
            <a:r>
              <a:rPr lang="en-US" dirty="0"/>
              <a:t> as well as corruption as defined in the national law of the contracting authority or the economic operator;</a:t>
            </a:r>
          </a:p>
          <a:p>
            <a:pPr fontAlgn="auto">
              <a:spcBef>
                <a:spcPts val="0"/>
              </a:spcBef>
              <a:spcAft>
                <a:spcPts val="0"/>
              </a:spcAft>
              <a:defRPr/>
            </a:pPr>
            <a:r>
              <a:rPr lang="en-US" dirty="0"/>
              <a:t>(c)</a:t>
            </a:r>
          </a:p>
          <a:p>
            <a:pPr fontAlgn="auto">
              <a:spcBef>
                <a:spcPts val="0"/>
              </a:spcBef>
              <a:spcAft>
                <a:spcPts val="0"/>
              </a:spcAft>
              <a:defRPr/>
            </a:pPr>
            <a:r>
              <a:rPr lang="en-US" dirty="0"/>
              <a:t>fraud within the meaning of Article 1 of the Convention on the protection of the European Communities’ financial interests</a:t>
            </a:r>
            <a:r>
              <a:rPr lang="en-US" dirty="0">
                <a:hlinkClick r:id="rId3"/>
              </a:rPr>
              <a:t> (35)</a:t>
            </a:r>
            <a:r>
              <a:rPr lang="en-US" dirty="0"/>
              <a:t>;</a:t>
            </a:r>
          </a:p>
          <a:p>
            <a:pPr fontAlgn="auto">
              <a:spcBef>
                <a:spcPts val="0"/>
              </a:spcBef>
              <a:spcAft>
                <a:spcPts val="0"/>
              </a:spcAft>
              <a:defRPr/>
            </a:pPr>
            <a:r>
              <a:rPr lang="en-US" dirty="0"/>
              <a:t>(d)</a:t>
            </a:r>
          </a:p>
          <a:p>
            <a:pPr fontAlgn="auto">
              <a:spcBef>
                <a:spcPts val="0"/>
              </a:spcBef>
              <a:spcAft>
                <a:spcPts val="0"/>
              </a:spcAft>
              <a:defRPr/>
            </a:pPr>
            <a:r>
              <a:rPr lang="en-US" dirty="0"/>
              <a:t>terrorist offences or offences linked to terrorist activities, as defined in Articles 1 and 3 of Council Framework Decision 2002/475/</a:t>
            </a:r>
            <a:r>
              <a:rPr lang="en-US" dirty="0" err="1"/>
              <a:t>JHA</a:t>
            </a:r>
            <a:r>
              <a:rPr lang="en-US" dirty="0">
                <a:hlinkClick r:id="rId3"/>
              </a:rPr>
              <a:t> (36)</a:t>
            </a:r>
            <a:r>
              <a:rPr lang="en-US" dirty="0"/>
              <a:t> respectively, or inciting or aiding or abetting or attempting to commit an offence, as referred to in Article 4 of that Framework Decision;</a:t>
            </a:r>
          </a:p>
          <a:p>
            <a:pPr fontAlgn="auto">
              <a:spcBef>
                <a:spcPts val="0"/>
              </a:spcBef>
              <a:spcAft>
                <a:spcPts val="0"/>
              </a:spcAft>
              <a:defRPr/>
            </a:pPr>
            <a:r>
              <a:rPr lang="en-US" dirty="0"/>
              <a:t>(e)</a:t>
            </a:r>
          </a:p>
          <a:p>
            <a:pPr fontAlgn="auto">
              <a:spcBef>
                <a:spcPts val="0"/>
              </a:spcBef>
              <a:spcAft>
                <a:spcPts val="0"/>
              </a:spcAft>
              <a:defRPr/>
            </a:pPr>
            <a:r>
              <a:rPr lang="en-US" dirty="0"/>
              <a:t>money laundering or terrorist financing, as defined in Article 1 of Directive 2005/60/EC of the European Parliament and of the Council</a:t>
            </a:r>
            <a:r>
              <a:rPr lang="en-US" dirty="0">
                <a:hlinkClick r:id="rId3"/>
              </a:rPr>
              <a:t> (37)</a:t>
            </a:r>
            <a:r>
              <a:rPr lang="en-US" dirty="0"/>
              <a:t>;</a:t>
            </a:r>
          </a:p>
          <a:p>
            <a:pPr fontAlgn="auto">
              <a:spcBef>
                <a:spcPts val="0"/>
              </a:spcBef>
              <a:spcAft>
                <a:spcPts val="0"/>
              </a:spcAft>
              <a:defRPr/>
            </a:pPr>
            <a:r>
              <a:rPr lang="en-US" dirty="0"/>
              <a:t>(f)</a:t>
            </a:r>
          </a:p>
          <a:p>
            <a:pPr fontAlgn="auto">
              <a:spcBef>
                <a:spcPts val="0"/>
              </a:spcBef>
              <a:spcAft>
                <a:spcPts val="0"/>
              </a:spcAft>
              <a:defRPr/>
            </a:pPr>
            <a:r>
              <a:rPr lang="en-US" dirty="0"/>
              <a:t>child </a:t>
            </a:r>
            <a:r>
              <a:rPr lang="en-US" dirty="0" err="1"/>
              <a:t>labour</a:t>
            </a:r>
            <a:r>
              <a:rPr lang="en-US" dirty="0"/>
              <a:t> and other forms of trafficking in human beings as defined in Article 2 of Directive 2011/36/EU of the European Parliament and of the Council</a:t>
            </a:r>
            <a:r>
              <a:rPr lang="en-US" dirty="0">
                <a:hlinkClick r:id="rId3"/>
              </a:rPr>
              <a:t> (38)</a:t>
            </a:r>
            <a:r>
              <a:rPr lang="en-US" dirty="0"/>
              <a:t>.</a:t>
            </a:r>
          </a:p>
          <a:p>
            <a:pPr fontAlgn="auto">
              <a:spcBef>
                <a:spcPts val="0"/>
              </a:spcBef>
              <a:spcAft>
                <a:spcPts val="0"/>
              </a:spcAft>
              <a:defRPr/>
            </a:pPr>
            <a:r>
              <a:rPr lang="en-US" dirty="0"/>
              <a:t>The obligation to exclude an economic operator shall also apply where the person convicted by final judgment is a member of the administrative, management or supervisory body of that economic operator or has powers of representation, decision or control therein.</a:t>
            </a:r>
          </a:p>
          <a:p>
            <a:pPr fontAlgn="auto">
              <a:spcBef>
                <a:spcPts val="0"/>
              </a:spcBef>
              <a:spcAft>
                <a:spcPts val="0"/>
              </a:spcAft>
              <a:defRPr/>
            </a:pPr>
            <a:r>
              <a:rPr lang="en-US" dirty="0"/>
              <a:t>2.   An economic operator shall be excluded from participation in a procurement procedure where the contracting authority is aware that the economic operator is in breach of its obligations relating to the payment of taxes or social security contributions and where this has been established by a judicial or administrative decision having final and binding effect in accordance with the legal provisions of the country in which it is established or with those of the Member State of the contracting authority.</a:t>
            </a:r>
          </a:p>
          <a:p>
            <a:pPr fontAlgn="auto">
              <a:spcBef>
                <a:spcPts val="0"/>
              </a:spcBef>
              <a:spcAft>
                <a:spcPts val="0"/>
              </a:spcAft>
              <a:defRPr/>
            </a:pPr>
            <a:r>
              <a:rPr lang="en-US" dirty="0"/>
              <a:t>Furthermore, contracting authorities may exclude or may be required by Member States to exclude from participation in a procurement procedure an economic operator where the contracting authority can demonstrate by any appropriate means that the economic operator is in breach of its obligations relating to the payment of taxes or social security contributions.</a:t>
            </a:r>
          </a:p>
          <a:p>
            <a:pPr fontAlgn="auto">
              <a:spcBef>
                <a:spcPts val="0"/>
              </a:spcBef>
              <a:spcAft>
                <a:spcPts val="0"/>
              </a:spcAft>
              <a:defRPr/>
            </a:pPr>
            <a:r>
              <a:rPr lang="en-US" dirty="0"/>
              <a:t>This paragraph shall no longer apply when the economic operator has fulfilled its obligations by paying or entering into a binding arrangement with a view to paying the taxes or social security contributions due, including, where applicable, any interest accrued or fines.</a:t>
            </a:r>
          </a:p>
          <a:p>
            <a:pPr fontAlgn="auto">
              <a:spcBef>
                <a:spcPts val="0"/>
              </a:spcBef>
              <a:spcAft>
                <a:spcPts val="0"/>
              </a:spcAft>
              <a:defRPr/>
            </a:pPr>
            <a:r>
              <a:rPr lang="en-US" dirty="0"/>
              <a:t>3.   Member States may provide for a derogation from the mandatory exclusion provided for in paragraphs 1 and 2, on an exceptional basis, for overriding reasons relating to the public interest such as public health or protection of the environment.</a:t>
            </a:r>
          </a:p>
          <a:p>
            <a:pPr fontAlgn="auto">
              <a:spcBef>
                <a:spcPts val="0"/>
              </a:spcBef>
              <a:spcAft>
                <a:spcPts val="0"/>
              </a:spcAft>
              <a:defRPr/>
            </a:pPr>
            <a:r>
              <a:rPr lang="en-US" dirty="0"/>
              <a:t>Member States may also provide for a derogation from the mandatory exclusion provided in paragraph 2, where an exclusion would be clearly disproportionate, in particular where only minor amounts of taxes or social security contributions are unpaid or where the economic operator was informed of the exact amount due following its breach of its obligations relating to the payment of taxes or social security contributions at such time that it did not have the possibility of taking measures as provided for in the third subparagraph of paragraph 2 before expiration of the deadline for requesting participation or, in open procedures, the deadline for submitting its tender.</a:t>
            </a:r>
          </a:p>
          <a:p>
            <a:pPr fontAlgn="auto">
              <a:spcBef>
                <a:spcPts val="0"/>
              </a:spcBef>
              <a:spcAft>
                <a:spcPts val="0"/>
              </a:spcAft>
              <a:defRPr/>
            </a:pPr>
            <a:r>
              <a:rPr lang="en-US" dirty="0"/>
              <a:t>4.   Contracting authorities may exclude or may be required by Member States to exclude from participation in a procurement procedure any economic operator in any of the following situations:</a:t>
            </a:r>
          </a:p>
          <a:p>
            <a:pPr fontAlgn="auto">
              <a:spcBef>
                <a:spcPts val="0"/>
              </a:spcBef>
              <a:spcAft>
                <a:spcPts val="0"/>
              </a:spcAft>
              <a:defRPr/>
            </a:pPr>
            <a:r>
              <a:rPr lang="en-US" dirty="0"/>
              <a:t>(a)</a:t>
            </a:r>
          </a:p>
          <a:p>
            <a:pPr fontAlgn="auto">
              <a:spcBef>
                <a:spcPts val="0"/>
              </a:spcBef>
              <a:spcAft>
                <a:spcPts val="0"/>
              </a:spcAft>
              <a:defRPr/>
            </a:pPr>
            <a:r>
              <a:rPr lang="en-US" dirty="0"/>
              <a:t>where the contracting authority can demonstrate by any appropriate means a violation of applicable obligations referred to in Article 18(2);</a:t>
            </a:r>
          </a:p>
          <a:p>
            <a:pPr fontAlgn="auto">
              <a:spcBef>
                <a:spcPts val="0"/>
              </a:spcBef>
              <a:spcAft>
                <a:spcPts val="0"/>
              </a:spcAft>
              <a:defRPr/>
            </a:pPr>
            <a:r>
              <a:rPr lang="en-US" dirty="0"/>
              <a:t>(b)</a:t>
            </a:r>
          </a:p>
          <a:p>
            <a:pPr fontAlgn="auto">
              <a:spcBef>
                <a:spcPts val="0"/>
              </a:spcBef>
              <a:spcAft>
                <a:spcPts val="0"/>
              </a:spcAft>
              <a:defRPr/>
            </a:pPr>
            <a:r>
              <a:rPr lang="en-US" dirty="0"/>
              <a:t>where the economic operator is bankrupt or is the subject of insolvency or winding-up proceedings, where its assets are being administered by a liquidator or by the court, where it is in an arrangement with creditors, where its business activities are suspended or it is in any analogous situation arising from a similar procedure under national laws and regulations;</a:t>
            </a:r>
          </a:p>
          <a:p>
            <a:pPr fontAlgn="auto">
              <a:spcBef>
                <a:spcPts val="0"/>
              </a:spcBef>
              <a:spcAft>
                <a:spcPts val="0"/>
              </a:spcAft>
              <a:defRPr/>
            </a:pPr>
            <a:r>
              <a:rPr lang="en-US" dirty="0"/>
              <a:t>(c)</a:t>
            </a:r>
          </a:p>
          <a:p>
            <a:pPr fontAlgn="auto">
              <a:spcBef>
                <a:spcPts val="0"/>
              </a:spcBef>
              <a:spcAft>
                <a:spcPts val="0"/>
              </a:spcAft>
              <a:defRPr/>
            </a:pPr>
            <a:r>
              <a:rPr lang="en-US" dirty="0"/>
              <a:t>where the contracting authority can demonstrate by appropriate means that the economic operator is guilty of grave professional misconduct, which renders its integrity questionable;</a:t>
            </a:r>
          </a:p>
          <a:p>
            <a:pPr fontAlgn="auto">
              <a:spcBef>
                <a:spcPts val="0"/>
              </a:spcBef>
              <a:spcAft>
                <a:spcPts val="0"/>
              </a:spcAft>
              <a:defRPr/>
            </a:pPr>
            <a:r>
              <a:rPr lang="en-US" dirty="0"/>
              <a:t>(d)</a:t>
            </a:r>
          </a:p>
          <a:p>
            <a:pPr fontAlgn="auto">
              <a:spcBef>
                <a:spcPts val="0"/>
              </a:spcBef>
              <a:spcAft>
                <a:spcPts val="0"/>
              </a:spcAft>
              <a:defRPr/>
            </a:pPr>
            <a:r>
              <a:rPr lang="en-US" dirty="0"/>
              <a:t>where the contracting authority has sufficiently plausible indications to conclude that the economic operator has entered into agreements with other economic operators aimed at distorting competition;</a:t>
            </a:r>
          </a:p>
          <a:p>
            <a:pPr fontAlgn="auto">
              <a:spcBef>
                <a:spcPts val="0"/>
              </a:spcBef>
              <a:spcAft>
                <a:spcPts val="0"/>
              </a:spcAft>
              <a:defRPr/>
            </a:pPr>
            <a:r>
              <a:rPr lang="en-US" dirty="0"/>
              <a:t>(e)</a:t>
            </a:r>
          </a:p>
          <a:p>
            <a:pPr fontAlgn="auto">
              <a:spcBef>
                <a:spcPts val="0"/>
              </a:spcBef>
              <a:spcAft>
                <a:spcPts val="0"/>
              </a:spcAft>
              <a:defRPr/>
            </a:pPr>
            <a:r>
              <a:rPr lang="en-US" dirty="0"/>
              <a:t>where a conflict of interest within the meaning of Article 24 cannot be effectively remedied by other less intrusive measures;</a:t>
            </a:r>
          </a:p>
          <a:p>
            <a:pPr fontAlgn="auto">
              <a:spcBef>
                <a:spcPts val="0"/>
              </a:spcBef>
              <a:spcAft>
                <a:spcPts val="0"/>
              </a:spcAft>
              <a:defRPr/>
            </a:pPr>
            <a:r>
              <a:rPr lang="en-US" dirty="0"/>
              <a:t>(f)</a:t>
            </a:r>
          </a:p>
          <a:p>
            <a:pPr fontAlgn="auto">
              <a:spcBef>
                <a:spcPts val="0"/>
              </a:spcBef>
              <a:spcAft>
                <a:spcPts val="0"/>
              </a:spcAft>
              <a:defRPr/>
            </a:pPr>
            <a:r>
              <a:rPr lang="en-US" dirty="0"/>
              <a:t>where a distortion of competition from the prior involvement of the economic operators in the preparation of the procurement procedure, as referred to in Article 41, cannot be remedied by other, less intrusive measures;</a:t>
            </a:r>
          </a:p>
          <a:p>
            <a:pPr fontAlgn="auto">
              <a:spcBef>
                <a:spcPts val="0"/>
              </a:spcBef>
              <a:spcAft>
                <a:spcPts val="0"/>
              </a:spcAft>
              <a:defRPr/>
            </a:pPr>
            <a:r>
              <a:rPr lang="en-US" dirty="0"/>
              <a:t>(g)</a:t>
            </a:r>
          </a:p>
          <a:p>
            <a:pPr fontAlgn="auto">
              <a:spcBef>
                <a:spcPts val="0"/>
              </a:spcBef>
              <a:spcAft>
                <a:spcPts val="0"/>
              </a:spcAft>
              <a:defRPr/>
            </a:pPr>
            <a:r>
              <a:rPr lang="en-US" dirty="0"/>
              <a:t>where the economic operator has shown significant or persistent deficiencies in the performance of a substantive requirement under a prior public contract, a prior contract with a contracting entity or a prior concession contract which led to early termination of that prior contract, damages or other comparable sanctions;</a:t>
            </a:r>
          </a:p>
          <a:p>
            <a:pPr fontAlgn="auto">
              <a:spcBef>
                <a:spcPts val="0"/>
              </a:spcBef>
              <a:spcAft>
                <a:spcPts val="0"/>
              </a:spcAft>
              <a:defRPr/>
            </a:pPr>
            <a:r>
              <a:rPr lang="en-US" dirty="0"/>
              <a:t>(h)</a:t>
            </a:r>
          </a:p>
          <a:p>
            <a:pPr fontAlgn="auto">
              <a:spcBef>
                <a:spcPts val="0"/>
              </a:spcBef>
              <a:spcAft>
                <a:spcPts val="0"/>
              </a:spcAft>
              <a:defRPr/>
            </a:pPr>
            <a:r>
              <a:rPr lang="en-US" dirty="0"/>
              <a:t>where the economic operator has been guilty of serious misrepresentation in supplying the information required for the verification of the absence of grounds for exclusion or the </a:t>
            </a:r>
            <a:r>
              <a:rPr lang="en-US" dirty="0" err="1"/>
              <a:t>fulfilment</a:t>
            </a:r>
            <a:r>
              <a:rPr lang="en-US" dirty="0"/>
              <a:t> of the selection criteria, has withheld such information or is not able to submit the supporting documents required pursuant to Article 59; or</a:t>
            </a:r>
          </a:p>
          <a:p>
            <a:pPr fontAlgn="auto">
              <a:spcBef>
                <a:spcPts val="0"/>
              </a:spcBef>
              <a:spcAft>
                <a:spcPts val="0"/>
              </a:spcAft>
              <a:defRPr/>
            </a:pPr>
            <a:r>
              <a:rPr lang="en-US" dirty="0"/>
              <a:t>(</a:t>
            </a:r>
            <a:r>
              <a:rPr lang="en-US" dirty="0" err="1"/>
              <a:t>i</a:t>
            </a:r>
            <a:r>
              <a:rPr lang="en-US" dirty="0"/>
              <a:t>)</a:t>
            </a:r>
          </a:p>
          <a:p>
            <a:pPr fontAlgn="auto">
              <a:spcBef>
                <a:spcPts val="0"/>
              </a:spcBef>
              <a:spcAft>
                <a:spcPts val="0"/>
              </a:spcAft>
              <a:defRPr/>
            </a:pPr>
            <a:r>
              <a:rPr lang="en-US" dirty="0"/>
              <a:t>where the economic operator has undertaken to unduly influence the decision-making process of the contracting authority, to obtain confidential information that may confer upon it undue advantages in the procurement procedure or to negligently provide misleading information that may have a material influence on decisions concerning exclusion, selection or award.</a:t>
            </a:r>
          </a:p>
          <a:p>
            <a:pPr fontAlgn="auto">
              <a:spcBef>
                <a:spcPts val="0"/>
              </a:spcBef>
              <a:spcAft>
                <a:spcPts val="0"/>
              </a:spcAft>
              <a:defRPr/>
            </a:pPr>
            <a:r>
              <a:rPr lang="en-US" dirty="0"/>
              <a:t>Notwithstanding point (b) of the first subparagraph, Member States may require or may provide for the possibility that the contracting authority does not exclude an economic operator which is in one of the situations referred to in that point, where the contracting authority has established that the economic operator in question will be able to perform the contract, taking into account the applicable national rules and measures on the continuation of business in the case of the situations referred to in point (b).</a:t>
            </a:r>
          </a:p>
          <a:p>
            <a:pPr fontAlgn="auto">
              <a:spcBef>
                <a:spcPts val="0"/>
              </a:spcBef>
              <a:spcAft>
                <a:spcPts val="0"/>
              </a:spcAft>
              <a:defRPr/>
            </a:pPr>
            <a:r>
              <a:rPr lang="en-US" dirty="0"/>
              <a:t>5.   Contracting authorities shall at any time during the procedure exclude an economic operator where it turns out that the economic operator is, in view of acts committed or omitted either before or during the procedure, in one of the situations referred to in paragraphs 1 and 2.</a:t>
            </a:r>
          </a:p>
          <a:p>
            <a:pPr fontAlgn="auto">
              <a:spcBef>
                <a:spcPts val="0"/>
              </a:spcBef>
              <a:spcAft>
                <a:spcPts val="0"/>
              </a:spcAft>
              <a:defRPr/>
            </a:pPr>
            <a:r>
              <a:rPr lang="en-US" dirty="0"/>
              <a:t>At any time during the procedure, contracting authorities may exclude or may be required by Member States to exclude an economic operator where it turns out that the economic operator is, in view of acts committed or omitted either before or during the procedure, in one of the situations referred to in paragraph 4.</a:t>
            </a:r>
          </a:p>
          <a:p>
            <a:pPr fontAlgn="auto">
              <a:spcBef>
                <a:spcPts val="0"/>
              </a:spcBef>
              <a:spcAft>
                <a:spcPts val="0"/>
              </a:spcAft>
              <a:defRPr/>
            </a:pPr>
            <a:r>
              <a:rPr lang="en-US" dirty="0"/>
              <a:t>6.   Any economic operator that is in one of the situations referred to in paragraphs 1 and 4 may provide evidence to the effect that measures taken by the economic operator are sufficient to demonstrate its reliability despite the existence of a relevant ground for exclusion. If such evidence is considered as sufficient, the economic operator concerned shall not be excluded from the procurement procedure.</a:t>
            </a:r>
          </a:p>
          <a:p>
            <a:pPr fontAlgn="auto">
              <a:spcBef>
                <a:spcPts val="0"/>
              </a:spcBef>
              <a:spcAft>
                <a:spcPts val="0"/>
              </a:spcAft>
              <a:defRPr/>
            </a:pPr>
            <a:r>
              <a:rPr lang="en-US" dirty="0"/>
              <a:t>For this purpose, the economic operator shall prove that it has paid or undertaken to pay compensation in respect of any damage caused by the criminal offence or misconduct, clarified the facts and circumstances in a comprehensive manner by actively collaborating with the investigating authorities and taken concrete technical, </a:t>
            </a:r>
            <a:r>
              <a:rPr lang="en-US" dirty="0" err="1"/>
              <a:t>organisational</a:t>
            </a:r>
            <a:r>
              <a:rPr lang="en-US" dirty="0"/>
              <a:t> and personnel measures that are appropriate to prevent further criminal offences or misconduct.</a:t>
            </a:r>
          </a:p>
          <a:p>
            <a:pPr fontAlgn="auto">
              <a:spcBef>
                <a:spcPts val="0"/>
              </a:spcBef>
              <a:spcAft>
                <a:spcPts val="0"/>
              </a:spcAft>
              <a:defRPr/>
            </a:pPr>
            <a:r>
              <a:rPr lang="en-US" dirty="0"/>
              <a:t>The measures taken by the economic operators shall be evaluated taking into account the gravity and particular circumstances of the criminal offence or misconduct. Where the measures are considered to be insufficient, the economic operator shall receive a statement of the reasons for that decision.</a:t>
            </a:r>
          </a:p>
          <a:p>
            <a:pPr fontAlgn="auto">
              <a:spcBef>
                <a:spcPts val="0"/>
              </a:spcBef>
              <a:spcAft>
                <a:spcPts val="0"/>
              </a:spcAft>
              <a:defRPr/>
            </a:pPr>
            <a:r>
              <a:rPr lang="en-US" dirty="0"/>
              <a:t>An economic operator which has been excluded by final judgment from participating in procurement or concession award procedures shall not be entitled to make use of the possibility provided for under this paragraph during the period of exclusion resulting from that judgment in the Member States where the judgment is effective.</a:t>
            </a:r>
          </a:p>
          <a:p>
            <a:pPr fontAlgn="auto">
              <a:spcBef>
                <a:spcPts val="0"/>
              </a:spcBef>
              <a:spcAft>
                <a:spcPts val="0"/>
              </a:spcAft>
              <a:defRPr/>
            </a:pPr>
            <a:r>
              <a:rPr lang="en-US" dirty="0"/>
              <a:t>7.   By law, regulation or administrative provision and having regard to Union law, Member States shall specify the implementing conditions for this Article. They shall, in particular, determine the maximum period of exclusion if no measures as specified in paragraph 6 are taken by the economic operator to demonstrate its reliability. Where the period of exclusion has not been set by final judgment, that period shall not exceed five years from the date of the conviction by final judgment in the cases referred to in paragraph 1 and three years from the date of the relevant event in the cases referred to in paragraph 4.</a:t>
            </a:r>
          </a:p>
          <a:p>
            <a:pPr fontAlgn="auto">
              <a:spcBef>
                <a:spcPts val="0"/>
              </a:spcBef>
              <a:spcAft>
                <a:spcPts val="0"/>
              </a:spcAft>
              <a:defRPr/>
            </a:pPr>
            <a:endParaRPr lang="en-US" dirty="0"/>
          </a:p>
          <a:p>
            <a:pPr fontAlgn="auto">
              <a:spcBef>
                <a:spcPts val="0"/>
              </a:spcBef>
              <a:spcAft>
                <a:spcPts val="0"/>
              </a:spcAft>
              <a:defRPr/>
            </a:pPr>
            <a:endParaRPr lang="en-US" dirty="0"/>
          </a:p>
        </p:txBody>
      </p:sp>
      <p:sp>
        <p:nvSpPr>
          <p:cNvPr id="53252" name="Slide Number Placeholder 3">
            <a:extLst>
              <a:ext uri="{FF2B5EF4-FFF2-40B4-BE49-F238E27FC236}">
                <a16:creationId xmlns:a16="http://schemas.microsoft.com/office/drawing/2014/main" id="{A129656B-65D6-4455-A1D5-E65FB11A4D48}"/>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915C3F93-A9B1-40BC-B963-2E01843B5B2D}" type="slidenum">
              <a:rPr kumimoji="0" lang="en-US" alt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58</a:t>
            </a:fld>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Rectangle 7">
            <a:extLst>
              <a:ext uri="{FF2B5EF4-FFF2-40B4-BE49-F238E27FC236}">
                <a16:creationId xmlns:a16="http://schemas.microsoft.com/office/drawing/2014/main" id="{D5B658EA-136C-4F86-9B4E-8C53415CB512}"/>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2338">
              <a:defRPr>
                <a:solidFill>
                  <a:schemeClr val="tx1"/>
                </a:solidFill>
                <a:latin typeface="Calibri" panose="020F0502020204030204" pitchFamily="34" charset="0"/>
              </a:defRPr>
            </a:lvl1pPr>
            <a:lvl2pPr marL="742950" indent="-285750" defTabSz="922338">
              <a:defRPr>
                <a:solidFill>
                  <a:schemeClr val="tx1"/>
                </a:solidFill>
                <a:latin typeface="Calibri" panose="020F0502020204030204" pitchFamily="34" charset="0"/>
              </a:defRPr>
            </a:lvl2pPr>
            <a:lvl3pPr marL="1143000" indent="-228600" defTabSz="922338">
              <a:defRPr>
                <a:solidFill>
                  <a:schemeClr val="tx1"/>
                </a:solidFill>
                <a:latin typeface="Calibri" panose="020F0502020204030204" pitchFamily="34" charset="0"/>
              </a:defRPr>
            </a:lvl3pPr>
            <a:lvl4pPr marL="1600200" indent="-228600" defTabSz="922338">
              <a:defRPr>
                <a:solidFill>
                  <a:schemeClr val="tx1"/>
                </a:solidFill>
                <a:latin typeface="Calibri" panose="020F0502020204030204" pitchFamily="34" charset="0"/>
              </a:defRPr>
            </a:lvl4pPr>
            <a:lvl5pPr marL="2057400" indent="-228600" defTabSz="922338">
              <a:defRPr>
                <a:solidFill>
                  <a:schemeClr val="tx1"/>
                </a:solidFill>
                <a:latin typeface="Calibri" panose="020F0502020204030204" pitchFamily="34" charset="0"/>
              </a:defRPr>
            </a:lvl5pPr>
            <a:lvl6pPr marL="2514600" indent="-228600" defTabSz="922338" fontAlgn="base">
              <a:spcBef>
                <a:spcPct val="0"/>
              </a:spcBef>
              <a:spcAft>
                <a:spcPct val="0"/>
              </a:spcAft>
              <a:defRPr>
                <a:solidFill>
                  <a:schemeClr val="tx1"/>
                </a:solidFill>
                <a:latin typeface="Calibri" panose="020F0502020204030204" pitchFamily="34" charset="0"/>
              </a:defRPr>
            </a:lvl6pPr>
            <a:lvl7pPr marL="2971800" indent="-228600" defTabSz="922338" fontAlgn="base">
              <a:spcBef>
                <a:spcPct val="0"/>
              </a:spcBef>
              <a:spcAft>
                <a:spcPct val="0"/>
              </a:spcAft>
              <a:defRPr>
                <a:solidFill>
                  <a:schemeClr val="tx1"/>
                </a:solidFill>
                <a:latin typeface="Calibri" panose="020F0502020204030204" pitchFamily="34" charset="0"/>
              </a:defRPr>
            </a:lvl7pPr>
            <a:lvl8pPr marL="3429000" indent="-228600" defTabSz="922338" fontAlgn="base">
              <a:spcBef>
                <a:spcPct val="0"/>
              </a:spcBef>
              <a:spcAft>
                <a:spcPct val="0"/>
              </a:spcAft>
              <a:defRPr>
                <a:solidFill>
                  <a:schemeClr val="tx1"/>
                </a:solidFill>
                <a:latin typeface="Calibri" panose="020F0502020204030204" pitchFamily="34" charset="0"/>
              </a:defRPr>
            </a:lvl8pPr>
            <a:lvl9pPr marL="3886200" indent="-228600" defTabSz="922338" fontAlgn="base">
              <a:spcBef>
                <a:spcPct val="0"/>
              </a:spcBef>
              <a:spcAft>
                <a:spcPct val="0"/>
              </a:spcAft>
              <a:defRPr>
                <a:solidFill>
                  <a:schemeClr val="tx1"/>
                </a:solidFill>
                <a:latin typeface="Calibri" panose="020F0502020204030204" pitchFamily="34" charset="0"/>
              </a:defRPr>
            </a:lvl9pPr>
          </a:lstStyle>
          <a:p>
            <a:pPr marL="0" marR="0" lvl="0" indent="0" algn="r" defTabSz="922338" rtl="0" eaLnBrk="1" fontAlgn="base" latinLnBrk="0" hangingPunct="1">
              <a:lnSpc>
                <a:spcPct val="100000"/>
              </a:lnSpc>
              <a:spcBef>
                <a:spcPct val="0"/>
              </a:spcBef>
              <a:spcAft>
                <a:spcPct val="0"/>
              </a:spcAft>
              <a:buClrTx/>
              <a:buSzTx/>
              <a:buFontTx/>
              <a:buNone/>
              <a:tabLst/>
              <a:defRPr/>
            </a:pPr>
            <a:fld id="{723EA4D9-6B79-47DE-91CD-B86B586E8043}" type="slidenum">
              <a:rPr kumimoji="0" lang="en-US" altLang="en-US" sz="1200" b="0"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rPr>
              <a:pPr marL="0" marR="0" lvl="0" indent="0" algn="r" defTabSz="922338" rtl="0" eaLnBrk="1" fontAlgn="base" latinLnBrk="0" hangingPunct="1">
                <a:lnSpc>
                  <a:spcPct val="100000"/>
                </a:lnSpc>
                <a:spcBef>
                  <a:spcPct val="0"/>
                </a:spcBef>
                <a:spcAft>
                  <a:spcPct val="0"/>
                </a:spcAft>
                <a:buClrTx/>
                <a:buSzTx/>
                <a:buFontTx/>
                <a:buNone/>
                <a:tabLst/>
                <a:defRPr/>
              </a:pPr>
              <a:t>59</a:t>
            </a:fld>
            <a:endParaRPr kumimoji="0" lang="en-US" alt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54275" name="Rectangle 2">
            <a:extLst>
              <a:ext uri="{FF2B5EF4-FFF2-40B4-BE49-F238E27FC236}">
                <a16:creationId xmlns:a16="http://schemas.microsoft.com/office/drawing/2014/main" id="{28FDA996-002A-41E0-8971-C52B913855EB}"/>
              </a:ext>
            </a:extLst>
          </p:cNvPr>
          <p:cNvSpPr>
            <a:spLocks noGrp="1" noRot="1" noChangeAspect="1" noChangeArrowheads="1" noTextEdit="1"/>
          </p:cNvSpPr>
          <p:nvPr>
            <p:ph type="sldImg"/>
          </p:nvPr>
        </p:nvSpPr>
        <p:spPr bwMode="auto">
          <a:xfrm>
            <a:off x="409575" y="700088"/>
            <a:ext cx="6194425" cy="3484562"/>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4276" name="Rectangle 3">
            <a:extLst>
              <a:ext uri="{FF2B5EF4-FFF2-40B4-BE49-F238E27FC236}">
                <a16:creationId xmlns:a16="http://schemas.microsoft.com/office/drawing/2014/main" id="{E72065CE-556F-4CEF-94E3-A4251B4738AD}"/>
              </a:ext>
            </a:extLst>
          </p:cNvPr>
          <p:cNvSpPr>
            <a:spLocks noGrp="1" noChangeArrowheads="1"/>
          </p:cNvSpPr>
          <p:nvPr>
            <p:ph type="body" idx="1"/>
          </p:nvPr>
        </p:nvSpPr>
        <p:spPr bwMode="auto">
          <a:xfrm>
            <a:off x="530225" y="4192588"/>
            <a:ext cx="5605463" cy="418147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r>
              <a:rPr lang="en-US" altLang="en-US" b="1">
                <a:latin typeface="Arial" panose="020B0604020202020204" pitchFamily="34" charset="0"/>
              </a:rPr>
              <a:t>Quick little overview to get us started.  </a:t>
            </a:r>
          </a:p>
          <a:p>
            <a:pPr>
              <a:spcBef>
                <a:spcPct val="0"/>
              </a:spcBef>
            </a:pPr>
            <a:endParaRPr lang="en-US" altLang="en-US" b="1">
              <a:latin typeface="Arial" panose="020B0604020202020204" pitchFamily="34" charset="0"/>
            </a:endParaRPr>
          </a:p>
          <a:p>
            <a:pPr>
              <a:spcBef>
                <a:spcPct val="0"/>
              </a:spcBef>
            </a:pPr>
            <a:r>
              <a:rPr lang="en-US" altLang="en-US" b="1">
                <a:latin typeface="Arial" panose="020B0604020202020204" pitchFamily="34" charset="0"/>
              </a:rPr>
              <a:t>Where do Sanctions decisions come from?  </a:t>
            </a:r>
          </a:p>
          <a:p>
            <a:pPr>
              <a:spcBef>
                <a:spcPct val="0"/>
              </a:spcBef>
            </a:pPr>
            <a:endParaRPr lang="en-US" altLang="en-US" b="1">
              <a:latin typeface="Arial" panose="020B0604020202020204" pitchFamily="34" charset="0"/>
            </a:endParaRPr>
          </a:p>
          <a:p>
            <a:pPr>
              <a:spcBef>
                <a:spcPct val="0"/>
              </a:spcBef>
            </a:pPr>
            <a:r>
              <a:rPr lang="en-US" altLang="en-US" b="1">
                <a:latin typeface="Arial" panose="020B0604020202020204" pitchFamily="34" charset="0"/>
              </a:rPr>
              <a:t>As you can see from this chart:</a:t>
            </a:r>
          </a:p>
          <a:p>
            <a:pPr>
              <a:spcBef>
                <a:spcPct val="0"/>
              </a:spcBef>
            </a:pPr>
            <a:endParaRPr lang="en-US" altLang="en-US" b="1">
              <a:latin typeface="Arial" panose="020B0604020202020204" pitchFamily="34" charset="0"/>
            </a:endParaRPr>
          </a:p>
          <a:p>
            <a:pPr>
              <a:spcBef>
                <a:spcPct val="0"/>
              </a:spcBef>
              <a:buFontTx/>
              <a:buChar char="•"/>
            </a:pPr>
            <a:r>
              <a:rPr lang="en-US" altLang="en-US" b="1">
                <a:latin typeface="Arial" panose="020B0604020202020204" pitchFamily="34" charset="0"/>
              </a:rPr>
              <a:t>39% of the decisions come from the Sanctions Board;  </a:t>
            </a:r>
          </a:p>
          <a:p>
            <a:pPr>
              <a:spcBef>
                <a:spcPct val="0"/>
              </a:spcBef>
              <a:buFontTx/>
              <a:buChar char="•"/>
            </a:pPr>
            <a:r>
              <a:rPr lang="en-US" altLang="en-US" b="1">
                <a:latin typeface="Arial" panose="020B0604020202020204" pitchFamily="34" charset="0"/>
              </a:rPr>
              <a:t>61% of decisions are made at the OSD level – so, most cases get resolved at the OSD level.</a:t>
            </a:r>
          </a:p>
          <a:p>
            <a:pPr>
              <a:spcBef>
                <a:spcPct val="0"/>
              </a:spcBef>
            </a:pPr>
            <a:r>
              <a:rPr lang="en-US" altLang="en-US" b="1">
                <a:latin typeface="Arial" panose="020B0604020202020204" pitchFamily="34" charset="0"/>
              </a:rPr>
              <a:t>*As of October 2013</a:t>
            </a:r>
          </a:p>
          <a:p>
            <a:pPr>
              <a:spcBef>
                <a:spcPct val="0"/>
              </a:spcBef>
            </a:pPr>
            <a:endParaRPr lang="en-US" altLang="en-US" b="1">
              <a:latin typeface="Arial" panose="020B0604020202020204" pitchFamily="34" charset="0"/>
            </a:endParaRPr>
          </a:p>
          <a:p>
            <a:pPr>
              <a:spcBef>
                <a:spcPct val="0"/>
              </a:spcBef>
            </a:pPr>
            <a:r>
              <a:rPr lang="en-US" altLang="en-US" b="1">
                <a:latin typeface="Arial" panose="020B0604020202020204" pitchFamily="34" charset="0"/>
              </a:rPr>
              <a:t>All cases are based on investigations by INT.  My role as SDO is essentially that of an administrative judge.</a:t>
            </a:r>
          </a:p>
          <a:p>
            <a:pPr>
              <a:spcBef>
                <a:spcPct val="0"/>
              </a:spcBef>
            </a:pPr>
            <a:endParaRPr lang="en-US" altLang="en-US" b="1">
              <a:latin typeface="Arial" panose="020B0604020202020204" pitchFamily="34" charset="0"/>
            </a:endParaRPr>
          </a:p>
          <a:p>
            <a:pPr>
              <a:spcBef>
                <a:spcPct val="0"/>
              </a:spcBef>
            </a:pPr>
            <a:endParaRPr lang="en-US" altLang="en-US" b="1">
              <a:latin typeface="Arial" panose="020B0604020202020204" pitchFamily="34" charset="0"/>
            </a:endParaRPr>
          </a:p>
          <a:p>
            <a:pPr>
              <a:spcBef>
                <a:spcPct val="0"/>
              </a:spcBef>
            </a:pPr>
            <a:r>
              <a:rPr lang="en-US" altLang="en-US">
                <a:latin typeface="Arial" panose="020B0604020202020204" pitchFamily="34" charset="0"/>
              </a:rPr>
              <a:t> </a:t>
            </a:r>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Slide Image Placeholder 1">
            <a:extLst>
              <a:ext uri="{FF2B5EF4-FFF2-40B4-BE49-F238E27FC236}">
                <a16:creationId xmlns:a16="http://schemas.microsoft.com/office/drawing/2014/main" id="{BBA3BABD-2FBE-4B7A-A1D8-707CC10604C0}"/>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5299" name="Notes Placeholder 2">
            <a:extLst>
              <a:ext uri="{FF2B5EF4-FFF2-40B4-BE49-F238E27FC236}">
                <a16:creationId xmlns:a16="http://schemas.microsoft.com/office/drawing/2014/main" id="{6647915D-917A-4AEB-A463-211B01243D26}"/>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US" altLang="en-US">
              <a:latin typeface="Arial" panose="020B0604020202020204" pitchFamily="34" charset="0"/>
            </a:endParaRPr>
          </a:p>
        </p:txBody>
      </p:sp>
      <p:sp>
        <p:nvSpPr>
          <p:cNvPr id="55300" name="Slide Number Placeholder 3">
            <a:extLst>
              <a:ext uri="{FF2B5EF4-FFF2-40B4-BE49-F238E27FC236}">
                <a16:creationId xmlns:a16="http://schemas.microsoft.com/office/drawing/2014/main" id="{DF27F293-5729-4EF4-B631-51AB3829C84D}"/>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30CBACC6-7B23-4F92-9DF2-DA0FDCE64C43}" type="slidenum">
              <a:rPr kumimoji="0" lang="en-US" alt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60</a:t>
            </a:fld>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Rectangle 7">
            <a:extLst>
              <a:ext uri="{FF2B5EF4-FFF2-40B4-BE49-F238E27FC236}">
                <a16:creationId xmlns:a16="http://schemas.microsoft.com/office/drawing/2014/main" id="{7C60D1B0-165A-4681-96F6-95ACB6D20782}"/>
              </a:ext>
            </a:extLst>
          </p:cNvPr>
          <p:cNvSpPr>
            <a:spLocks noGrp="1" noChangeArrowheads="1"/>
          </p:cNvSpPr>
          <p:nvPr>
            <p:ph type="sldNum" sz="quarter" idx="5"/>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Calibri" panose="020F0502020204030204" pitchFamily="34" charset="0"/>
                <a:cs typeface="Arial" panose="020B0604020202020204" pitchFamily="34" charset="0"/>
              </a:defRPr>
            </a:lvl1pPr>
            <a:lvl2pPr marL="742950" indent="-285750" eaLnBrk="0" hangingPunct="0">
              <a:defRPr>
                <a:solidFill>
                  <a:schemeClr val="tx1"/>
                </a:solidFill>
                <a:latin typeface="Calibri" panose="020F0502020204030204" pitchFamily="34" charset="0"/>
                <a:cs typeface="Arial" panose="020B0604020202020204" pitchFamily="34" charset="0"/>
              </a:defRPr>
            </a:lvl2pPr>
            <a:lvl3pPr marL="1143000" indent="-228600" eaLnBrk="0" hangingPunct="0">
              <a:defRPr>
                <a:solidFill>
                  <a:schemeClr val="tx1"/>
                </a:solidFill>
                <a:latin typeface="Calibri" panose="020F0502020204030204" pitchFamily="34" charset="0"/>
                <a:cs typeface="Arial" panose="020B0604020202020204" pitchFamily="34" charset="0"/>
              </a:defRPr>
            </a:lvl3pPr>
            <a:lvl4pPr marL="1600200" indent="-228600" eaLnBrk="0" hangingPunct="0">
              <a:defRPr>
                <a:solidFill>
                  <a:schemeClr val="tx1"/>
                </a:solidFill>
                <a:latin typeface="Calibri" panose="020F0502020204030204" pitchFamily="34" charset="0"/>
                <a:cs typeface="Arial" panose="020B0604020202020204" pitchFamily="34" charset="0"/>
              </a:defRPr>
            </a:lvl4pPr>
            <a:lvl5pPr marL="2057400" indent="-228600" eaLnBrk="0" hangingPunct="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5E5BBF62-9E12-49A3-B24C-2024457284E9}" type="slidenum">
              <a:rPr kumimoji="0" lang="en-US" alt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68</a:t>
            </a:fld>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5059" name="Rectangle 2">
            <a:extLst>
              <a:ext uri="{FF2B5EF4-FFF2-40B4-BE49-F238E27FC236}">
                <a16:creationId xmlns:a16="http://schemas.microsoft.com/office/drawing/2014/main" id="{4C22B919-28E1-4B07-B2B3-6F8499D62E08}"/>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5060" name="Rectangle 3">
            <a:extLst>
              <a:ext uri="{FF2B5EF4-FFF2-40B4-BE49-F238E27FC236}">
                <a16:creationId xmlns:a16="http://schemas.microsoft.com/office/drawing/2014/main" id="{23B7A38F-DB79-4462-8BCD-592624F9CF16}"/>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lnSpc>
                <a:spcPct val="80000"/>
              </a:lnSpc>
              <a:spcBef>
                <a:spcPct val="0"/>
              </a:spcBef>
            </a:pPr>
            <a:endParaRPr lang="en-US" altLang="en-US" sz="900">
              <a:latin typeface="Arial" panose="020B0604020202020204" pitchFamily="34" charset="0"/>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2034" name="Slide Image Placeholder 1">
            <a:extLst>
              <a:ext uri="{FF2B5EF4-FFF2-40B4-BE49-F238E27FC236}">
                <a16:creationId xmlns:a16="http://schemas.microsoft.com/office/drawing/2014/main" id="{87F3BF08-BC9D-42B6-86EA-52592DEC05B2}"/>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72035" name="Notes Placeholder 2">
            <a:extLst>
              <a:ext uri="{FF2B5EF4-FFF2-40B4-BE49-F238E27FC236}">
                <a16:creationId xmlns:a16="http://schemas.microsoft.com/office/drawing/2014/main" id="{90367423-4B6E-46C6-957E-A9D327689B41}"/>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US" altLang="en-US"/>
          </a:p>
        </p:txBody>
      </p:sp>
      <p:sp>
        <p:nvSpPr>
          <p:cNvPr id="172036" name="Slide Number Placeholder 3">
            <a:extLst>
              <a:ext uri="{FF2B5EF4-FFF2-40B4-BE49-F238E27FC236}">
                <a16:creationId xmlns:a16="http://schemas.microsoft.com/office/drawing/2014/main" id="{C822610B-049C-48B1-BA07-29F800443BDC}"/>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Perpetua" panose="02020502060401020303" pitchFamily="18" charset="0"/>
              </a:defRPr>
            </a:lvl1pPr>
            <a:lvl2pPr marL="728663" indent="-279400">
              <a:defRPr>
                <a:solidFill>
                  <a:schemeClr val="tx1"/>
                </a:solidFill>
                <a:latin typeface="Perpetua" panose="02020502060401020303" pitchFamily="18" charset="0"/>
              </a:defRPr>
            </a:lvl2pPr>
            <a:lvl3pPr marL="1120775" indent="-223838">
              <a:defRPr>
                <a:solidFill>
                  <a:schemeClr val="tx1"/>
                </a:solidFill>
                <a:latin typeface="Perpetua" panose="02020502060401020303" pitchFamily="18" charset="0"/>
              </a:defRPr>
            </a:lvl3pPr>
            <a:lvl4pPr marL="1570038" indent="-223838">
              <a:defRPr>
                <a:solidFill>
                  <a:schemeClr val="tx1"/>
                </a:solidFill>
                <a:latin typeface="Perpetua" panose="02020502060401020303" pitchFamily="18" charset="0"/>
              </a:defRPr>
            </a:lvl4pPr>
            <a:lvl5pPr marL="2017713" indent="-223838">
              <a:defRPr>
                <a:solidFill>
                  <a:schemeClr val="tx1"/>
                </a:solidFill>
                <a:latin typeface="Perpetua" panose="02020502060401020303" pitchFamily="18" charset="0"/>
              </a:defRPr>
            </a:lvl5pPr>
            <a:lvl6pPr marL="2474913" indent="-223838" fontAlgn="base">
              <a:spcBef>
                <a:spcPct val="0"/>
              </a:spcBef>
              <a:spcAft>
                <a:spcPct val="0"/>
              </a:spcAft>
              <a:defRPr>
                <a:solidFill>
                  <a:schemeClr val="tx1"/>
                </a:solidFill>
                <a:latin typeface="Perpetua" panose="02020502060401020303" pitchFamily="18" charset="0"/>
              </a:defRPr>
            </a:lvl6pPr>
            <a:lvl7pPr marL="2932113" indent="-223838" fontAlgn="base">
              <a:spcBef>
                <a:spcPct val="0"/>
              </a:spcBef>
              <a:spcAft>
                <a:spcPct val="0"/>
              </a:spcAft>
              <a:defRPr>
                <a:solidFill>
                  <a:schemeClr val="tx1"/>
                </a:solidFill>
                <a:latin typeface="Perpetua" panose="02020502060401020303" pitchFamily="18" charset="0"/>
              </a:defRPr>
            </a:lvl7pPr>
            <a:lvl8pPr marL="3389313" indent="-223838" fontAlgn="base">
              <a:spcBef>
                <a:spcPct val="0"/>
              </a:spcBef>
              <a:spcAft>
                <a:spcPct val="0"/>
              </a:spcAft>
              <a:defRPr>
                <a:solidFill>
                  <a:schemeClr val="tx1"/>
                </a:solidFill>
                <a:latin typeface="Perpetua" panose="02020502060401020303" pitchFamily="18" charset="0"/>
              </a:defRPr>
            </a:lvl8pPr>
            <a:lvl9pPr marL="3846513" indent="-223838" fontAlgn="base">
              <a:spcBef>
                <a:spcPct val="0"/>
              </a:spcBef>
              <a:spcAft>
                <a:spcPct val="0"/>
              </a:spcAft>
              <a:defRPr>
                <a:solidFill>
                  <a:schemeClr val="tx1"/>
                </a:solidFill>
                <a:latin typeface="Perpetua" panose="02020502060401020303" pitchFamily="18"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5D3CE623-F0D5-46F1-9DE6-36987E02C9A6}" type="slidenum">
              <a:rPr kumimoji="0" lang="en-US" altLang="en-US" sz="1200" b="0" i="0" u="none" strike="noStrike" kern="1200" cap="none" spc="0" normalizeH="0" baseline="0" noProof="0" smtClean="0">
                <a:ln>
                  <a:noFill/>
                </a:ln>
                <a:solidFill>
                  <a:prstClr val="black"/>
                </a:solidFill>
                <a:effectLst/>
                <a:uLnTx/>
                <a:uFillTx/>
                <a:latin typeface="Calibri" panose="020F050202020403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8</a:t>
            </a:fld>
            <a:endParaRPr kumimoji="0" lang="en-US" altLang="en-US" sz="1200" b="0" i="0" u="none" strike="noStrike" kern="1200" cap="none" spc="0" normalizeH="0" baseline="0" noProof="0">
              <a:ln>
                <a:noFill/>
              </a:ln>
              <a:solidFill>
                <a:prstClr val="black"/>
              </a:solidFill>
              <a:effectLst/>
              <a:uLnTx/>
              <a:uFillTx/>
              <a:latin typeface="Calibri" panose="020F0502020204030204" pitchFamily="34" charset="0"/>
              <a:ea typeface="+mn-ea"/>
              <a:cs typeface="Arial" panose="020B0604020202020204" pitchFamily="34" charset="0"/>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3058" name="Slide Image Placeholder 1">
            <a:extLst>
              <a:ext uri="{FF2B5EF4-FFF2-40B4-BE49-F238E27FC236}">
                <a16:creationId xmlns:a16="http://schemas.microsoft.com/office/drawing/2014/main" id="{CCA35709-0D11-45E1-820D-21977A0F28E7}"/>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 name="Notes Placeholder 2">
            <a:extLst>
              <a:ext uri="{FF2B5EF4-FFF2-40B4-BE49-F238E27FC236}">
                <a16:creationId xmlns:a16="http://schemas.microsoft.com/office/drawing/2014/main" id="{D0DEB54E-5DD4-47DD-8EE1-F1040D2D7D35}"/>
              </a:ext>
            </a:extLst>
          </p:cNvPr>
          <p:cNvSpPr>
            <a:spLocks noGrp="1"/>
          </p:cNvSpPr>
          <p:nvPr>
            <p:ph type="body" idx="1"/>
          </p:nvPr>
        </p:nvSpPr>
        <p:spPr/>
        <p:txBody>
          <a:bodyPr>
            <a:normAutofit fontScale="85000" lnSpcReduction="10000"/>
          </a:bodyPr>
          <a:lstStyle/>
          <a:p>
            <a:pPr fontAlgn="auto">
              <a:spcBef>
                <a:spcPts val="0"/>
              </a:spcBef>
              <a:spcAft>
                <a:spcPts val="0"/>
              </a:spcAft>
              <a:defRPr/>
            </a:pPr>
            <a:r>
              <a:rPr lang="en-US" dirty="0"/>
              <a:t>"The pressures on networks as well as the risks from highly developed viruses or Trojans are rising," Germany's Interior Ministry said in a statement on Thursday.</a:t>
            </a:r>
          </a:p>
          <a:p>
            <a:pPr fontAlgn="auto">
              <a:spcBef>
                <a:spcPts val="0"/>
              </a:spcBef>
              <a:spcAft>
                <a:spcPts val="0"/>
              </a:spcAft>
              <a:defRPr/>
            </a:pPr>
            <a:r>
              <a:rPr lang="en-US" dirty="0"/>
              <a:t>"Furthermore, the ties revealed between foreign intelligence agencies and firms in the wake of the U.S. National Security Agency (</a:t>
            </a:r>
            <a:r>
              <a:rPr lang="en-US" dirty="0" err="1"/>
              <a:t>NSA</a:t>
            </a:r>
            <a:r>
              <a:rPr lang="en-US" dirty="0"/>
              <a:t>) affair show that the German government needs a very high level of security for its critical networks."</a:t>
            </a:r>
          </a:p>
          <a:p>
            <a:pPr fontAlgn="auto">
              <a:spcBef>
                <a:spcPts val="0"/>
              </a:spcBef>
              <a:spcAft>
                <a:spcPts val="0"/>
              </a:spcAft>
              <a:defRPr/>
            </a:pPr>
            <a:r>
              <a:rPr lang="en-US" dirty="0"/>
              <a:t>Verizon has been providing network infrastructure for the German government's Berlin-Bonn network, used for communication between ministries, since 2010, the statement said. The contract is set to expire in 2015.</a:t>
            </a:r>
          </a:p>
          <a:p>
            <a:pPr fontAlgn="auto">
              <a:spcBef>
                <a:spcPts val="0"/>
              </a:spcBef>
              <a:spcAft>
                <a:spcPts val="0"/>
              </a:spcAft>
              <a:defRPr/>
            </a:pPr>
            <a:r>
              <a:rPr lang="en-US" dirty="0"/>
              <a:t>The government said Deutsche Telekom AG DTEGn.DE would replace services provided by Verizon, and noted Deutsche Telekom was already responsible for the most sensitive communications between ministries or between the government and German intelligence agencies.</a:t>
            </a:r>
          </a:p>
          <a:p>
            <a:pPr fontAlgn="auto">
              <a:spcBef>
                <a:spcPts val="0"/>
              </a:spcBef>
              <a:spcAft>
                <a:spcPts val="0"/>
              </a:spcAft>
              <a:defRPr/>
            </a:pPr>
            <a:r>
              <a:rPr lang="en-US" dirty="0"/>
              <a:t>Information on the value of the contract was not immediately available.</a:t>
            </a:r>
          </a:p>
          <a:p>
            <a:pPr fontAlgn="auto">
              <a:spcBef>
                <a:spcPts val="0"/>
              </a:spcBef>
              <a:spcAft>
                <a:spcPts val="0"/>
              </a:spcAft>
              <a:defRPr/>
            </a:pPr>
            <a:r>
              <a:rPr lang="en-US" dirty="0"/>
              <a:t>According to reports and documents published last year, Verizon was obliged to turn over international and domestic calling records of its customers to U.S. intelligence agencies.</a:t>
            </a:r>
          </a:p>
          <a:p>
            <a:pPr fontAlgn="auto">
              <a:spcBef>
                <a:spcPts val="0"/>
              </a:spcBef>
              <a:spcAft>
                <a:spcPts val="0"/>
              </a:spcAft>
              <a:defRPr/>
            </a:pPr>
            <a:r>
              <a:rPr lang="en-US" dirty="0"/>
              <a:t>Verizon is the second-biggest U.S. telephone company behind AT&amp;T Inc </a:t>
            </a:r>
            <a:r>
              <a:rPr lang="en-US" dirty="0" err="1"/>
              <a:t>T.N</a:t>
            </a:r>
            <a:r>
              <a:rPr lang="en-US" dirty="0"/>
              <a:t> in terms of revenue.</a:t>
            </a:r>
          </a:p>
          <a:p>
            <a:pPr fontAlgn="auto">
              <a:spcBef>
                <a:spcPts val="0"/>
              </a:spcBef>
              <a:spcAft>
                <a:spcPts val="0"/>
              </a:spcAft>
              <a:defRPr/>
            </a:pPr>
            <a:r>
              <a:rPr lang="en-US" dirty="0" err="1"/>
              <a:t>Detlef</a:t>
            </a:r>
            <a:r>
              <a:rPr lang="en-US" dirty="0"/>
              <a:t> </a:t>
            </a:r>
            <a:r>
              <a:rPr lang="en-US" dirty="0" err="1"/>
              <a:t>Eppig</a:t>
            </a:r>
            <a:r>
              <a:rPr lang="en-US" dirty="0"/>
              <a:t>, head of Verizon's German unit Verizon Germany said on Thursday: "Verizon Germany is a German company and we comply with German law."</a:t>
            </a:r>
          </a:p>
          <a:p>
            <a:pPr fontAlgn="auto">
              <a:spcBef>
                <a:spcPts val="0"/>
              </a:spcBef>
              <a:spcAft>
                <a:spcPts val="0"/>
              </a:spcAft>
              <a:defRPr/>
            </a:pPr>
            <a:r>
              <a:rPr lang="en-US" dirty="0"/>
              <a:t>Verizon did not receive any demands from Washington in 2013 for data stored in other countries, the company said.</a:t>
            </a:r>
          </a:p>
          <a:p>
            <a:pPr fontAlgn="auto">
              <a:spcBef>
                <a:spcPts val="0"/>
              </a:spcBef>
              <a:spcAft>
                <a:spcPts val="0"/>
              </a:spcAft>
              <a:defRPr/>
            </a:pPr>
            <a:r>
              <a:rPr lang="en-US" dirty="0"/>
              <a:t>"The U.S. government cannot compel us to produce our customers' data stored in data </a:t>
            </a:r>
            <a:r>
              <a:rPr lang="en-US" dirty="0" err="1"/>
              <a:t>centres</a:t>
            </a:r>
            <a:r>
              <a:rPr lang="en-US" dirty="0"/>
              <a:t> outside the U.S., and if it attempts to do so, we would challenge that attempt in a court," it added.</a:t>
            </a:r>
          </a:p>
          <a:p>
            <a:pPr fontAlgn="auto">
              <a:spcBef>
                <a:spcPts val="0"/>
              </a:spcBef>
              <a:spcAft>
                <a:spcPts val="0"/>
              </a:spcAft>
              <a:defRPr/>
            </a:pPr>
            <a:r>
              <a:rPr lang="en-US" dirty="0"/>
              <a:t>The firm declined to comment on whether there had been requests in previous years.</a:t>
            </a:r>
          </a:p>
          <a:p>
            <a:pPr fontAlgn="auto">
              <a:spcBef>
                <a:spcPts val="0"/>
              </a:spcBef>
              <a:spcAft>
                <a:spcPts val="0"/>
              </a:spcAft>
              <a:defRPr/>
            </a:pPr>
            <a:r>
              <a:rPr lang="en-US" dirty="0"/>
              <a:t>(Reporting by Thorsten </a:t>
            </a:r>
            <a:r>
              <a:rPr lang="en-US" dirty="0" err="1"/>
              <a:t>Severin</a:t>
            </a:r>
            <a:r>
              <a:rPr lang="en-US" dirty="0"/>
              <a:t>; Additional reporting by Marina Lopes in Washington D.C.; Writing by </a:t>
            </a:r>
            <a:r>
              <a:rPr lang="en-US" dirty="0">
                <a:hlinkClick r:id="rId3"/>
              </a:rPr>
              <a:t>Alexandra Hudson</a:t>
            </a:r>
            <a:r>
              <a:rPr lang="en-US" dirty="0"/>
              <a:t>; Editing by </a:t>
            </a:r>
            <a:r>
              <a:rPr lang="en-US" dirty="0">
                <a:hlinkClick r:id="rId4"/>
              </a:rPr>
              <a:t>David Holmes</a:t>
            </a:r>
            <a:r>
              <a:rPr lang="en-US" dirty="0"/>
              <a:t> and </a:t>
            </a:r>
            <a:r>
              <a:rPr lang="en-US" dirty="0">
                <a:hlinkClick r:id="rId5"/>
              </a:rPr>
              <a:t>Eric Walsh</a:t>
            </a:r>
            <a:r>
              <a:rPr lang="en-US" dirty="0"/>
              <a:t>)</a:t>
            </a:r>
          </a:p>
        </p:txBody>
      </p:sp>
      <p:sp>
        <p:nvSpPr>
          <p:cNvPr id="173060" name="Slide Number Placeholder 3">
            <a:extLst>
              <a:ext uri="{FF2B5EF4-FFF2-40B4-BE49-F238E27FC236}">
                <a16:creationId xmlns:a16="http://schemas.microsoft.com/office/drawing/2014/main" id="{F079408F-5121-4D90-8F7F-382CDCD61C88}"/>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Perpetua" panose="02020502060401020303" pitchFamily="18" charset="0"/>
              </a:defRPr>
            </a:lvl1pPr>
            <a:lvl2pPr marL="728663" indent="-279400">
              <a:defRPr>
                <a:solidFill>
                  <a:schemeClr val="tx1"/>
                </a:solidFill>
                <a:latin typeface="Perpetua" panose="02020502060401020303" pitchFamily="18" charset="0"/>
              </a:defRPr>
            </a:lvl2pPr>
            <a:lvl3pPr marL="1120775" indent="-223838">
              <a:defRPr>
                <a:solidFill>
                  <a:schemeClr val="tx1"/>
                </a:solidFill>
                <a:latin typeface="Perpetua" panose="02020502060401020303" pitchFamily="18" charset="0"/>
              </a:defRPr>
            </a:lvl3pPr>
            <a:lvl4pPr marL="1570038" indent="-223838">
              <a:defRPr>
                <a:solidFill>
                  <a:schemeClr val="tx1"/>
                </a:solidFill>
                <a:latin typeface="Perpetua" panose="02020502060401020303" pitchFamily="18" charset="0"/>
              </a:defRPr>
            </a:lvl4pPr>
            <a:lvl5pPr marL="2017713" indent="-223838">
              <a:defRPr>
                <a:solidFill>
                  <a:schemeClr val="tx1"/>
                </a:solidFill>
                <a:latin typeface="Perpetua" panose="02020502060401020303" pitchFamily="18" charset="0"/>
              </a:defRPr>
            </a:lvl5pPr>
            <a:lvl6pPr marL="2474913" indent="-223838" fontAlgn="base">
              <a:spcBef>
                <a:spcPct val="0"/>
              </a:spcBef>
              <a:spcAft>
                <a:spcPct val="0"/>
              </a:spcAft>
              <a:defRPr>
                <a:solidFill>
                  <a:schemeClr val="tx1"/>
                </a:solidFill>
                <a:latin typeface="Perpetua" panose="02020502060401020303" pitchFamily="18" charset="0"/>
              </a:defRPr>
            </a:lvl6pPr>
            <a:lvl7pPr marL="2932113" indent="-223838" fontAlgn="base">
              <a:spcBef>
                <a:spcPct val="0"/>
              </a:spcBef>
              <a:spcAft>
                <a:spcPct val="0"/>
              </a:spcAft>
              <a:defRPr>
                <a:solidFill>
                  <a:schemeClr val="tx1"/>
                </a:solidFill>
                <a:latin typeface="Perpetua" panose="02020502060401020303" pitchFamily="18" charset="0"/>
              </a:defRPr>
            </a:lvl7pPr>
            <a:lvl8pPr marL="3389313" indent="-223838" fontAlgn="base">
              <a:spcBef>
                <a:spcPct val="0"/>
              </a:spcBef>
              <a:spcAft>
                <a:spcPct val="0"/>
              </a:spcAft>
              <a:defRPr>
                <a:solidFill>
                  <a:schemeClr val="tx1"/>
                </a:solidFill>
                <a:latin typeface="Perpetua" panose="02020502060401020303" pitchFamily="18" charset="0"/>
              </a:defRPr>
            </a:lvl8pPr>
            <a:lvl9pPr marL="3846513" indent="-223838" fontAlgn="base">
              <a:spcBef>
                <a:spcPct val="0"/>
              </a:spcBef>
              <a:spcAft>
                <a:spcPct val="0"/>
              </a:spcAft>
              <a:defRPr>
                <a:solidFill>
                  <a:schemeClr val="tx1"/>
                </a:solidFill>
                <a:latin typeface="Perpetua" panose="02020502060401020303" pitchFamily="18"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1D9086A7-FB58-41DD-A13A-F9068919642D}" type="slidenum">
              <a:rPr kumimoji="0" lang="en-US" altLang="en-US" sz="1200" b="0" i="0" u="none" strike="noStrike" kern="1200" cap="none" spc="0" normalizeH="0" baseline="0" noProof="0" smtClean="0">
                <a:ln>
                  <a:noFill/>
                </a:ln>
                <a:solidFill>
                  <a:prstClr val="black"/>
                </a:solidFill>
                <a:effectLst/>
                <a:uLnTx/>
                <a:uFillTx/>
                <a:latin typeface="Calibri" panose="020F050202020403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13</a:t>
            </a:fld>
            <a:endParaRPr kumimoji="0" lang="en-US" altLang="en-US" sz="1200" b="0" i="0" u="none" strike="noStrike" kern="1200" cap="none" spc="0" normalizeH="0" baseline="0" noProof="0">
              <a:ln>
                <a:noFill/>
              </a:ln>
              <a:solidFill>
                <a:prstClr val="black"/>
              </a:solidFill>
              <a:effectLst/>
              <a:uLnTx/>
              <a:uFillTx/>
              <a:latin typeface="Calibri" panose="020F0502020204030204" pitchFamily="34" charset="0"/>
              <a:ea typeface="+mn-ea"/>
              <a:cs typeface="Arial" panose="020B0604020202020204" pitchFamily="34" charset="0"/>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082" name="Slide Image Placeholder 1">
            <a:extLst>
              <a:ext uri="{FF2B5EF4-FFF2-40B4-BE49-F238E27FC236}">
                <a16:creationId xmlns:a16="http://schemas.microsoft.com/office/drawing/2014/main" id="{0E21BC05-C254-472F-90F4-FBC247200206}"/>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74083" name="Notes Placeholder 2">
            <a:extLst>
              <a:ext uri="{FF2B5EF4-FFF2-40B4-BE49-F238E27FC236}">
                <a16:creationId xmlns:a16="http://schemas.microsoft.com/office/drawing/2014/main" id="{B44EEE1C-934E-4E46-AE9F-FE102CE79958}"/>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r>
              <a:rPr lang="en-US" altLang="en-US"/>
              <a:t>http://europa.eu/rapid/press-release_IP-17-1508_en.htm</a:t>
            </a:r>
          </a:p>
          <a:p>
            <a:pPr>
              <a:spcBef>
                <a:spcPct val="0"/>
              </a:spcBef>
            </a:pPr>
            <a:endParaRPr lang="en-US" altLang="en-US"/>
          </a:p>
          <a:p>
            <a:pPr>
              <a:spcBef>
                <a:spcPct val="0"/>
              </a:spcBef>
            </a:pPr>
            <a:r>
              <a:rPr lang="en-US" altLang="en-US"/>
              <a:t>The European Defence Fund has two strands:</a:t>
            </a:r>
          </a:p>
          <a:p>
            <a:pPr>
              <a:spcBef>
                <a:spcPct val="0"/>
              </a:spcBef>
            </a:pPr>
            <a:r>
              <a:rPr lang="en-US" altLang="en-US" b="1"/>
              <a:t>Research:</a:t>
            </a:r>
            <a:r>
              <a:rPr lang="en-US" altLang="en-US"/>
              <a:t> The research aspect of the Fund is already delivering. Starting in 2017, the EU will for the first time offer grants for collaborative research in innovative defence technologies and products, fully and directly funded from the EU budget. Projects eligible for EU funding will focus on priority areas previously agreed by Member States, and could typically include electronics, metamaterials, encrypted software or robotics. This will be financed with:</a:t>
            </a:r>
          </a:p>
          <a:p>
            <a:pPr lvl="1">
              <a:spcBef>
                <a:spcPct val="0"/>
              </a:spcBef>
            </a:pPr>
            <a:r>
              <a:rPr lang="en-US" altLang="en-US" b="1"/>
              <a:t>€90 million</a:t>
            </a:r>
            <a:r>
              <a:rPr lang="en-US" altLang="en-US"/>
              <a:t> until the end of 2019, with </a:t>
            </a:r>
            <a:r>
              <a:rPr lang="en-US" altLang="en-US" b="1"/>
              <a:t>€25</a:t>
            </a:r>
            <a:r>
              <a:rPr lang="en-US" altLang="en-US"/>
              <a:t> </a:t>
            </a:r>
            <a:r>
              <a:rPr lang="en-US" altLang="en-US" b="1"/>
              <a:t>million</a:t>
            </a:r>
            <a:r>
              <a:rPr lang="en-US" altLang="en-US"/>
              <a:t> allocated for 2017. A call for proposals is being launched today for projects in the areas of unmanned systems in a naval environment and soldiers systems. The signature of the first grant agreements is expected by the end of this year.</a:t>
            </a:r>
          </a:p>
          <a:p>
            <a:pPr lvl="1">
              <a:spcBef>
                <a:spcPct val="0"/>
              </a:spcBef>
            </a:pPr>
            <a:r>
              <a:rPr lang="en-US" altLang="en-US" b="1"/>
              <a:t>€500 million</a:t>
            </a:r>
            <a:r>
              <a:rPr lang="en-US" altLang="en-US"/>
              <a:t> per year after 2020</a:t>
            </a:r>
            <a:r>
              <a:rPr lang="en-US" altLang="en-US" b="1"/>
              <a:t>. </a:t>
            </a:r>
            <a:r>
              <a:rPr lang="en-US" altLang="en-US"/>
              <a:t>In 2018, the Commission will propose a dedicated EU defence research programme with an estimated annual budget of €500 million making the EU one of the biggest defence research investors in Europe.</a:t>
            </a:r>
          </a:p>
          <a:p>
            <a:pPr>
              <a:spcBef>
                <a:spcPct val="0"/>
              </a:spcBef>
            </a:pPr>
            <a:r>
              <a:rPr lang="en-US" altLang="en-US" b="1"/>
              <a:t>Development and acquisition: </a:t>
            </a:r>
            <a:r>
              <a:rPr lang="en-US" altLang="en-US"/>
              <a:t>The Fund will create incentives for Member States to cooperate on joint development and the acquisition of defence equipment and technology through co-financing from the EU budget and practical support from the Commission. Member States may for example jointly invest in developing drone technology or satellite communication, or bulk buy helicopters to reduce costs. Only collaborative projects will be eligible, and a proportion of the overall budget will be earmarked for projects involving cross-border participation of SMEs. The EU will offer co-financing with:</a:t>
            </a:r>
          </a:p>
          <a:p>
            <a:pPr lvl="1">
              <a:spcBef>
                <a:spcPct val="0"/>
              </a:spcBef>
            </a:pPr>
            <a:r>
              <a:rPr lang="en-US" altLang="en-US" b="1"/>
              <a:t>€500 million</a:t>
            </a:r>
            <a:r>
              <a:rPr lang="en-US" altLang="en-US"/>
              <a:t> in total for 2019 and 2020, under a dedicated defence and industrial development programme proposed today.</a:t>
            </a:r>
          </a:p>
          <a:p>
            <a:pPr lvl="1">
              <a:spcBef>
                <a:spcPct val="0"/>
              </a:spcBef>
            </a:pPr>
            <a:r>
              <a:rPr lang="en-US" altLang="en-US" b="1"/>
              <a:t>€1 billion </a:t>
            </a:r>
            <a:r>
              <a:rPr lang="en-US" altLang="en-US"/>
              <a:t>per year after 2020. A more substantial programme will be prepared for post-2020, with an estimated annual budget of €1 billion. The programme will leverage national financing with an expected multiplying effect of 5. It could therefore generate a total investment in defence capability development of </a:t>
            </a:r>
            <a:r>
              <a:rPr lang="en-US" altLang="en-US" b="1"/>
              <a:t>€5 billion </a:t>
            </a:r>
            <a:r>
              <a:rPr lang="en-US" altLang="en-US"/>
              <a:t>per year after 2020.</a:t>
            </a:r>
          </a:p>
          <a:p>
            <a:pPr>
              <a:spcBef>
                <a:spcPct val="0"/>
              </a:spcBef>
            </a:pPr>
            <a:endParaRPr lang="en-US" altLang="en-US"/>
          </a:p>
        </p:txBody>
      </p:sp>
      <p:sp>
        <p:nvSpPr>
          <p:cNvPr id="174084" name="Slide Number Placeholder 3">
            <a:extLst>
              <a:ext uri="{FF2B5EF4-FFF2-40B4-BE49-F238E27FC236}">
                <a16:creationId xmlns:a16="http://schemas.microsoft.com/office/drawing/2014/main" id="{69CCA0FB-0AEF-4BEA-930D-A59D4E481D41}"/>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Perpetua" panose="02020502060401020303" pitchFamily="18" charset="0"/>
              </a:defRPr>
            </a:lvl1pPr>
            <a:lvl2pPr marL="728663" indent="-279400">
              <a:defRPr>
                <a:solidFill>
                  <a:schemeClr val="tx1"/>
                </a:solidFill>
                <a:latin typeface="Perpetua" panose="02020502060401020303" pitchFamily="18" charset="0"/>
              </a:defRPr>
            </a:lvl2pPr>
            <a:lvl3pPr marL="1120775" indent="-223838">
              <a:defRPr>
                <a:solidFill>
                  <a:schemeClr val="tx1"/>
                </a:solidFill>
                <a:latin typeface="Perpetua" panose="02020502060401020303" pitchFamily="18" charset="0"/>
              </a:defRPr>
            </a:lvl3pPr>
            <a:lvl4pPr marL="1570038" indent="-223838">
              <a:defRPr>
                <a:solidFill>
                  <a:schemeClr val="tx1"/>
                </a:solidFill>
                <a:latin typeface="Perpetua" panose="02020502060401020303" pitchFamily="18" charset="0"/>
              </a:defRPr>
            </a:lvl4pPr>
            <a:lvl5pPr marL="2017713" indent="-223838">
              <a:defRPr>
                <a:solidFill>
                  <a:schemeClr val="tx1"/>
                </a:solidFill>
                <a:latin typeface="Perpetua" panose="02020502060401020303" pitchFamily="18" charset="0"/>
              </a:defRPr>
            </a:lvl5pPr>
            <a:lvl6pPr marL="2474913" indent="-223838" fontAlgn="base">
              <a:spcBef>
                <a:spcPct val="0"/>
              </a:spcBef>
              <a:spcAft>
                <a:spcPct val="0"/>
              </a:spcAft>
              <a:defRPr>
                <a:solidFill>
                  <a:schemeClr val="tx1"/>
                </a:solidFill>
                <a:latin typeface="Perpetua" panose="02020502060401020303" pitchFamily="18" charset="0"/>
              </a:defRPr>
            </a:lvl6pPr>
            <a:lvl7pPr marL="2932113" indent="-223838" fontAlgn="base">
              <a:spcBef>
                <a:spcPct val="0"/>
              </a:spcBef>
              <a:spcAft>
                <a:spcPct val="0"/>
              </a:spcAft>
              <a:defRPr>
                <a:solidFill>
                  <a:schemeClr val="tx1"/>
                </a:solidFill>
                <a:latin typeface="Perpetua" panose="02020502060401020303" pitchFamily="18" charset="0"/>
              </a:defRPr>
            </a:lvl7pPr>
            <a:lvl8pPr marL="3389313" indent="-223838" fontAlgn="base">
              <a:spcBef>
                <a:spcPct val="0"/>
              </a:spcBef>
              <a:spcAft>
                <a:spcPct val="0"/>
              </a:spcAft>
              <a:defRPr>
                <a:solidFill>
                  <a:schemeClr val="tx1"/>
                </a:solidFill>
                <a:latin typeface="Perpetua" panose="02020502060401020303" pitchFamily="18" charset="0"/>
              </a:defRPr>
            </a:lvl8pPr>
            <a:lvl9pPr marL="3846513" indent="-223838" fontAlgn="base">
              <a:spcBef>
                <a:spcPct val="0"/>
              </a:spcBef>
              <a:spcAft>
                <a:spcPct val="0"/>
              </a:spcAft>
              <a:defRPr>
                <a:solidFill>
                  <a:schemeClr val="tx1"/>
                </a:solidFill>
                <a:latin typeface="Perpetua" panose="02020502060401020303" pitchFamily="18"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563683CA-CD49-4A1A-80B9-8602A5BA3A78}" type="slidenum">
              <a:rPr kumimoji="0" lang="en-US" altLang="en-US" sz="1200" b="0" i="0" u="none" strike="noStrike" kern="1200" cap="none" spc="0" normalizeH="0" baseline="0" noProof="0" smtClean="0">
                <a:ln>
                  <a:noFill/>
                </a:ln>
                <a:solidFill>
                  <a:prstClr val="black"/>
                </a:solidFill>
                <a:effectLst/>
                <a:uLnTx/>
                <a:uFillTx/>
                <a:latin typeface="Calibri" panose="020F050202020403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25</a:t>
            </a:fld>
            <a:endParaRPr kumimoji="0" lang="en-US" altLang="en-US" sz="1200" b="0" i="0" u="none" strike="noStrike" kern="1200" cap="none" spc="0" normalizeH="0" baseline="0" noProof="0">
              <a:ln>
                <a:noFill/>
              </a:ln>
              <a:solidFill>
                <a:prstClr val="black"/>
              </a:solidFill>
              <a:effectLst/>
              <a:uLnTx/>
              <a:uFillTx/>
              <a:latin typeface="Calibri" panose="020F0502020204030204" pitchFamily="34" charset="0"/>
              <a:ea typeface="+mn-ea"/>
              <a:cs typeface="Arial" panose="020B0604020202020204" pitchFamily="34" charset="0"/>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5106" name="Slide Image Placeholder 1">
            <a:extLst>
              <a:ext uri="{FF2B5EF4-FFF2-40B4-BE49-F238E27FC236}">
                <a16:creationId xmlns:a16="http://schemas.microsoft.com/office/drawing/2014/main" id="{290662D2-4C4A-4941-A1B6-EC9634F7CBA3}"/>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75107" name="Notes Placeholder 2">
            <a:extLst>
              <a:ext uri="{FF2B5EF4-FFF2-40B4-BE49-F238E27FC236}">
                <a16:creationId xmlns:a16="http://schemas.microsoft.com/office/drawing/2014/main" id="{39D2CC1F-3266-4BBE-B302-1562EDF7AAC8}"/>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r>
              <a:rPr lang="en-US" altLang="en-US"/>
              <a:t>http://europa.eu/rapid/press-release_IP-17-1508_en.htm</a:t>
            </a:r>
          </a:p>
          <a:p>
            <a:pPr>
              <a:spcBef>
                <a:spcPct val="0"/>
              </a:spcBef>
            </a:pPr>
            <a:endParaRPr lang="en-US" altLang="en-US"/>
          </a:p>
          <a:p>
            <a:pPr>
              <a:spcBef>
                <a:spcPct val="0"/>
              </a:spcBef>
            </a:pPr>
            <a:r>
              <a:rPr lang="en-US" altLang="en-US"/>
              <a:t>The European Defence Fund has two strands:</a:t>
            </a:r>
          </a:p>
          <a:p>
            <a:pPr>
              <a:spcBef>
                <a:spcPct val="0"/>
              </a:spcBef>
            </a:pPr>
            <a:r>
              <a:rPr lang="en-US" altLang="en-US" b="1"/>
              <a:t>Research:</a:t>
            </a:r>
            <a:r>
              <a:rPr lang="en-US" altLang="en-US"/>
              <a:t> The research aspect of the Fund is already delivering. Starting in 2017, the EU will for the first time offer grants for collaborative research in innovative defence technologies and products, fully and directly funded from the EU budget. Projects eligible for EU funding will focus on priority areas previously agreed by Member States, and could typically include electronics, metamaterials, encrypted software or robotics. This will be financed with:</a:t>
            </a:r>
          </a:p>
          <a:p>
            <a:pPr lvl="1">
              <a:spcBef>
                <a:spcPct val="0"/>
              </a:spcBef>
            </a:pPr>
            <a:r>
              <a:rPr lang="en-US" altLang="en-US" b="1"/>
              <a:t>€90 million</a:t>
            </a:r>
            <a:r>
              <a:rPr lang="en-US" altLang="en-US"/>
              <a:t> until the end of 2019, with </a:t>
            </a:r>
            <a:r>
              <a:rPr lang="en-US" altLang="en-US" b="1"/>
              <a:t>€25</a:t>
            </a:r>
            <a:r>
              <a:rPr lang="en-US" altLang="en-US"/>
              <a:t> </a:t>
            </a:r>
            <a:r>
              <a:rPr lang="en-US" altLang="en-US" b="1"/>
              <a:t>million</a:t>
            </a:r>
            <a:r>
              <a:rPr lang="en-US" altLang="en-US"/>
              <a:t> allocated for 2017. A call for proposals is being launched today for projects in the areas of unmanned systems in a naval environment and soldiers systems. The signature of the first grant agreements is expected by the end of this year.</a:t>
            </a:r>
          </a:p>
          <a:p>
            <a:pPr lvl="1">
              <a:spcBef>
                <a:spcPct val="0"/>
              </a:spcBef>
            </a:pPr>
            <a:r>
              <a:rPr lang="en-US" altLang="en-US" b="1"/>
              <a:t>€500 million</a:t>
            </a:r>
            <a:r>
              <a:rPr lang="en-US" altLang="en-US"/>
              <a:t> per year after 2020</a:t>
            </a:r>
            <a:r>
              <a:rPr lang="en-US" altLang="en-US" b="1"/>
              <a:t>. </a:t>
            </a:r>
            <a:r>
              <a:rPr lang="en-US" altLang="en-US"/>
              <a:t>In 2018, the Commission will propose a dedicated EU defence research programme with an estimated annual budget of €500 million making the EU one of the biggest defence research investors in Europe.</a:t>
            </a:r>
          </a:p>
          <a:p>
            <a:pPr>
              <a:spcBef>
                <a:spcPct val="0"/>
              </a:spcBef>
            </a:pPr>
            <a:r>
              <a:rPr lang="en-US" altLang="en-US" b="1"/>
              <a:t>Development and acquisition: </a:t>
            </a:r>
            <a:r>
              <a:rPr lang="en-US" altLang="en-US"/>
              <a:t>The Fund will create incentives for Member States to cooperate on joint development and the acquisition of defence equipment and technology through co-financing from the EU budget and practical support from the Commission. Member States may for example jointly invest in developing drone technology or satellite communication, or bulk buy helicopters to reduce costs. Only collaborative projects will be eligible, and a proportion of the overall budget will be earmarked for projects involving cross-border participation of SMEs. The EU will offer co-financing with:</a:t>
            </a:r>
          </a:p>
          <a:p>
            <a:pPr lvl="1">
              <a:spcBef>
                <a:spcPct val="0"/>
              </a:spcBef>
            </a:pPr>
            <a:r>
              <a:rPr lang="en-US" altLang="en-US" b="1"/>
              <a:t>€500 million</a:t>
            </a:r>
            <a:r>
              <a:rPr lang="en-US" altLang="en-US"/>
              <a:t> in total for 2019 and 2020, under a dedicated defence and industrial development programme proposed today.</a:t>
            </a:r>
          </a:p>
          <a:p>
            <a:pPr lvl="1">
              <a:spcBef>
                <a:spcPct val="0"/>
              </a:spcBef>
            </a:pPr>
            <a:r>
              <a:rPr lang="en-US" altLang="en-US" b="1"/>
              <a:t>€1 billion </a:t>
            </a:r>
            <a:r>
              <a:rPr lang="en-US" altLang="en-US"/>
              <a:t>per year after 2020. A more substantial programme will be prepared for post-2020, with an estimated annual budget of €1 billion. The programme will leverage national financing with an expected multiplying effect of 5. It could therefore generate a total investment in defence capability development of </a:t>
            </a:r>
            <a:r>
              <a:rPr lang="en-US" altLang="en-US" b="1"/>
              <a:t>€5 billion </a:t>
            </a:r>
            <a:r>
              <a:rPr lang="en-US" altLang="en-US"/>
              <a:t>per year after 2020.</a:t>
            </a:r>
          </a:p>
          <a:p>
            <a:pPr>
              <a:spcBef>
                <a:spcPct val="0"/>
              </a:spcBef>
            </a:pPr>
            <a:endParaRPr lang="en-US" altLang="en-US"/>
          </a:p>
        </p:txBody>
      </p:sp>
      <p:sp>
        <p:nvSpPr>
          <p:cNvPr id="175108" name="Slide Number Placeholder 3">
            <a:extLst>
              <a:ext uri="{FF2B5EF4-FFF2-40B4-BE49-F238E27FC236}">
                <a16:creationId xmlns:a16="http://schemas.microsoft.com/office/drawing/2014/main" id="{AD4A4A8B-8F76-4072-91AC-C38514B626D6}"/>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Perpetua" panose="02020502060401020303" pitchFamily="18" charset="0"/>
              </a:defRPr>
            </a:lvl1pPr>
            <a:lvl2pPr marL="728663" indent="-279400">
              <a:defRPr>
                <a:solidFill>
                  <a:schemeClr val="tx1"/>
                </a:solidFill>
                <a:latin typeface="Perpetua" panose="02020502060401020303" pitchFamily="18" charset="0"/>
              </a:defRPr>
            </a:lvl2pPr>
            <a:lvl3pPr marL="1120775" indent="-223838">
              <a:defRPr>
                <a:solidFill>
                  <a:schemeClr val="tx1"/>
                </a:solidFill>
                <a:latin typeface="Perpetua" panose="02020502060401020303" pitchFamily="18" charset="0"/>
              </a:defRPr>
            </a:lvl3pPr>
            <a:lvl4pPr marL="1570038" indent="-223838">
              <a:defRPr>
                <a:solidFill>
                  <a:schemeClr val="tx1"/>
                </a:solidFill>
                <a:latin typeface="Perpetua" panose="02020502060401020303" pitchFamily="18" charset="0"/>
              </a:defRPr>
            </a:lvl4pPr>
            <a:lvl5pPr marL="2017713" indent="-223838">
              <a:defRPr>
                <a:solidFill>
                  <a:schemeClr val="tx1"/>
                </a:solidFill>
                <a:latin typeface="Perpetua" panose="02020502060401020303" pitchFamily="18" charset="0"/>
              </a:defRPr>
            </a:lvl5pPr>
            <a:lvl6pPr marL="2474913" indent="-223838" fontAlgn="base">
              <a:spcBef>
                <a:spcPct val="0"/>
              </a:spcBef>
              <a:spcAft>
                <a:spcPct val="0"/>
              </a:spcAft>
              <a:defRPr>
                <a:solidFill>
                  <a:schemeClr val="tx1"/>
                </a:solidFill>
                <a:latin typeface="Perpetua" panose="02020502060401020303" pitchFamily="18" charset="0"/>
              </a:defRPr>
            </a:lvl6pPr>
            <a:lvl7pPr marL="2932113" indent="-223838" fontAlgn="base">
              <a:spcBef>
                <a:spcPct val="0"/>
              </a:spcBef>
              <a:spcAft>
                <a:spcPct val="0"/>
              </a:spcAft>
              <a:defRPr>
                <a:solidFill>
                  <a:schemeClr val="tx1"/>
                </a:solidFill>
                <a:latin typeface="Perpetua" panose="02020502060401020303" pitchFamily="18" charset="0"/>
              </a:defRPr>
            </a:lvl7pPr>
            <a:lvl8pPr marL="3389313" indent="-223838" fontAlgn="base">
              <a:spcBef>
                <a:spcPct val="0"/>
              </a:spcBef>
              <a:spcAft>
                <a:spcPct val="0"/>
              </a:spcAft>
              <a:defRPr>
                <a:solidFill>
                  <a:schemeClr val="tx1"/>
                </a:solidFill>
                <a:latin typeface="Perpetua" panose="02020502060401020303" pitchFamily="18" charset="0"/>
              </a:defRPr>
            </a:lvl8pPr>
            <a:lvl9pPr marL="3846513" indent="-223838" fontAlgn="base">
              <a:spcBef>
                <a:spcPct val="0"/>
              </a:spcBef>
              <a:spcAft>
                <a:spcPct val="0"/>
              </a:spcAft>
              <a:defRPr>
                <a:solidFill>
                  <a:schemeClr val="tx1"/>
                </a:solidFill>
                <a:latin typeface="Perpetua" panose="02020502060401020303" pitchFamily="18"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C1A49CBF-3B67-48D9-8C74-693C09BF6F65}" type="slidenum">
              <a:rPr kumimoji="0" lang="en-US" altLang="en-US" sz="1200" b="0" i="0" u="none" strike="noStrike" kern="1200" cap="none" spc="0" normalizeH="0" baseline="0" noProof="0" smtClean="0">
                <a:ln>
                  <a:noFill/>
                </a:ln>
                <a:solidFill>
                  <a:prstClr val="black"/>
                </a:solidFill>
                <a:effectLst/>
                <a:uLnTx/>
                <a:uFillTx/>
                <a:latin typeface="Calibri" panose="020F050202020403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26</a:t>
            </a:fld>
            <a:endParaRPr kumimoji="0" lang="en-US" altLang="en-US" sz="1200" b="0" i="0" u="none" strike="noStrike" kern="1200" cap="none" spc="0" normalizeH="0" baseline="0" noProof="0">
              <a:ln>
                <a:noFill/>
              </a:ln>
              <a:solidFill>
                <a:prstClr val="black"/>
              </a:solidFill>
              <a:effectLst/>
              <a:uLnTx/>
              <a:uFillTx/>
              <a:latin typeface="Calibri" panose="020F0502020204030204" pitchFamily="34" charset="0"/>
              <a:ea typeface="+mn-ea"/>
              <a:cs typeface="Arial" panose="020B0604020202020204" pitchFamily="34" charset="0"/>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ec.europa.eu/docsroom/documents/34509/attachments/1/translations/en/renditions/native</a:t>
            </a:r>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602A751B-AE11-41E2-9F03-35571DEB9859}" type="slidenum">
              <a:rPr kumimoji="0" lang="en-US" altLang="en-US" sz="1200" b="0" i="0" u="none" strike="noStrike" kern="1200" cap="none" spc="0" normalizeH="0" baseline="0" noProof="0" smtClean="0">
                <a:ln>
                  <a:noFill/>
                </a:ln>
                <a:solidFill>
                  <a:prstClr val="black"/>
                </a:solidFill>
                <a:effectLst/>
                <a:uLnTx/>
                <a:uFillTx/>
                <a:latin typeface="Calibri" panose="020F050202020403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28</a:t>
            </a:fld>
            <a:endParaRPr kumimoji="0" lang="en-US" altLang="en-US" sz="1200" b="0" i="0" u="none" strike="noStrike" kern="1200" cap="none" spc="0" normalizeH="0" baseline="0" noProof="0">
              <a:ln>
                <a:noFill/>
              </a:ln>
              <a:solidFill>
                <a:prstClr val="black"/>
              </a:solidFill>
              <a:effectLst/>
              <a:uLnTx/>
              <a:uFillTx/>
              <a:latin typeface="Calibri" panose="020F0502020204030204" pitchFamily="34" charset="0"/>
              <a:ea typeface="+mn-ea"/>
              <a:cs typeface="Arial" panose="020B0604020202020204" pitchFamily="34" charset="0"/>
            </a:endParaRPr>
          </a:p>
        </p:txBody>
      </p:sp>
    </p:spTree>
    <p:extLst>
      <p:ext uri="{BB962C8B-B14F-4D97-AF65-F5344CB8AC3E}">
        <p14:creationId xmlns:p14="http://schemas.microsoft.com/office/powerpoint/2010/main" val="184629731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Slide Image Placeholder 1">
            <a:extLst>
              <a:ext uri="{FF2B5EF4-FFF2-40B4-BE49-F238E27FC236}">
                <a16:creationId xmlns:a16="http://schemas.microsoft.com/office/drawing/2014/main" id="{B9A9DEB7-CE38-46BA-91DE-044CB3613954}"/>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3011" name="Notes Placeholder 2">
            <a:extLst>
              <a:ext uri="{FF2B5EF4-FFF2-40B4-BE49-F238E27FC236}">
                <a16:creationId xmlns:a16="http://schemas.microsoft.com/office/drawing/2014/main" id="{AD6E4BE1-E775-4E95-92A1-6FB18B650126}"/>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US" altLang="en-US"/>
          </a:p>
        </p:txBody>
      </p:sp>
      <p:sp>
        <p:nvSpPr>
          <p:cNvPr id="43012" name="Slide Number Placeholder 3">
            <a:extLst>
              <a:ext uri="{FF2B5EF4-FFF2-40B4-BE49-F238E27FC236}">
                <a16:creationId xmlns:a16="http://schemas.microsoft.com/office/drawing/2014/main" id="{FA6A230A-CAA5-4065-9A09-DE8098615A1B}"/>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54E78396-54E7-4D75-B433-4C58E1A77E0B}" type="slidenum">
              <a:rPr kumimoji="0" lang="en-US" altLang="en-US" sz="1200" b="0" i="0" u="none" strike="noStrike" kern="1200" cap="none" spc="0" normalizeH="0" baseline="0" noProof="0" smtClean="0">
                <a:ln>
                  <a:noFill/>
                </a:ln>
                <a:solidFill>
                  <a:prstClr val="black"/>
                </a:solidFill>
                <a:effectLst/>
                <a:uLnTx/>
                <a:uFillTx/>
                <a:latin typeface="Calibri" panose="020F050202020403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33</a:t>
            </a:fld>
            <a:endParaRPr kumimoji="0" lang="en-US" altLang="en-US" sz="1200" b="0" i="0" u="none" strike="noStrike" kern="1200" cap="none" spc="0" normalizeH="0" baseline="0" noProof="0">
              <a:ln>
                <a:noFill/>
              </a:ln>
              <a:solidFill>
                <a:prstClr val="black"/>
              </a:solidFill>
              <a:effectLst/>
              <a:uLnTx/>
              <a:uFillTx/>
              <a:latin typeface="Calibri" panose="020F0502020204030204" pitchFamily="34" charset="0"/>
              <a:ea typeface="+mn-ea"/>
              <a:cs typeface="Arial" panose="020B0604020202020204" pitchFamily="34" charset="0"/>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Rectangle 7">
            <a:extLst>
              <a:ext uri="{FF2B5EF4-FFF2-40B4-BE49-F238E27FC236}">
                <a16:creationId xmlns:a16="http://schemas.microsoft.com/office/drawing/2014/main" id="{3A92FF75-4166-4BEF-A421-CA336706F7DA}"/>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37412FD0-1B61-47E0-B4C8-AF4E8D7001B9}" type="slidenum">
              <a:rPr kumimoji="0" lang="en-US" alt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34</a:t>
            </a:fld>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4035" name="Rectangle 2">
            <a:extLst>
              <a:ext uri="{FF2B5EF4-FFF2-40B4-BE49-F238E27FC236}">
                <a16:creationId xmlns:a16="http://schemas.microsoft.com/office/drawing/2014/main" id="{042422A7-6BAB-4A54-A88C-59652158172A}"/>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4036" name="Rectangle 3">
            <a:extLst>
              <a:ext uri="{FF2B5EF4-FFF2-40B4-BE49-F238E27FC236}">
                <a16:creationId xmlns:a16="http://schemas.microsoft.com/office/drawing/2014/main" id="{52D80668-482D-4ED2-B254-5957D88A5A8B}"/>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r>
              <a:rPr lang="en-US" altLang="en-US">
                <a:latin typeface="Arial" panose="020B0604020202020204" pitchFamily="34" charset="0"/>
              </a:rPr>
              <a:t>FAR 2.101</a:t>
            </a:r>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6.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2.bin"/><Relationship Id="rId5" Type="http://schemas.openxmlformats.org/officeDocument/2006/relationships/image" Target="../media/image5.png"/><Relationship Id="rId4" Type="http://schemas.openxmlformats.org/officeDocument/2006/relationships/oleObject" Target="../embeddings/oleObject1.bin"/></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5.xml"/><Relationship Id="rId1" Type="http://schemas.openxmlformats.org/officeDocument/2006/relationships/vmlDrawing" Target="../drawings/vmlDrawing4.vml"/><Relationship Id="rId4" Type="http://schemas.openxmlformats.org/officeDocument/2006/relationships/image" Target="../media/image5.png"/></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5.xml"/><Relationship Id="rId1" Type="http://schemas.openxmlformats.org/officeDocument/2006/relationships/vmlDrawing" Target="../drawings/vmlDrawing5.vml"/><Relationship Id="rId4" Type="http://schemas.openxmlformats.org/officeDocument/2006/relationships/image" Target="../media/image5.png"/></Relationships>
</file>

<file path=ppt/slideLayouts/_rels/slideLayout52.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5.xml"/><Relationship Id="rId1" Type="http://schemas.openxmlformats.org/officeDocument/2006/relationships/vmlDrawing" Target="../drawings/vmlDrawing6.vml"/><Relationship Id="rId4" Type="http://schemas.openxmlformats.org/officeDocument/2006/relationships/image" Target="../media/image5.png"/></Relationships>
</file>

<file path=ppt/slideLayouts/_rels/slideLayout53.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5.xml"/><Relationship Id="rId1" Type="http://schemas.openxmlformats.org/officeDocument/2006/relationships/vmlDrawing" Target="../drawings/vmlDrawing7.vml"/><Relationship Id="rId4" Type="http://schemas.openxmlformats.org/officeDocument/2006/relationships/image" Target="../media/image5.png"/></Relationships>
</file>

<file path=ppt/slideLayouts/_rels/slideLayout54.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5.xml"/><Relationship Id="rId1" Type="http://schemas.openxmlformats.org/officeDocument/2006/relationships/vmlDrawing" Target="../drawings/vmlDrawing8.vml"/><Relationship Id="rId4" Type="http://schemas.openxmlformats.org/officeDocument/2006/relationships/image" Target="../media/image5.png"/></Relationships>
</file>

<file path=ppt/slideLayouts/_rels/slideLayout55.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5.xml"/><Relationship Id="rId1" Type="http://schemas.openxmlformats.org/officeDocument/2006/relationships/vmlDrawing" Target="../drawings/vmlDrawing9.vml"/><Relationship Id="rId4" Type="http://schemas.openxmlformats.org/officeDocument/2006/relationships/image" Target="../media/image5.png"/></Relationships>
</file>

<file path=ppt/slideLayouts/_rels/slideLayout56.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5.xml"/><Relationship Id="rId1" Type="http://schemas.openxmlformats.org/officeDocument/2006/relationships/vmlDrawing" Target="../drawings/vmlDrawing10.vml"/><Relationship Id="rId4" Type="http://schemas.openxmlformats.org/officeDocument/2006/relationships/image" Target="../media/image5.png"/></Relationships>
</file>

<file path=ppt/slideLayouts/_rels/slideLayout57.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5.xml"/><Relationship Id="rId1" Type="http://schemas.openxmlformats.org/officeDocument/2006/relationships/vmlDrawing" Target="../drawings/vmlDrawing11.vml"/><Relationship Id="rId4" Type="http://schemas.openxmlformats.org/officeDocument/2006/relationships/image" Target="../media/image5.png"/></Relationships>
</file>

<file path=ppt/slideLayouts/_rels/slideLayout58.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5.xml"/><Relationship Id="rId1" Type="http://schemas.openxmlformats.org/officeDocument/2006/relationships/vmlDrawing" Target="../drawings/vmlDrawing12.vml"/><Relationship Id="rId4" Type="http://schemas.openxmlformats.org/officeDocument/2006/relationships/image" Target="../media/image5.png"/></Relationships>
</file>

<file path=ppt/slideLayouts/_rels/slideLayout59.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5.xml"/><Relationship Id="rId1" Type="http://schemas.openxmlformats.org/officeDocument/2006/relationships/vmlDrawing" Target="../drawings/vmlDrawing13.vml"/><Relationship Id="rId4" Type="http://schemas.openxmlformats.org/officeDocument/2006/relationships/image" Target="../media/image5.pn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5.xml"/><Relationship Id="rId1" Type="http://schemas.openxmlformats.org/officeDocument/2006/relationships/vmlDrawing" Target="../drawings/vmlDrawing14.vml"/><Relationship Id="rId4" Type="http://schemas.openxmlformats.org/officeDocument/2006/relationships/image" Target="../media/image5.png"/></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5.xml"/><Relationship Id="rId1" Type="http://schemas.openxmlformats.org/officeDocument/2006/relationships/vmlDrawing" Target="../drawings/vmlDrawing15.vml"/><Relationship Id="rId4" Type="http://schemas.openxmlformats.org/officeDocument/2006/relationships/image" Target="../media/image5.png"/></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5.xml"/><Relationship Id="rId1" Type="http://schemas.openxmlformats.org/officeDocument/2006/relationships/vmlDrawing" Target="../drawings/vmlDrawing16.vml"/><Relationship Id="rId4" Type="http://schemas.openxmlformats.org/officeDocument/2006/relationships/image" Target="../media/image5.png"/></Relationships>
</file>

<file path=ppt/slideLayouts/_rels/slideLayout63.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5.xml"/><Relationship Id="rId1" Type="http://schemas.openxmlformats.org/officeDocument/2006/relationships/vmlDrawing" Target="../drawings/vmlDrawing17.vml"/><Relationship Id="rId4" Type="http://schemas.openxmlformats.org/officeDocument/2006/relationships/image" Target="../media/image5.pn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20F5EA-0195-4EC5-B8BF-C6CAEACC432A}"/>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80923FA3-2A72-4EA3-B9F1-F21A8BFF313D}"/>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2C3F3407-BBFB-49A0-8526-47830183B5DA}"/>
              </a:ext>
            </a:extLst>
          </p:cNvPr>
          <p:cNvSpPr>
            <a:spLocks noGrp="1"/>
          </p:cNvSpPr>
          <p:nvPr>
            <p:ph type="dt" sz="half" idx="10"/>
          </p:nvPr>
        </p:nvSpPr>
        <p:spPr/>
        <p:txBody>
          <a:bodyPr/>
          <a:lstStyle/>
          <a:p>
            <a:fld id="{0C08B2A5-1572-4DE8-941E-858EF0E10F23}" type="datetimeFigureOut">
              <a:rPr lang="en-US" smtClean="0"/>
              <a:t>12/6/2019</a:t>
            </a:fld>
            <a:endParaRPr lang="en-US"/>
          </a:p>
        </p:txBody>
      </p:sp>
      <p:sp>
        <p:nvSpPr>
          <p:cNvPr id="5" name="Footer Placeholder 4">
            <a:extLst>
              <a:ext uri="{FF2B5EF4-FFF2-40B4-BE49-F238E27FC236}">
                <a16:creationId xmlns:a16="http://schemas.microsoft.com/office/drawing/2014/main" id="{FA1F81C4-1A69-4411-9ADB-BCA3266E8FF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3A23CAD-34CF-4897-99A0-01D47240521B}"/>
              </a:ext>
            </a:extLst>
          </p:cNvPr>
          <p:cNvSpPr>
            <a:spLocks noGrp="1"/>
          </p:cNvSpPr>
          <p:nvPr>
            <p:ph type="sldNum" sz="quarter" idx="12"/>
          </p:nvPr>
        </p:nvSpPr>
        <p:spPr/>
        <p:txBody>
          <a:bodyPr/>
          <a:lstStyle/>
          <a:p>
            <a:fld id="{E5FAEECA-10E4-45EC-A9E1-A5331A7A6F2F}" type="slidenum">
              <a:rPr lang="en-US" smtClean="0"/>
              <a:t>‹#›</a:t>
            </a:fld>
            <a:endParaRPr lang="en-US"/>
          </a:p>
        </p:txBody>
      </p:sp>
    </p:spTree>
    <p:extLst>
      <p:ext uri="{BB962C8B-B14F-4D97-AF65-F5344CB8AC3E}">
        <p14:creationId xmlns:p14="http://schemas.microsoft.com/office/powerpoint/2010/main" val="116731130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8D8DBA-FAC7-4FCB-ADA4-1636F373579A}"/>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55939E6F-E2D0-4BC6-8D87-4062B3F7AA7E}"/>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50A8D42-4858-4FAE-9134-31F10B1E2982}"/>
              </a:ext>
            </a:extLst>
          </p:cNvPr>
          <p:cNvSpPr>
            <a:spLocks noGrp="1"/>
          </p:cNvSpPr>
          <p:nvPr>
            <p:ph type="dt" sz="half" idx="10"/>
          </p:nvPr>
        </p:nvSpPr>
        <p:spPr/>
        <p:txBody>
          <a:bodyPr/>
          <a:lstStyle/>
          <a:p>
            <a:fld id="{0C08B2A5-1572-4DE8-941E-858EF0E10F23}" type="datetimeFigureOut">
              <a:rPr lang="en-US" smtClean="0"/>
              <a:t>12/6/2019</a:t>
            </a:fld>
            <a:endParaRPr lang="en-US"/>
          </a:p>
        </p:txBody>
      </p:sp>
      <p:sp>
        <p:nvSpPr>
          <p:cNvPr id="5" name="Footer Placeholder 4">
            <a:extLst>
              <a:ext uri="{FF2B5EF4-FFF2-40B4-BE49-F238E27FC236}">
                <a16:creationId xmlns:a16="http://schemas.microsoft.com/office/drawing/2014/main" id="{C1231ABF-7899-4842-91F7-D1135E8891E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5398E7B-2A87-4950-B516-315659ADB378}"/>
              </a:ext>
            </a:extLst>
          </p:cNvPr>
          <p:cNvSpPr>
            <a:spLocks noGrp="1"/>
          </p:cNvSpPr>
          <p:nvPr>
            <p:ph type="sldNum" sz="quarter" idx="12"/>
          </p:nvPr>
        </p:nvSpPr>
        <p:spPr/>
        <p:txBody>
          <a:bodyPr/>
          <a:lstStyle/>
          <a:p>
            <a:fld id="{E5FAEECA-10E4-45EC-A9E1-A5331A7A6F2F}" type="slidenum">
              <a:rPr lang="en-US" smtClean="0"/>
              <a:t>‹#›</a:t>
            </a:fld>
            <a:endParaRPr lang="en-US"/>
          </a:p>
        </p:txBody>
      </p:sp>
    </p:spTree>
    <p:extLst>
      <p:ext uri="{BB962C8B-B14F-4D97-AF65-F5344CB8AC3E}">
        <p14:creationId xmlns:p14="http://schemas.microsoft.com/office/powerpoint/2010/main" val="176903565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ED6B82C0-0888-4409-8704-B75D174CBFBA}"/>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A728C4A5-4CC4-44DE-9CA1-099F95ADE7D6}"/>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7B69ADB-3F7F-42AE-914B-57B65C806C07}"/>
              </a:ext>
            </a:extLst>
          </p:cNvPr>
          <p:cNvSpPr>
            <a:spLocks noGrp="1"/>
          </p:cNvSpPr>
          <p:nvPr>
            <p:ph type="dt" sz="half" idx="10"/>
          </p:nvPr>
        </p:nvSpPr>
        <p:spPr/>
        <p:txBody>
          <a:bodyPr/>
          <a:lstStyle/>
          <a:p>
            <a:fld id="{0C08B2A5-1572-4DE8-941E-858EF0E10F23}" type="datetimeFigureOut">
              <a:rPr lang="en-US" smtClean="0"/>
              <a:t>12/6/2019</a:t>
            </a:fld>
            <a:endParaRPr lang="en-US"/>
          </a:p>
        </p:txBody>
      </p:sp>
      <p:sp>
        <p:nvSpPr>
          <p:cNvPr id="5" name="Footer Placeholder 4">
            <a:extLst>
              <a:ext uri="{FF2B5EF4-FFF2-40B4-BE49-F238E27FC236}">
                <a16:creationId xmlns:a16="http://schemas.microsoft.com/office/drawing/2014/main" id="{367CD395-BCEF-4FB4-9641-5E274D23E38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543B3F1-A8AF-4742-8CC7-A5EBF41E5AFE}"/>
              </a:ext>
            </a:extLst>
          </p:cNvPr>
          <p:cNvSpPr>
            <a:spLocks noGrp="1"/>
          </p:cNvSpPr>
          <p:nvPr>
            <p:ph type="sldNum" sz="quarter" idx="12"/>
          </p:nvPr>
        </p:nvSpPr>
        <p:spPr/>
        <p:txBody>
          <a:bodyPr/>
          <a:lstStyle/>
          <a:p>
            <a:fld id="{E5FAEECA-10E4-45EC-A9E1-A5331A7A6F2F}" type="slidenum">
              <a:rPr lang="en-US" smtClean="0"/>
              <a:t>‹#›</a:t>
            </a:fld>
            <a:endParaRPr lang="en-US"/>
          </a:p>
        </p:txBody>
      </p:sp>
    </p:spTree>
    <p:extLst>
      <p:ext uri="{BB962C8B-B14F-4D97-AF65-F5344CB8AC3E}">
        <p14:creationId xmlns:p14="http://schemas.microsoft.com/office/powerpoint/2010/main" val="247344365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5901F0B-005B-4F32-9F3C-26AF3FEB8DFC}"/>
              </a:ext>
            </a:extLst>
          </p:cNvPr>
          <p:cNvSpPr/>
          <p:nvPr/>
        </p:nvSpPr>
        <p:spPr>
          <a:xfrm>
            <a:off x="0" y="0"/>
            <a:ext cx="12192000" cy="6858000"/>
          </a:xfrm>
          <a:prstGeom prst="rect">
            <a:avLst/>
          </a:prstGeom>
          <a:solidFill>
            <a:srgbClr val="FFFFFF"/>
          </a:solidFill>
          <a:ln w="12700" cap="flat" cmpd="sng" algn="ctr">
            <a:noFill/>
            <a:prstDash val="solid"/>
          </a:ln>
        </p:spPr>
        <p:style>
          <a:lnRef idx="2">
            <a:schemeClr val="accent1"/>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800">
              <a:solidFill>
                <a:prstClr val="white"/>
              </a:solidFill>
            </a:endParaRPr>
          </a:p>
        </p:txBody>
      </p:sp>
      <p:sp useBgFill="1">
        <p:nvSpPr>
          <p:cNvPr id="5" name="Rounded Rectangle 10">
            <a:extLst>
              <a:ext uri="{FF2B5EF4-FFF2-40B4-BE49-F238E27FC236}">
                <a16:creationId xmlns:a16="http://schemas.microsoft.com/office/drawing/2014/main" id="{5EBBAC00-DFFA-4303-B655-0B734777FCF1}"/>
              </a:ext>
            </a:extLst>
          </p:cNvPr>
          <p:cNvSpPr/>
          <p:nvPr/>
        </p:nvSpPr>
        <p:spPr>
          <a:xfrm>
            <a:off x="86785" y="69851"/>
            <a:ext cx="12018433" cy="6691313"/>
          </a:xfrm>
          <a:prstGeom prst="roundRect">
            <a:avLst>
              <a:gd name="adj" fmla="val 4929"/>
            </a:avLst>
          </a:prstGeom>
          <a:ln w="6350" cap="sq" cmpd="sng" algn="ctr">
            <a:solidFill>
              <a:schemeClr val="tx1">
                <a:alpha val="100000"/>
              </a:schemeClr>
            </a:solidFill>
            <a:prstDash val="solid"/>
          </a:ln>
          <a:effectLst/>
        </p:spPr>
        <p:style>
          <a:lnRef idx="3">
            <a:schemeClr val="lt1"/>
          </a:lnRef>
          <a:fillRef idx="1001">
            <a:schemeClr val="lt1"/>
          </a:fillRef>
          <a:effectRef idx="1">
            <a:schemeClr val="accent1"/>
          </a:effectRef>
          <a:fontRef idx="minor">
            <a:schemeClr val="lt1"/>
          </a:fontRef>
        </p:style>
        <p:txBody>
          <a:bodyPr anchor="ctr"/>
          <a:lstStyle/>
          <a:p>
            <a:pPr algn="ctr" fontAlgn="auto">
              <a:spcBef>
                <a:spcPts val="0"/>
              </a:spcBef>
              <a:spcAft>
                <a:spcPts val="0"/>
              </a:spcAft>
              <a:defRPr/>
            </a:pPr>
            <a:endParaRPr lang="en-US" sz="1800">
              <a:solidFill>
                <a:prstClr val="white"/>
              </a:solidFill>
            </a:endParaRPr>
          </a:p>
        </p:txBody>
      </p:sp>
      <p:sp>
        <p:nvSpPr>
          <p:cNvPr id="6" name="Rectangle 5">
            <a:extLst>
              <a:ext uri="{FF2B5EF4-FFF2-40B4-BE49-F238E27FC236}">
                <a16:creationId xmlns:a16="http://schemas.microsoft.com/office/drawing/2014/main" id="{C24AFDAB-F33A-4C57-B978-08BD83AF1C4F}"/>
              </a:ext>
            </a:extLst>
          </p:cNvPr>
          <p:cNvSpPr/>
          <p:nvPr/>
        </p:nvSpPr>
        <p:spPr>
          <a:xfrm>
            <a:off x="84668" y="1449389"/>
            <a:ext cx="12029017" cy="1527175"/>
          </a:xfrm>
          <a:prstGeom prst="rect">
            <a:avLst/>
          </a:prstGeom>
          <a:solidFill>
            <a:schemeClr val="accent1">
              <a:alpha val="100000"/>
            </a:schemeClr>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sz="1800">
              <a:solidFill>
                <a:prstClr val="white"/>
              </a:solidFill>
            </a:endParaRPr>
          </a:p>
        </p:txBody>
      </p:sp>
      <p:sp>
        <p:nvSpPr>
          <p:cNvPr id="7" name="Rectangle 6">
            <a:extLst>
              <a:ext uri="{FF2B5EF4-FFF2-40B4-BE49-F238E27FC236}">
                <a16:creationId xmlns:a16="http://schemas.microsoft.com/office/drawing/2014/main" id="{5460F049-CDA7-4A39-B6E0-37DBFC7247C7}"/>
              </a:ext>
            </a:extLst>
          </p:cNvPr>
          <p:cNvSpPr/>
          <p:nvPr/>
        </p:nvSpPr>
        <p:spPr>
          <a:xfrm>
            <a:off x="84668" y="1397000"/>
            <a:ext cx="12029017" cy="120650"/>
          </a:xfrm>
          <a:prstGeom prst="rect">
            <a:avLst/>
          </a:prstGeom>
          <a:solidFill>
            <a:schemeClr val="accent1">
              <a:tint val="60000"/>
            </a:schemeClr>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sz="1800">
              <a:solidFill>
                <a:prstClr val="white"/>
              </a:solidFill>
            </a:endParaRPr>
          </a:p>
        </p:txBody>
      </p:sp>
      <p:sp>
        <p:nvSpPr>
          <p:cNvPr id="10" name="Rectangle 9">
            <a:extLst>
              <a:ext uri="{FF2B5EF4-FFF2-40B4-BE49-F238E27FC236}">
                <a16:creationId xmlns:a16="http://schemas.microsoft.com/office/drawing/2014/main" id="{EE11CCEA-4B52-4DC1-AA0D-2D0514B6F887}"/>
              </a:ext>
            </a:extLst>
          </p:cNvPr>
          <p:cNvSpPr/>
          <p:nvPr/>
        </p:nvSpPr>
        <p:spPr>
          <a:xfrm>
            <a:off x="84668" y="2976564"/>
            <a:ext cx="12029017" cy="111125"/>
          </a:xfrm>
          <a:prstGeom prst="rect">
            <a:avLst/>
          </a:prstGeom>
          <a:solidFill>
            <a:schemeClr val="accent5"/>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sz="1800">
              <a:solidFill>
                <a:prstClr val="white"/>
              </a:solidFill>
            </a:endParaRPr>
          </a:p>
        </p:txBody>
      </p:sp>
      <p:pic>
        <p:nvPicPr>
          <p:cNvPr id="11" name="Picture 16">
            <a:extLst>
              <a:ext uri="{FF2B5EF4-FFF2-40B4-BE49-F238E27FC236}">
                <a16:creationId xmlns:a16="http://schemas.microsoft.com/office/drawing/2014/main" id="{319F52C6-1561-4520-810D-F28041E07CA0}"/>
              </a:ext>
            </a:extLst>
          </p:cNvPr>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9175751" y="5373688"/>
            <a:ext cx="2652183" cy="1154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Subtitle 8"/>
          <p:cNvSpPr>
            <a:spLocks noGrp="1"/>
          </p:cNvSpPr>
          <p:nvPr>
            <p:ph type="subTitle" idx="1"/>
          </p:nvPr>
        </p:nvSpPr>
        <p:spPr>
          <a:xfrm>
            <a:off x="1727200" y="3200400"/>
            <a:ext cx="8534400" cy="1600200"/>
          </a:xfrm>
        </p:spPr>
        <p:txBody>
          <a:bodyPr/>
          <a:lstStyle>
            <a:lvl1pPr marL="0" indent="0" algn="ctr">
              <a:buNone/>
              <a:defRPr sz="2600">
                <a:solidFill>
                  <a:schemeClr val="tx2"/>
                </a:solidFill>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lstStyle>
          <a:p>
            <a:r>
              <a:rPr lang="en-US"/>
              <a:t>Click to edit Master subtitle style</a:t>
            </a:r>
          </a:p>
        </p:txBody>
      </p:sp>
      <p:sp>
        <p:nvSpPr>
          <p:cNvPr id="8" name="Title 7"/>
          <p:cNvSpPr>
            <a:spLocks noGrp="1"/>
          </p:cNvSpPr>
          <p:nvPr>
            <p:ph type="ctrTitle"/>
          </p:nvPr>
        </p:nvSpPr>
        <p:spPr>
          <a:xfrm>
            <a:off x="609600" y="1505933"/>
            <a:ext cx="10972800" cy="1470025"/>
          </a:xfrm>
        </p:spPr>
        <p:txBody>
          <a:bodyPr anchor="ctr"/>
          <a:lstStyle>
            <a:lvl1pPr algn="ctr">
              <a:defRPr lang="en-US" dirty="0">
                <a:solidFill>
                  <a:srgbClr val="FFFFFF"/>
                </a:solidFill>
              </a:defRPr>
            </a:lvl1pPr>
          </a:lstStyle>
          <a:p>
            <a:r>
              <a:rPr lang="en-US"/>
              <a:t>Click to edit Master title style</a:t>
            </a:r>
          </a:p>
        </p:txBody>
      </p:sp>
      <p:sp>
        <p:nvSpPr>
          <p:cNvPr id="12" name="Date Placeholder 27">
            <a:extLst>
              <a:ext uri="{FF2B5EF4-FFF2-40B4-BE49-F238E27FC236}">
                <a16:creationId xmlns:a16="http://schemas.microsoft.com/office/drawing/2014/main" id="{E2A526E7-7E67-4538-BEDB-FB34EFE5F756}"/>
              </a:ext>
            </a:extLst>
          </p:cNvPr>
          <p:cNvSpPr>
            <a:spLocks noGrp="1"/>
          </p:cNvSpPr>
          <p:nvPr>
            <p:ph type="dt" sz="half" idx="10"/>
          </p:nvPr>
        </p:nvSpPr>
        <p:spPr/>
        <p:txBody>
          <a:bodyPr/>
          <a:lstStyle>
            <a:lvl1pPr>
              <a:defRPr/>
            </a:lvl1pPr>
          </a:lstStyle>
          <a:p>
            <a:pPr>
              <a:defRPr/>
            </a:pPr>
            <a:fld id="{1ADF19AA-145C-408E-B0B9-BF37D289F42A}" type="datetimeFigureOut">
              <a:rPr lang="en-US"/>
              <a:pPr>
                <a:defRPr/>
              </a:pPr>
              <a:t>12/6/2019</a:t>
            </a:fld>
            <a:endParaRPr lang="en-US"/>
          </a:p>
        </p:txBody>
      </p:sp>
      <p:sp>
        <p:nvSpPr>
          <p:cNvPr id="13" name="Footer Placeholder 16">
            <a:extLst>
              <a:ext uri="{FF2B5EF4-FFF2-40B4-BE49-F238E27FC236}">
                <a16:creationId xmlns:a16="http://schemas.microsoft.com/office/drawing/2014/main" id="{BE88D408-05F7-486D-9E3C-2B4399BCA185}"/>
              </a:ext>
            </a:extLst>
          </p:cNvPr>
          <p:cNvSpPr>
            <a:spLocks noGrp="1"/>
          </p:cNvSpPr>
          <p:nvPr>
            <p:ph type="ftr" sz="quarter" idx="11"/>
          </p:nvPr>
        </p:nvSpPr>
        <p:spPr/>
        <p:txBody>
          <a:bodyPr/>
          <a:lstStyle>
            <a:lvl1pPr>
              <a:defRPr/>
            </a:lvl1pPr>
          </a:lstStyle>
          <a:p>
            <a:pPr>
              <a:defRPr/>
            </a:pPr>
            <a:endParaRPr lang="en-US"/>
          </a:p>
        </p:txBody>
      </p:sp>
      <p:sp>
        <p:nvSpPr>
          <p:cNvPr id="14" name="Slide Number Placeholder 28">
            <a:extLst>
              <a:ext uri="{FF2B5EF4-FFF2-40B4-BE49-F238E27FC236}">
                <a16:creationId xmlns:a16="http://schemas.microsoft.com/office/drawing/2014/main" id="{F39024ED-0D93-438D-8C3E-8D7F92FFD1F2}"/>
              </a:ext>
            </a:extLst>
          </p:cNvPr>
          <p:cNvSpPr>
            <a:spLocks noGrp="1"/>
          </p:cNvSpPr>
          <p:nvPr>
            <p:ph type="sldNum" sz="quarter" idx="12"/>
          </p:nvPr>
        </p:nvSpPr>
        <p:spPr/>
        <p:txBody>
          <a:bodyPr/>
          <a:lstStyle>
            <a:lvl1pPr>
              <a:defRPr/>
            </a:lvl1pPr>
          </a:lstStyle>
          <a:p>
            <a:fld id="{1050A121-F964-4C12-B615-E828D04C7025}" type="slidenum">
              <a:rPr lang="en-US" altLang="en-US"/>
              <a:pPr/>
              <a:t>‹#›</a:t>
            </a:fld>
            <a:endParaRPr lang="en-US" altLang="en-US"/>
          </a:p>
        </p:txBody>
      </p:sp>
    </p:spTree>
    <p:extLst>
      <p:ext uri="{BB962C8B-B14F-4D97-AF65-F5344CB8AC3E}">
        <p14:creationId xmlns:p14="http://schemas.microsoft.com/office/powerpoint/2010/main" val="1124351988"/>
      </p:ext>
    </p:extLst>
  </p:cSld>
  <p:clrMapOvr>
    <a:overrideClrMapping bg1="lt1" tx1="dk1" bg2="lt2" tx2="dk2" accent1="accent1" accent2="accent2" accent3="accent3" accent4="accent4" accent5="accent5" accent6="accent6" hlink="hlink" folHlink="folHlink"/>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4" name="TextBox 9">
            <a:extLst>
              <a:ext uri="{FF2B5EF4-FFF2-40B4-BE49-F238E27FC236}">
                <a16:creationId xmlns:a16="http://schemas.microsoft.com/office/drawing/2014/main" id="{A1ABA024-E5CA-4512-93BD-533E6C586DEF}"/>
              </a:ext>
            </a:extLst>
          </p:cNvPr>
          <p:cNvSpPr txBox="1">
            <a:spLocks noChangeArrowheads="1"/>
          </p:cNvSpPr>
          <p:nvPr userDrawn="1"/>
        </p:nvSpPr>
        <p:spPr bwMode="auto">
          <a:xfrm>
            <a:off x="10231968" y="566739"/>
            <a:ext cx="1157817"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Perpetua" panose="02020502060401020303" pitchFamily="18" charset="0"/>
              </a:defRPr>
            </a:lvl1pPr>
            <a:lvl2pPr marL="742950" indent="-285750">
              <a:defRPr>
                <a:solidFill>
                  <a:schemeClr val="tx1"/>
                </a:solidFill>
                <a:latin typeface="Perpetua" panose="02020502060401020303" pitchFamily="18" charset="0"/>
              </a:defRPr>
            </a:lvl2pPr>
            <a:lvl3pPr marL="1143000" indent="-228600">
              <a:defRPr>
                <a:solidFill>
                  <a:schemeClr val="tx1"/>
                </a:solidFill>
                <a:latin typeface="Perpetua" panose="02020502060401020303" pitchFamily="18" charset="0"/>
              </a:defRPr>
            </a:lvl3pPr>
            <a:lvl4pPr marL="1600200" indent="-228600">
              <a:defRPr>
                <a:solidFill>
                  <a:schemeClr val="tx1"/>
                </a:solidFill>
                <a:latin typeface="Perpetua" panose="02020502060401020303" pitchFamily="18" charset="0"/>
              </a:defRPr>
            </a:lvl4pPr>
            <a:lvl5pPr marL="2057400" indent="-228600">
              <a:defRPr>
                <a:solidFill>
                  <a:schemeClr val="tx1"/>
                </a:solidFill>
                <a:latin typeface="Perpetua" panose="02020502060401020303" pitchFamily="18" charset="0"/>
              </a:defRPr>
            </a:lvl5pPr>
            <a:lvl6pPr marL="2514600" indent="-228600" fontAlgn="base">
              <a:spcBef>
                <a:spcPct val="0"/>
              </a:spcBef>
              <a:spcAft>
                <a:spcPct val="0"/>
              </a:spcAft>
              <a:defRPr>
                <a:solidFill>
                  <a:schemeClr val="tx1"/>
                </a:solidFill>
                <a:latin typeface="Perpetua" panose="02020502060401020303" pitchFamily="18" charset="0"/>
              </a:defRPr>
            </a:lvl6pPr>
            <a:lvl7pPr marL="2971800" indent="-228600" fontAlgn="base">
              <a:spcBef>
                <a:spcPct val="0"/>
              </a:spcBef>
              <a:spcAft>
                <a:spcPct val="0"/>
              </a:spcAft>
              <a:defRPr>
                <a:solidFill>
                  <a:schemeClr val="tx1"/>
                </a:solidFill>
                <a:latin typeface="Perpetua" panose="02020502060401020303" pitchFamily="18" charset="0"/>
              </a:defRPr>
            </a:lvl7pPr>
            <a:lvl8pPr marL="3429000" indent="-228600" fontAlgn="base">
              <a:spcBef>
                <a:spcPct val="0"/>
              </a:spcBef>
              <a:spcAft>
                <a:spcPct val="0"/>
              </a:spcAft>
              <a:defRPr>
                <a:solidFill>
                  <a:schemeClr val="tx1"/>
                </a:solidFill>
                <a:latin typeface="Perpetua" panose="02020502060401020303" pitchFamily="18" charset="0"/>
              </a:defRPr>
            </a:lvl8pPr>
            <a:lvl9pPr marL="3886200" indent="-228600" fontAlgn="base">
              <a:spcBef>
                <a:spcPct val="0"/>
              </a:spcBef>
              <a:spcAft>
                <a:spcPct val="0"/>
              </a:spcAft>
              <a:defRPr>
                <a:solidFill>
                  <a:schemeClr val="tx1"/>
                </a:solidFill>
                <a:latin typeface="Perpetua" panose="02020502060401020303" pitchFamily="18" charset="0"/>
              </a:defRPr>
            </a:lvl9pPr>
          </a:lstStyle>
          <a:p>
            <a:pPr algn="r"/>
            <a:fld id="{344E5861-17CC-4ED4-B791-882326A42F42}" type="slidenum">
              <a:rPr lang="en-US" altLang="en-US" sz="1800">
                <a:solidFill>
                  <a:srgbClr val="000000"/>
                </a:solidFill>
              </a:rPr>
              <a:pPr algn="r"/>
              <a:t>‹#›</a:t>
            </a:fld>
            <a:endParaRPr lang="en-US" altLang="en-US" sz="1800">
              <a:solidFill>
                <a:srgbClr val="000000"/>
              </a:solidFill>
            </a:endParaRPr>
          </a:p>
        </p:txBody>
      </p:sp>
      <p:pic>
        <p:nvPicPr>
          <p:cNvPr id="5" name="Picture 10">
            <a:extLst>
              <a:ext uri="{FF2B5EF4-FFF2-40B4-BE49-F238E27FC236}">
                <a16:creationId xmlns:a16="http://schemas.microsoft.com/office/drawing/2014/main" id="{3E0BC49A-06A4-4CFB-AFC3-5A0851DA069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175751" y="5373688"/>
            <a:ext cx="2652183" cy="1154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lstStyle/>
          <a:p>
            <a:r>
              <a:rPr lang="en-US"/>
              <a:t>Click to edit Master title style</a:t>
            </a:r>
          </a:p>
        </p:txBody>
      </p:sp>
      <p:sp>
        <p:nvSpPr>
          <p:cNvPr id="8" name="Content Placeholder 7"/>
          <p:cNvSpPr>
            <a:spLocks noGrp="1"/>
          </p:cNvSpPr>
          <p:nvPr>
            <p:ph sz="quarter" idx="1"/>
          </p:nvPr>
        </p:nvSpPr>
        <p:spPr>
          <a:xfrm>
            <a:off x="1219200" y="1447800"/>
            <a:ext cx="10363200" cy="4572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Date Placeholder 3">
            <a:extLst>
              <a:ext uri="{FF2B5EF4-FFF2-40B4-BE49-F238E27FC236}">
                <a16:creationId xmlns:a16="http://schemas.microsoft.com/office/drawing/2014/main" id="{49F65757-EF79-4490-9F74-58FEE4A8C0AB}"/>
              </a:ext>
            </a:extLst>
          </p:cNvPr>
          <p:cNvSpPr>
            <a:spLocks noGrp="1"/>
          </p:cNvSpPr>
          <p:nvPr>
            <p:ph type="dt" sz="half" idx="10"/>
          </p:nvPr>
        </p:nvSpPr>
        <p:spPr/>
        <p:txBody>
          <a:bodyPr/>
          <a:lstStyle>
            <a:lvl1pPr>
              <a:defRPr/>
            </a:lvl1pPr>
          </a:lstStyle>
          <a:p>
            <a:pPr>
              <a:defRPr/>
            </a:pPr>
            <a:fld id="{4704CECA-EA3E-41F8-8AA7-7FA36044E46A}" type="datetimeFigureOut">
              <a:rPr lang="en-US"/>
              <a:pPr>
                <a:defRPr/>
              </a:pPr>
              <a:t>12/6/2019</a:t>
            </a:fld>
            <a:endParaRPr lang="en-US"/>
          </a:p>
        </p:txBody>
      </p:sp>
      <p:sp>
        <p:nvSpPr>
          <p:cNvPr id="7" name="Footer Placeholder 4">
            <a:extLst>
              <a:ext uri="{FF2B5EF4-FFF2-40B4-BE49-F238E27FC236}">
                <a16:creationId xmlns:a16="http://schemas.microsoft.com/office/drawing/2014/main" id="{C9CDDE5C-078F-45BD-92CC-061AA652A0CB}"/>
              </a:ext>
            </a:extLst>
          </p:cNvPr>
          <p:cNvSpPr>
            <a:spLocks noGrp="1"/>
          </p:cNvSpPr>
          <p:nvPr>
            <p:ph type="ftr" sz="quarter" idx="11"/>
          </p:nvPr>
        </p:nvSpPr>
        <p:spPr/>
        <p:txBody>
          <a:bodyPr/>
          <a:lstStyle>
            <a:lvl1pPr>
              <a:defRPr/>
            </a:lvl1pPr>
          </a:lstStyle>
          <a:p>
            <a:pPr>
              <a:defRPr/>
            </a:pPr>
            <a:endParaRPr lang="en-US"/>
          </a:p>
        </p:txBody>
      </p:sp>
    </p:spTree>
    <p:extLst>
      <p:ext uri="{BB962C8B-B14F-4D97-AF65-F5344CB8AC3E}">
        <p14:creationId xmlns:p14="http://schemas.microsoft.com/office/powerpoint/2010/main" val="189495286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secHead" preserve="1">
  <p:cSld name="Section Header">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490A233-2772-451C-BD04-C532C3658C43}"/>
              </a:ext>
            </a:extLst>
          </p:cNvPr>
          <p:cNvSpPr/>
          <p:nvPr/>
        </p:nvSpPr>
        <p:spPr>
          <a:xfrm>
            <a:off x="0" y="0"/>
            <a:ext cx="12192000" cy="6858000"/>
          </a:xfrm>
          <a:prstGeom prst="rect">
            <a:avLst/>
          </a:prstGeom>
          <a:solidFill>
            <a:srgbClr val="FFFFFF"/>
          </a:solidFill>
          <a:ln w="12700" cap="flat" cmpd="sng" algn="ctr">
            <a:noFill/>
            <a:prstDash val="solid"/>
          </a:ln>
        </p:spPr>
        <p:style>
          <a:lnRef idx="2">
            <a:schemeClr val="accent1"/>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800">
              <a:solidFill>
                <a:prstClr val="white"/>
              </a:solidFill>
            </a:endParaRPr>
          </a:p>
        </p:txBody>
      </p:sp>
      <p:sp useBgFill="1">
        <p:nvSpPr>
          <p:cNvPr id="5" name="Rounded Rectangle 10">
            <a:extLst>
              <a:ext uri="{FF2B5EF4-FFF2-40B4-BE49-F238E27FC236}">
                <a16:creationId xmlns:a16="http://schemas.microsoft.com/office/drawing/2014/main" id="{2D4C8540-F524-4DB5-9EE2-4DCCF4263DF1}"/>
              </a:ext>
            </a:extLst>
          </p:cNvPr>
          <p:cNvSpPr/>
          <p:nvPr/>
        </p:nvSpPr>
        <p:spPr>
          <a:xfrm>
            <a:off x="87084" y="69756"/>
            <a:ext cx="12017829" cy="6692201"/>
          </a:xfrm>
          <a:prstGeom prst="roundRect">
            <a:avLst>
              <a:gd name="adj" fmla="val 4929"/>
            </a:avLst>
          </a:prstGeom>
          <a:ln w="6350" cap="sq" cmpd="sng" algn="ctr">
            <a:solidFill>
              <a:schemeClr val="tx1">
                <a:alpha val="100000"/>
              </a:schemeClr>
            </a:solidFill>
            <a:prstDash val="solid"/>
          </a:ln>
          <a:effectLst/>
        </p:spPr>
        <p:style>
          <a:lnRef idx="3">
            <a:schemeClr val="lt1"/>
          </a:lnRef>
          <a:fillRef idx="1003">
            <a:schemeClr val="lt1"/>
          </a:fillRef>
          <a:effectRef idx="1">
            <a:schemeClr val="accent1"/>
          </a:effectRef>
          <a:fontRef idx="minor">
            <a:schemeClr val="lt1"/>
          </a:fontRef>
        </p:style>
        <p:txBody>
          <a:bodyPr anchor="ctr"/>
          <a:lstStyle/>
          <a:p>
            <a:pPr algn="ctr" fontAlgn="auto">
              <a:spcBef>
                <a:spcPts val="0"/>
              </a:spcBef>
              <a:spcAft>
                <a:spcPts val="0"/>
              </a:spcAft>
              <a:defRPr/>
            </a:pPr>
            <a:endParaRPr lang="en-US" sz="1800">
              <a:solidFill>
                <a:prstClr val="white"/>
              </a:solidFill>
            </a:endParaRPr>
          </a:p>
        </p:txBody>
      </p:sp>
      <p:sp>
        <p:nvSpPr>
          <p:cNvPr id="6" name="Rectangle 5">
            <a:extLst>
              <a:ext uri="{FF2B5EF4-FFF2-40B4-BE49-F238E27FC236}">
                <a16:creationId xmlns:a16="http://schemas.microsoft.com/office/drawing/2014/main" id="{79750CF1-34C3-4EBA-88DF-0808EEFDD969}"/>
              </a:ext>
            </a:extLst>
          </p:cNvPr>
          <p:cNvSpPr/>
          <p:nvPr/>
        </p:nvSpPr>
        <p:spPr>
          <a:xfrm flipV="1">
            <a:off x="93134" y="2376489"/>
            <a:ext cx="12018433" cy="92075"/>
          </a:xfrm>
          <a:prstGeom prst="rect">
            <a:avLst/>
          </a:prstGeom>
          <a:solidFill>
            <a:schemeClr val="accent1">
              <a:alpha val="100000"/>
            </a:schemeClr>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sz="1800">
              <a:solidFill>
                <a:prstClr val="white"/>
              </a:solidFill>
            </a:endParaRPr>
          </a:p>
        </p:txBody>
      </p:sp>
      <p:sp>
        <p:nvSpPr>
          <p:cNvPr id="7" name="Rectangle 6">
            <a:extLst>
              <a:ext uri="{FF2B5EF4-FFF2-40B4-BE49-F238E27FC236}">
                <a16:creationId xmlns:a16="http://schemas.microsoft.com/office/drawing/2014/main" id="{85C548D2-CD6D-4AC8-8EA0-9CA8C6A85AD8}"/>
              </a:ext>
            </a:extLst>
          </p:cNvPr>
          <p:cNvSpPr/>
          <p:nvPr/>
        </p:nvSpPr>
        <p:spPr>
          <a:xfrm>
            <a:off x="93134" y="2341564"/>
            <a:ext cx="12018433" cy="46037"/>
          </a:xfrm>
          <a:prstGeom prst="rect">
            <a:avLst/>
          </a:prstGeom>
          <a:solidFill>
            <a:schemeClr val="accent1">
              <a:tint val="60000"/>
            </a:schemeClr>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sz="1800">
              <a:solidFill>
                <a:prstClr val="white"/>
              </a:solidFill>
            </a:endParaRPr>
          </a:p>
        </p:txBody>
      </p:sp>
      <p:sp>
        <p:nvSpPr>
          <p:cNvPr id="8" name="Rectangle 7">
            <a:extLst>
              <a:ext uri="{FF2B5EF4-FFF2-40B4-BE49-F238E27FC236}">
                <a16:creationId xmlns:a16="http://schemas.microsoft.com/office/drawing/2014/main" id="{69B27370-3D53-4E4A-AE4F-4AF7E6DA9D9C}"/>
              </a:ext>
            </a:extLst>
          </p:cNvPr>
          <p:cNvSpPr/>
          <p:nvPr/>
        </p:nvSpPr>
        <p:spPr>
          <a:xfrm>
            <a:off x="91018" y="2468564"/>
            <a:ext cx="12020549" cy="46037"/>
          </a:xfrm>
          <a:prstGeom prst="rect">
            <a:avLst/>
          </a:prstGeom>
          <a:solidFill>
            <a:schemeClr val="accent5"/>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sz="1800">
              <a:solidFill>
                <a:prstClr val="white"/>
              </a:solidFill>
            </a:endParaRPr>
          </a:p>
        </p:txBody>
      </p:sp>
      <p:pic>
        <p:nvPicPr>
          <p:cNvPr id="9" name="Picture 16">
            <a:extLst>
              <a:ext uri="{FF2B5EF4-FFF2-40B4-BE49-F238E27FC236}">
                <a16:creationId xmlns:a16="http://schemas.microsoft.com/office/drawing/2014/main" id="{2291040B-4159-4C82-ACF1-4688C44D078C}"/>
              </a:ext>
            </a:extLst>
          </p:cNvPr>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9266767" y="5526089"/>
            <a:ext cx="2650067" cy="1152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963084" y="952503"/>
            <a:ext cx="10363200" cy="1362075"/>
          </a:xfrm>
        </p:spPr>
        <p:txBody>
          <a:bodyPr/>
          <a:lstStyle>
            <a:lvl1pPr algn="l">
              <a:buNone/>
              <a:defRPr sz="4000" b="0" cap="none"/>
            </a:lvl1pPr>
          </a:lstStyle>
          <a:p>
            <a:r>
              <a:rPr lang="en-US"/>
              <a:t>Click to edit Master title style</a:t>
            </a:r>
          </a:p>
        </p:txBody>
      </p:sp>
      <p:sp>
        <p:nvSpPr>
          <p:cNvPr id="3" name="Text Placeholder 2"/>
          <p:cNvSpPr>
            <a:spLocks noGrp="1"/>
          </p:cNvSpPr>
          <p:nvPr>
            <p:ph type="body" idx="1"/>
          </p:nvPr>
        </p:nvSpPr>
        <p:spPr>
          <a:xfrm>
            <a:off x="963084" y="2547938"/>
            <a:ext cx="10363200" cy="1338262"/>
          </a:xfrm>
        </p:spPr>
        <p:txBody>
          <a:bodyPr/>
          <a:lstStyle>
            <a:lvl1pPr marL="0" indent="0">
              <a:buNone/>
              <a:defRPr sz="2400">
                <a:solidFill>
                  <a:schemeClr val="tx1">
                    <a:tint val="75000"/>
                  </a:schemeClr>
                </a:solidFill>
              </a:defRPr>
            </a:lvl1pPr>
            <a:lvl2pPr>
              <a:buNone/>
              <a:defRPr sz="1800">
                <a:solidFill>
                  <a:schemeClr val="tx1">
                    <a:tint val="75000"/>
                  </a:schemeClr>
                </a:solidFill>
              </a:defRPr>
            </a:lvl2pPr>
            <a:lvl3pPr>
              <a:buNone/>
              <a:defRPr sz="1600">
                <a:solidFill>
                  <a:schemeClr val="tx1">
                    <a:tint val="75000"/>
                  </a:schemeClr>
                </a:solidFill>
              </a:defRPr>
            </a:lvl3pPr>
            <a:lvl4pPr>
              <a:buNone/>
              <a:defRPr sz="1400">
                <a:solidFill>
                  <a:schemeClr val="tx1">
                    <a:tint val="75000"/>
                  </a:schemeClr>
                </a:solidFill>
              </a:defRPr>
            </a:lvl4pPr>
            <a:lvl5pPr>
              <a:buNone/>
              <a:defRPr sz="1400">
                <a:solidFill>
                  <a:schemeClr val="tx1">
                    <a:tint val="75000"/>
                  </a:schemeClr>
                </a:solidFill>
              </a:defRPr>
            </a:lvl5pPr>
          </a:lstStyle>
          <a:p>
            <a:pPr lvl="0"/>
            <a:r>
              <a:rPr lang="en-US"/>
              <a:t>Click to edit Master text styles</a:t>
            </a:r>
          </a:p>
        </p:txBody>
      </p:sp>
      <p:sp>
        <p:nvSpPr>
          <p:cNvPr id="10" name="Date Placeholder 3">
            <a:extLst>
              <a:ext uri="{FF2B5EF4-FFF2-40B4-BE49-F238E27FC236}">
                <a16:creationId xmlns:a16="http://schemas.microsoft.com/office/drawing/2014/main" id="{D0C977FE-8B36-4733-9E85-6FAD540BF3EF}"/>
              </a:ext>
            </a:extLst>
          </p:cNvPr>
          <p:cNvSpPr>
            <a:spLocks noGrp="1"/>
          </p:cNvSpPr>
          <p:nvPr>
            <p:ph type="dt" sz="half" idx="10"/>
          </p:nvPr>
        </p:nvSpPr>
        <p:spPr/>
        <p:txBody>
          <a:bodyPr/>
          <a:lstStyle>
            <a:lvl1pPr>
              <a:defRPr/>
            </a:lvl1pPr>
          </a:lstStyle>
          <a:p>
            <a:pPr>
              <a:defRPr/>
            </a:pPr>
            <a:fld id="{C2347440-1C08-46CA-8D4C-C63EB660812C}" type="datetimeFigureOut">
              <a:rPr lang="en-US"/>
              <a:pPr>
                <a:defRPr/>
              </a:pPr>
              <a:t>12/6/2019</a:t>
            </a:fld>
            <a:endParaRPr lang="en-US"/>
          </a:p>
        </p:txBody>
      </p:sp>
      <p:sp>
        <p:nvSpPr>
          <p:cNvPr id="11" name="Footer Placeholder 4">
            <a:extLst>
              <a:ext uri="{FF2B5EF4-FFF2-40B4-BE49-F238E27FC236}">
                <a16:creationId xmlns:a16="http://schemas.microsoft.com/office/drawing/2014/main" id="{A214D7CE-DAEA-462C-87FD-C261ED473E57}"/>
              </a:ext>
            </a:extLst>
          </p:cNvPr>
          <p:cNvSpPr>
            <a:spLocks noGrp="1"/>
          </p:cNvSpPr>
          <p:nvPr>
            <p:ph type="ftr" sz="quarter" idx="11"/>
          </p:nvPr>
        </p:nvSpPr>
        <p:spPr>
          <a:xfrm>
            <a:off x="1066800" y="6172200"/>
            <a:ext cx="5334000" cy="457200"/>
          </a:xfrm>
        </p:spPr>
        <p:txBody>
          <a:bodyPr/>
          <a:lstStyle>
            <a:lvl1pPr>
              <a:defRPr/>
            </a:lvl1pPr>
          </a:lstStyle>
          <a:p>
            <a:pPr>
              <a:defRPr/>
            </a:pPr>
            <a:endParaRPr lang="en-US"/>
          </a:p>
        </p:txBody>
      </p:sp>
      <p:sp>
        <p:nvSpPr>
          <p:cNvPr id="12" name="Slide Number Placeholder 5">
            <a:extLst>
              <a:ext uri="{FF2B5EF4-FFF2-40B4-BE49-F238E27FC236}">
                <a16:creationId xmlns:a16="http://schemas.microsoft.com/office/drawing/2014/main" id="{86A49A70-89C0-44EE-BF4C-FCDDC4D2C226}"/>
              </a:ext>
            </a:extLst>
          </p:cNvPr>
          <p:cNvSpPr>
            <a:spLocks noGrp="1"/>
          </p:cNvSpPr>
          <p:nvPr>
            <p:ph type="sldNum" sz="quarter" idx="12"/>
          </p:nvPr>
        </p:nvSpPr>
        <p:spPr>
          <a:xfrm>
            <a:off x="194733" y="6208713"/>
            <a:ext cx="609600" cy="457200"/>
          </a:xfrm>
        </p:spPr>
        <p:txBody>
          <a:bodyPr/>
          <a:lstStyle>
            <a:lvl1pPr>
              <a:defRPr/>
            </a:lvl1pPr>
          </a:lstStyle>
          <a:p>
            <a:fld id="{5ECCEA21-FC20-4547-B4A0-446FDB51152E}" type="slidenum">
              <a:rPr lang="en-US" altLang="en-US"/>
              <a:pPr/>
              <a:t>‹#›</a:t>
            </a:fld>
            <a:endParaRPr lang="en-US" altLang="en-US"/>
          </a:p>
        </p:txBody>
      </p:sp>
    </p:spTree>
    <p:extLst>
      <p:ext uri="{BB962C8B-B14F-4D97-AF65-F5344CB8AC3E}">
        <p14:creationId xmlns:p14="http://schemas.microsoft.com/office/powerpoint/2010/main" val="1472685808"/>
      </p:ext>
    </p:extLst>
  </p:cSld>
  <p:clrMapOvr>
    <a:overrideClrMapping bg1="lt1" tx1="dk1" bg2="lt2" tx2="dk2" accent1="accent1" accent2="accent2" accent3="accent3" accent4="accent4" accent5="accent5" accent6="accent6" hlink="hlink" folHlink="folHlink"/>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9" name="Content Placeholder 8"/>
          <p:cNvSpPr>
            <a:spLocks noGrp="1"/>
          </p:cNvSpPr>
          <p:nvPr>
            <p:ph sz="quarter" idx="1"/>
          </p:nvPr>
        </p:nvSpPr>
        <p:spPr>
          <a:xfrm>
            <a:off x="1219200" y="1447800"/>
            <a:ext cx="4998720" cy="4572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10"/>
          <p:cNvSpPr>
            <a:spLocks noGrp="1"/>
          </p:cNvSpPr>
          <p:nvPr>
            <p:ph sz="quarter" idx="2"/>
          </p:nvPr>
        </p:nvSpPr>
        <p:spPr>
          <a:xfrm>
            <a:off x="6578600" y="1447800"/>
            <a:ext cx="4998720" cy="4572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13">
            <a:extLst>
              <a:ext uri="{FF2B5EF4-FFF2-40B4-BE49-F238E27FC236}">
                <a16:creationId xmlns:a16="http://schemas.microsoft.com/office/drawing/2014/main" id="{BD9D2986-BD6F-4281-90BB-D39A686B483A}"/>
              </a:ext>
            </a:extLst>
          </p:cNvPr>
          <p:cNvSpPr>
            <a:spLocks noGrp="1"/>
          </p:cNvSpPr>
          <p:nvPr>
            <p:ph type="dt" sz="half" idx="10"/>
          </p:nvPr>
        </p:nvSpPr>
        <p:spPr/>
        <p:txBody>
          <a:bodyPr/>
          <a:lstStyle>
            <a:lvl1pPr>
              <a:defRPr/>
            </a:lvl1pPr>
          </a:lstStyle>
          <a:p>
            <a:pPr>
              <a:defRPr/>
            </a:pPr>
            <a:fld id="{3F777B4A-24A2-49CC-B6BC-46A0F7E41B4F}" type="datetimeFigureOut">
              <a:rPr lang="en-US"/>
              <a:pPr>
                <a:defRPr/>
              </a:pPr>
              <a:t>12/6/2019</a:t>
            </a:fld>
            <a:endParaRPr lang="en-US"/>
          </a:p>
        </p:txBody>
      </p:sp>
      <p:sp>
        <p:nvSpPr>
          <p:cNvPr id="6" name="Footer Placeholder 2">
            <a:extLst>
              <a:ext uri="{FF2B5EF4-FFF2-40B4-BE49-F238E27FC236}">
                <a16:creationId xmlns:a16="http://schemas.microsoft.com/office/drawing/2014/main" id="{F027E78D-C0FF-4522-9B2F-4F5B959E118D}"/>
              </a:ext>
            </a:extLst>
          </p:cNvPr>
          <p:cNvSpPr>
            <a:spLocks noGrp="1"/>
          </p:cNvSpPr>
          <p:nvPr>
            <p:ph type="ftr" sz="quarter" idx="11"/>
          </p:nvPr>
        </p:nvSpPr>
        <p:spPr/>
        <p:txBody>
          <a:bodyPr/>
          <a:lstStyle>
            <a:lvl1pPr>
              <a:defRPr/>
            </a:lvl1pPr>
          </a:lstStyle>
          <a:p>
            <a:pPr>
              <a:defRPr/>
            </a:pPr>
            <a:endParaRPr lang="en-US"/>
          </a:p>
        </p:txBody>
      </p:sp>
      <p:sp>
        <p:nvSpPr>
          <p:cNvPr id="7" name="Slide Number Placeholder 22">
            <a:extLst>
              <a:ext uri="{FF2B5EF4-FFF2-40B4-BE49-F238E27FC236}">
                <a16:creationId xmlns:a16="http://schemas.microsoft.com/office/drawing/2014/main" id="{094702C3-9411-46A3-8BF7-087876AA7C26}"/>
              </a:ext>
            </a:extLst>
          </p:cNvPr>
          <p:cNvSpPr>
            <a:spLocks noGrp="1"/>
          </p:cNvSpPr>
          <p:nvPr>
            <p:ph type="sldNum" sz="quarter" idx="12"/>
          </p:nvPr>
        </p:nvSpPr>
        <p:spPr/>
        <p:txBody>
          <a:bodyPr/>
          <a:lstStyle>
            <a:lvl1pPr>
              <a:defRPr/>
            </a:lvl1pPr>
          </a:lstStyle>
          <a:p>
            <a:fld id="{9636827D-C4B0-4DD3-A2DC-4E4C0CACFC41}" type="slidenum">
              <a:rPr lang="en-US" altLang="en-US"/>
              <a:pPr/>
              <a:t>‹#›</a:t>
            </a:fld>
            <a:endParaRPr lang="en-US" altLang="en-US"/>
          </a:p>
        </p:txBody>
      </p:sp>
    </p:spTree>
    <p:extLst>
      <p:ext uri="{BB962C8B-B14F-4D97-AF65-F5344CB8AC3E}">
        <p14:creationId xmlns:p14="http://schemas.microsoft.com/office/powerpoint/2010/main" val="14649369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1219200" y="273050"/>
            <a:ext cx="103632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1219200" y="1447800"/>
            <a:ext cx="4978400" cy="762000"/>
          </a:xfrm>
          <a:noFill/>
          <a:ln w="12700" cap="sq" cmpd="sng" algn="ctr">
            <a:noFill/>
            <a:prstDash val="solid"/>
          </a:ln>
        </p:spPr>
        <p:txBody>
          <a:bodyPr anchor="b">
            <a:noAutofit/>
          </a:bodyPr>
          <a:lstStyle>
            <a:lvl1pPr marL="0" indent="0">
              <a:buNone/>
              <a:defRPr sz="2400" b="1">
                <a:solidFill>
                  <a:schemeClr val="accent1"/>
                </a:solidFill>
                <a:latin typeface="+mj-lt"/>
                <a:ea typeface="+mj-ea"/>
                <a:cs typeface="+mj-cs"/>
              </a:defRPr>
            </a:lvl1pPr>
            <a:lvl2pPr>
              <a:buNone/>
              <a:defRPr sz="2000" b="1"/>
            </a:lvl2pPr>
            <a:lvl3pPr>
              <a:buNone/>
              <a:defRPr sz="1800" b="1"/>
            </a:lvl3pPr>
            <a:lvl4pPr>
              <a:buNone/>
              <a:defRPr sz="1600" b="1"/>
            </a:lvl4pPr>
            <a:lvl5pPr>
              <a:buNone/>
              <a:defRPr sz="1600" b="1"/>
            </a:lvl5pPr>
          </a:lstStyle>
          <a:p>
            <a:pPr lvl="0"/>
            <a:r>
              <a:rPr lang="en-US"/>
              <a:t>Click to edit Master text styles</a:t>
            </a:r>
          </a:p>
        </p:txBody>
      </p:sp>
      <p:sp>
        <p:nvSpPr>
          <p:cNvPr id="4" name="Text Placeholder 3"/>
          <p:cNvSpPr>
            <a:spLocks noGrp="1"/>
          </p:cNvSpPr>
          <p:nvPr>
            <p:ph type="body" sz="half" idx="3"/>
          </p:nvPr>
        </p:nvSpPr>
        <p:spPr>
          <a:xfrm>
            <a:off x="6604000" y="1447800"/>
            <a:ext cx="4978400" cy="762000"/>
          </a:xfrm>
          <a:noFill/>
          <a:ln w="12700" cap="sq" cmpd="sng" algn="ctr">
            <a:noFill/>
            <a:prstDash val="solid"/>
          </a:ln>
        </p:spPr>
        <p:txBody>
          <a:bodyPr anchor="b">
            <a:noAutofit/>
          </a:bodyPr>
          <a:lstStyle>
            <a:lvl1pPr marL="0" indent="0">
              <a:buNone/>
              <a:defRPr sz="2400" b="1">
                <a:solidFill>
                  <a:schemeClr val="accent1"/>
                </a:solidFill>
                <a:latin typeface="+mj-lt"/>
                <a:ea typeface="+mj-ea"/>
                <a:cs typeface="+mj-cs"/>
              </a:defRPr>
            </a:lvl1pPr>
            <a:lvl2pPr>
              <a:buNone/>
              <a:defRPr sz="2000" b="1"/>
            </a:lvl2pPr>
            <a:lvl3pPr>
              <a:buNone/>
              <a:defRPr sz="1800" b="1"/>
            </a:lvl3pPr>
            <a:lvl4pPr>
              <a:buNone/>
              <a:defRPr sz="1600" b="1"/>
            </a:lvl4pPr>
            <a:lvl5pPr>
              <a:buNone/>
              <a:defRPr sz="1600" b="1"/>
            </a:lvl5pPr>
          </a:lstStyle>
          <a:p>
            <a:pPr lvl="0"/>
            <a:r>
              <a:rPr lang="en-US"/>
              <a:t>Click to edit Master text styles</a:t>
            </a:r>
          </a:p>
        </p:txBody>
      </p:sp>
      <p:sp>
        <p:nvSpPr>
          <p:cNvPr id="11" name="Content Placeholder 10"/>
          <p:cNvSpPr>
            <a:spLocks noGrp="1"/>
          </p:cNvSpPr>
          <p:nvPr>
            <p:ph sz="half" idx="2"/>
          </p:nvPr>
        </p:nvSpPr>
        <p:spPr>
          <a:xfrm>
            <a:off x="1219200" y="2247900"/>
            <a:ext cx="4978400" cy="3886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12"/>
          <p:cNvSpPr>
            <a:spLocks noGrp="1"/>
          </p:cNvSpPr>
          <p:nvPr>
            <p:ph sz="half" idx="4"/>
          </p:nvPr>
        </p:nvSpPr>
        <p:spPr>
          <a:xfrm>
            <a:off x="6604000" y="2247900"/>
            <a:ext cx="4978400" cy="3886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13">
            <a:extLst>
              <a:ext uri="{FF2B5EF4-FFF2-40B4-BE49-F238E27FC236}">
                <a16:creationId xmlns:a16="http://schemas.microsoft.com/office/drawing/2014/main" id="{200B304E-EC65-4B85-9E6B-5D9B9F5A71C7}"/>
              </a:ext>
            </a:extLst>
          </p:cNvPr>
          <p:cNvSpPr>
            <a:spLocks noGrp="1"/>
          </p:cNvSpPr>
          <p:nvPr>
            <p:ph type="dt" sz="half" idx="10"/>
          </p:nvPr>
        </p:nvSpPr>
        <p:spPr/>
        <p:txBody>
          <a:bodyPr/>
          <a:lstStyle>
            <a:lvl1pPr>
              <a:defRPr/>
            </a:lvl1pPr>
          </a:lstStyle>
          <a:p>
            <a:pPr>
              <a:defRPr/>
            </a:pPr>
            <a:fld id="{9EA96C9F-0518-4111-A588-50498919AC3F}" type="datetimeFigureOut">
              <a:rPr lang="en-US"/>
              <a:pPr>
                <a:defRPr/>
              </a:pPr>
              <a:t>12/6/2019</a:t>
            </a:fld>
            <a:endParaRPr lang="en-US"/>
          </a:p>
        </p:txBody>
      </p:sp>
      <p:sp>
        <p:nvSpPr>
          <p:cNvPr id="8" name="Footer Placeholder 2">
            <a:extLst>
              <a:ext uri="{FF2B5EF4-FFF2-40B4-BE49-F238E27FC236}">
                <a16:creationId xmlns:a16="http://schemas.microsoft.com/office/drawing/2014/main" id="{C4ED653F-2BC9-44C4-8DF6-D834577A2233}"/>
              </a:ext>
            </a:extLst>
          </p:cNvPr>
          <p:cNvSpPr>
            <a:spLocks noGrp="1"/>
          </p:cNvSpPr>
          <p:nvPr>
            <p:ph type="ftr" sz="quarter" idx="11"/>
          </p:nvPr>
        </p:nvSpPr>
        <p:spPr/>
        <p:txBody>
          <a:bodyPr/>
          <a:lstStyle>
            <a:lvl1pPr>
              <a:defRPr/>
            </a:lvl1pPr>
          </a:lstStyle>
          <a:p>
            <a:pPr>
              <a:defRPr/>
            </a:pPr>
            <a:endParaRPr lang="en-US"/>
          </a:p>
        </p:txBody>
      </p:sp>
      <p:sp>
        <p:nvSpPr>
          <p:cNvPr id="9" name="Slide Number Placeholder 22">
            <a:extLst>
              <a:ext uri="{FF2B5EF4-FFF2-40B4-BE49-F238E27FC236}">
                <a16:creationId xmlns:a16="http://schemas.microsoft.com/office/drawing/2014/main" id="{BCD09A6A-F600-4A66-B035-CAA380862BF7}"/>
              </a:ext>
            </a:extLst>
          </p:cNvPr>
          <p:cNvSpPr>
            <a:spLocks noGrp="1"/>
          </p:cNvSpPr>
          <p:nvPr>
            <p:ph type="sldNum" sz="quarter" idx="12"/>
          </p:nvPr>
        </p:nvSpPr>
        <p:spPr/>
        <p:txBody>
          <a:bodyPr/>
          <a:lstStyle>
            <a:lvl1pPr>
              <a:defRPr/>
            </a:lvl1pPr>
          </a:lstStyle>
          <a:p>
            <a:fld id="{F2E47F9F-BCD4-47AF-ABFB-CE6AB8BFCE3C}" type="slidenum">
              <a:rPr lang="en-US" altLang="en-US"/>
              <a:pPr/>
              <a:t>‹#›</a:t>
            </a:fld>
            <a:endParaRPr lang="en-US" altLang="en-US"/>
          </a:p>
        </p:txBody>
      </p:sp>
    </p:spTree>
    <p:extLst>
      <p:ext uri="{BB962C8B-B14F-4D97-AF65-F5344CB8AC3E}">
        <p14:creationId xmlns:p14="http://schemas.microsoft.com/office/powerpoint/2010/main" val="146596311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9D8AD80-4581-448B-9AE9-A1D8CA88EC27}"/>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232900" y="5538789"/>
            <a:ext cx="2658533" cy="11525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itle 1"/>
          <p:cNvSpPr>
            <a:spLocks noGrp="1"/>
          </p:cNvSpPr>
          <p:nvPr>
            <p:ph type="title"/>
          </p:nvPr>
        </p:nvSpPr>
        <p:spPr/>
        <p:txBody>
          <a:bodyPr/>
          <a:lstStyle/>
          <a:p>
            <a:r>
              <a:rPr lang="en-US"/>
              <a:t>Click to edit Master title style</a:t>
            </a:r>
          </a:p>
        </p:txBody>
      </p:sp>
      <p:sp>
        <p:nvSpPr>
          <p:cNvPr id="4" name="Date Placeholder 2">
            <a:extLst>
              <a:ext uri="{FF2B5EF4-FFF2-40B4-BE49-F238E27FC236}">
                <a16:creationId xmlns:a16="http://schemas.microsoft.com/office/drawing/2014/main" id="{7B3111AF-950F-423E-A681-EC0C601AB7BD}"/>
              </a:ext>
            </a:extLst>
          </p:cNvPr>
          <p:cNvSpPr>
            <a:spLocks noGrp="1"/>
          </p:cNvSpPr>
          <p:nvPr>
            <p:ph type="dt" sz="half" idx="10"/>
          </p:nvPr>
        </p:nvSpPr>
        <p:spPr/>
        <p:txBody>
          <a:bodyPr/>
          <a:lstStyle>
            <a:lvl1pPr>
              <a:defRPr/>
            </a:lvl1pPr>
          </a:lstStyle>
          <a:p>
            <a:pPr>
              <a:defRPr/>
            </a:pPr>
            <a:fld id="{E449CA87-611F-44C0-A415-463AFD5C0E11}" type="datetimeFigureOut">
              <a:rPr lang="en-US"/>
              <a:pPr>
                <a:defRPr/>
              </a:pPr>
              <a:t>12/6/2019</a:t>
            </a:fld>
            <a:endParaRPr lang="en-US"/>
          </a:p>
        </p:txBody>
      </p:sp>
      <p:sp>
        <p:nvSpPr>
          <p:cNvPr id="5" name="Footer Placeholder 3">
            <a:extLst>
              <a:ext uri="{FF2B5EF4-FFF2-40B4-BE49-F238E27FC236}">
                <a16:creationId xmlns:a16="http://schemas.microsoft.com/office/drawing/2014/main" id="{27A3CAFE-7781-4B38-9964-C9A99BB54D8B}"/>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4">
            <a:extLst>
              <a:ext uri="{FF2B5EF4-FFF2-40B4-BE49-F238E27FC236}">
                <a16:creationId xmlns:a16="http://schemas.microsoft.com/office/drawing/2014/main" id="{4821F199-E17F-435F-8AF1-8E76D194AC56}"/>
              </a:ext>
            </a:extLst>
          </p:cNvPr>
          <p:cNvSpPr>
            <a:spLocks noGrp="1"/>
          </p:cNvSpPr>
          <p:nvPr>
            <p:ph type="sldNum" sz="quarter" idx="12"/>
          </p:nvPr>
        </p:nvSpPr>
        <p:spPr/>
        <p:txBody>
          <a:bodyPr/>
          <a:lstStyle>
            <a:lvl1pPr>
              <a:defRPr/>
            </a:lvl1pPr>
          </a:lstStyle>
          <a:p>
            <a:fld id="{B0B9477C-9681-4C57-8FC2-5F71538327CA}" type="slidenum">
              <a:rPr lang="en-US" altLang="en-US"/>
              <a:pPr/>
              <a:t>‹#›</a:t>
            </a:fld>
            <a:endParaRPr lang="en-US" altLang="en-US"/>
          </a:p>
        </p:txBody>
      </p:sp>
    </p:spTree>
    <p:extLst>
      <p:ext uri="{BB962C8B-B14F-4D97-AF65-F5344CB8AC3E}">
        <p14:creationId xmlns:p14="http://schemas.microsoft.com/office/powerpoint/2010/main" val="343419031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9">
            <a:extLst>
              <a:ext uri="{FF2B5EF4-FFF2-40B4-BE49-F238E27FC236}">
                <a16:creationId xmlns:a16="http://schemas.microsoft.com/office/drawing/2014/main" id="{DCBD05D3-8F8F-4EE1-8C56-AFEEE5D30F6D}"/>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186333" y="5519739"/>
            <a:ext cx="2652184" cy="1152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Date Placeholder 1">
            <a:extLst>
              <a:ext uri="{FF2B5EF4-FFF2-40B4-BE49-F238E27FC236}">
                <a16:creationId xmlns:a16="http://schemas.microsoft.com/office/drawing/2014/main" id="{E55AE6BB-F2B9-4E67-89BF-343CEDA359E1}"/>
              </a:ext>
            </a:extLst>
          </p:cNvPr>
          <p:cNvSpPr>
            <a:spLocks noGrp="1"/>
          </p:cNvSpPr>
          <p:nvPr>
            <p:ph type="dt" sz="half" idx="10"/>
          </p:nvPr>
        </p:nvSpPr>
        <p:spPr/>
        <p:txBody>
          <a:bodyPr/>
          <a:lstStyle>
            <a:lvl1pPr>
              <a:defRPr/>
            </a:lvl1pPr>
          </a:lstStyle>
          <a:p>
            <a:pPr>
              <a:defRPr/>
            </a:pPr>
            <a:fld id="{C3137619-E0A8-47E8-A2F0-7E5E7ED9BA6C}" type="datetimeFigureOut">
              <a:rPr lang="en-US"/>
              <a:pPr>
                <a:defRPr/>
              </a:pPr>
              <a:t>12/6/2019</a:t>
            </a:fld>
            <a:endParaRPr lang="en-US"/>
          </a:p>
        </p:txBody>
      </p:sp>
      <p:sp>
        <p:nvSpPr>
          <p:cNvPr id="4" name="Footer Placeholder 2">
            <a:extLst>
              <a:ext uri="{FF2B5EF4-FFF2-40B4-BE49-F238E27FC236}">
                <a16:creationId xmlns:a16="http://schemas.microsoft.com/office/drawing/2014/main" id="{D132DBA2-1EC8-4C97-BF91-E6156B214907}"/>
              </a:ext>
            </a:extLst>
          </p:cNvPr>
          <p:cNvSpPr>
            <a:spLocks noGrp="1"/>
          </p:cNvSpPr>
          <p:nvPr>
            <p:ph type="ftr" sz="quarter" idx="11"/>
          </p:nvPr>
        </p:nvSpPr>
        <p:spPr/>
        <p:txBody>
          <a:bodyPr/>
          <a:lstStyle>
            <a:lvl1pPr>
              <a:defRPr/>
            </a:lvl1pPr>
          </a:lstStyle>
          <a:p>
            <a:pPr>
              <a:defRPr/>
            </a:pPr>
            <a:endParaRPr lang="en-US"/>
          </a:p>
        </p:txBody>
      </p:sp>
      <p:sp>
        <p:nvSpPr>
          <p:cNvPr id="5" name="Slide Number Placeholder 3">
            <a:extLst>
              <a:ext uri="{FF2B5EF4-FFF2-40B4-BE49-F238E27FC236}">
                <a16:creationId xmlns:a16="http://schemas.microsoft.com/office/drawing/2014/main" id="{4E1CFF5E-3B56-410C-9FB2-99B57B20C398}"/>
              </a:ext>
            </a:extLst>
          </p:cNvPr>
          <p:cNvSpPr>
            <a:spLocks noGrp="1"/>
          </p:cNvSpPr>
          <p:nvPr>
            <p:ph type="sldNum" sz="quarter" idx="12"/>
          </p:nvPr>
        </p:nvSpPr>
        <p:spPr/>
        <p:txBody>
          <a:bodyPr/>
          <a:lstStyle>
            <a:lvl1pPr>
              <a:defRPr/>
            </a:lvl1pPr>
          </a:lstStyle>
          <a:p>
            <a:fld id="{4D9D9BC1-6AAF-4ACE-85AB-6E764BBB2590}" type="slidenum">
              <a:rPr lang="en-US" altLang="en-US"/>
              <a:pPr/>
              <a:t>‹#›</a:t>
            </a:fld>
            <a:endParaRPr lang="en-US" altLang="en-US"/>
          </a:p>
        </p:txBody>
      </p:sp>
    </p:spTree>
    <p:extLst>
      <p:ext uri="{BB962C8B-B14F-4D97-AF65-F5344CB8AC3E}">
        <p14:creationId xmlns:p14="http://schemas.microsoft.com/office/powerpoint/2010/main" val="204271795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A81CA1E4-C0AA-4E00-B3BA-6888004EDDCC}"/>
              </a:ext>
            </a:extLst>
          </p:cNvPr>
          <p:cNvSpPr/>
          <p:nvPr/>
        </p:nvSpPr>
        <p:spPr>
          <a:xfrm>
            <a:off x="0" y="0"/>
            <a:ext cx="12192000" cy="6858000"/>
          </a:xfrm>
          <a:prstGeom prst="rect">
            <a:avLst/>
          </a:prstGeom>
          <a:solidFill>
            <a:srgbClr val="FFFFFF"/>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sz="1800">
              <a:solidFill>
                <a:prstClr val="white"/>
              </a:solidFill>
            </a:endParaRPr>
          </a:p>
        </p:txBody>
      </p:sp>
      <p:sp useBgFill="1">
        <p:nvSpPr>
          <p:cNvPr id="6" name="Rounded Rectangle 10">
            <a:extLst>
              <a:ext uri="{FF2B5EF4-FFF2-40B4-BE49-F238E27FC236}">
                <a16:creationId xmlns:a16="http://schemas.microsoft.com/office/drawing/2014/main" id="{F68BE872-DDAE-4797-B01B-CAF0214AE08D}"/>
              </a:ext>
            </a:extLst>
          </p:cNvPr>
          <p:cNvSpPr/>
          <p:nvPr/>
        </p:nvSpPr>
        <p:spPr>
          <a:xfrm>
            <a:off x="84668" y="69850"/>
            <a:ext cx="12018433" cy="6692900"/>
          </a:xfrm>
          <a:prstGeom prst="roundRect">
            <a:avLst>
              <a:gd name="adj" fmla="val 4929"/>
            </a:avLst>
          </a:prstGeom>
          <a:ln w="6350" cap="sq" cmpd="sng" algn="ctr">
            <a:solidFill>
              <a:schemeClr val="tx1">
                <a:alpha val="100000"/>
              </a:schemeClr>
            </a:solidFill>
            <a:prstDash val="solid"/>
          </a:ln>
          <a:effectLst/>
        </p:spPr>
        <p:style>
          <a:lnRef idx="3">
            <a:schemeClr val="lt1"/>
          </a:lnRef>
          <a:fillRef idx="1001">
            <a:schemeClr val="lt1"/>
          </a:fillRef>
          <a:effectRef idx="1">
            <a:schemeClr val="accent1"/>
          </a:effectRef>
          <a:fontRef idx="minor">
            <a:schemeClr val="lt1"/>
          </a:fontRef>
        </p:style>
        <p:txBody>
          <a:bodyPr anchor="ctr"/>
          <a:lstStyle/>
          <a:p>
            <a:pPr algn="ctr" fontAlgn="auto">
              <a:spcBef>
                <a:spcPts val="0"/>
              </a:spcBef>
              <a:spcAft>
                <a:spcPts val="0"/>
              </a:spcAft>
              <a:defRPr/>
            </a:pPr>
            <a:endParaRPr lang="en-US" sz="1800">
              <a:solidFill>
                <a:prstClr val="white"/>
              </a:solidFill>
            </a:endParaRPr>
          </a:p>
        </p:txBody>
      </p:sp>
      <p:pic>
        <p:nvPicPr>
          <p:cNvPr id="7" name="Picture 11">
            <a:extLst>
              <a:ext uri="{FF2B5EF4-FFF2-40B4-BE49-F238E27FC236}">
                <a16:creationId xmlns:a16="http://schemas.microsoft.com/office/drawing/2014/main" id="{817E885C-4B2D-41CE-95AD-D960B636F98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247718" y="5519739"/>
            <a:ext cx="2652183" cy="1152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1219200" y="273050"/>
            <a:ext cx="10363200" cy="1143000"/>
          </a:xfrm>
        </p:spPr>
        <p:txBody>
          <a:bodyPr/>
          <a:lstStyle>
            <a:lvl1pPr algn="l">
              <a:buNone/>
              <a:defRPr sz="4000" b="0"/>
            </a:lvl1pPr>
          </a:lstStyle>
          <a:p>
            <a:r>
              <a:rPr lang="en-US"/>
              <a:t>Click to edit Master title style</a:t>
            </a:r>
          </a:p>
        </p:txBody>
      </p:sp>
      <p:sp>
        <p:nvSpPr>
          <p:cNvPr id="3" name="Text Placeholder 2"/>
          <p:cNvSpPr>
            <a:spLocks noGrp="1"/>
          </p:cNvSpPr>
          <p:nvPr>
            <p:ph type="body" idx="2"/>
          </p:nvPr>
        </p:nvSpPr>
        <p:spPr>
          <a:xfrm>
            <a:off x="1219200" y="1600200"/>
            <a:ext cx="2540000" cy="4495800"/>
          </a:xfrm>
        </p:spPr>
        <p:txBody>
          <a:bodyPr/>
          <a:lstStyle>
            <a:lvl1pPr marL="0" indent="0">
              <a:buNone/>
              <a:defRPr sz="1800"/>
            </a:lvl1pPr>
            <a:lvl2pPr>
              <a:buNone/>
              <a:defRPr sz="1200"/>
            </a:lvl2pPr>
            <a:lvl3pPr>
              <a:buNone/>
              <a:defRPr sz="1000"/>
            </a:lvl3pPr>
            <a:lvl4pPr>
              <a:buNone/>
              <a:defRPr sz="900"/>
            </a:lvl4pPr>
            <a:lvl5pPr>
              <a:buNone/>
              <a:defRPr sz="900"/>
            </a:lvl5pPr>
          </a:lstStyle>
          <a:p>
            <a:pPr lvl="0"/>
            <a:r>
              <a:rPr lang="en-US"/>
              <a:t>Click to edit Master text styles</a:t>
            </a:r>
          </a:p>
        </p:txBody>
      </p:sp>
      <p:sp>
        <p:nvSpPr>
          <p:cNvPr id="11" name="Content Placeholder 10"/>
          <p:cNvSpPr>
            <a:spLocks noGrp="1"/>
          </p:cNvSpPr>
          <p:nvPr>
            <p:ph sz="quarter" idx="1"/>
          </p:nvPr>
        </p:nvSpPr>
        <p:spPr>
          <a:xfrm>
            <a:off x="3962400" y="1600200"/>
            <a:ext cx="7620000" cy="4495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Date Placeholder 4">
            <a:extLst>
              <a:ext uri="{FF2B5EF4-FFF2-40B4-BE49-F238E27FC236}">
                <a16:creationId xmlns:a16="http://schemas.microsoft.com/office/drawing/2014/main" id="{CEE9432C-A242-4A73-A48A-260C5A87E608}"/>
              </a:ext>
            </a:extLst>
          </p:cNvPr>
          <p:cNvSpPr>
            <a:spLocks noGrp="1"/>
          </p:cNvSpPr>
          <p:nvPr>
            <p:ph type="dt" sz="half" idx="10"/>
          </p:nvPr>
        </p:nvSpPr>
        <p:spPr/>
        <p:txBody>
          <a:bodyPr/>
          <a:lstStyle>
            <a:lvl1pPr>
              <a:defRPr/>
            </a:lvl1pPr>
          </a:lstStyle>
          <a:p>
            <a:pPr>
              <a:defRPr/>
            </a:pPr>
            <a:fld id="{D27269C1-0D38-4431-9C75-940E98C51A68}" type="datetimeFigureOut">
              <a:rPr lang="en-US"/>
              <a:pPr>
                <a:defRPr/>
              </a:pPr>
              <a:t>12/6/2019</a:t>
            </a:fld>
            <a:endParaRPr lang="en-US"/>
          </a:p>
        </p:txBody>
      </p:sp>
      <p:sp>
        <p:nvSpPr>
          <p:cNvPr id="9" name="Footer Placeholder 5">
            <a:extLst>
              <a:ext uri="{FF2B5EF4-FFF2-40B4-BE49-F238E27FC236}">
                <a16:creationId xmlns:a16="http://schemas.microsoft.com/office/drawing/2014/main" id="{EDCC78F7-DCEB-4392-9118-43EA14DE712E}"/>
              </a:ext>
            </a:extLst>
          </p:cNvPr>
          <p:cNvSpPr>
            <a:spLocks noGrp="1"/>
          </p:cNvSpPr>
          <p:nvPr>
            <p:ph type="ftr" sz="quarter" idx="11"/>
          </p:nvPr>
        </p:nvSpPr>
        <p:spPr/>
        <p:txBody>
          <a:bodyPr/>
          <a:lstStyle>
            <a:lvl1pPr>
              <a:defRPr/>
            </a:lvl1pPr>
          </a:lstStyle>
          <a:p>
            <a:pPr>
              <a:defRPr/>
            </a:pPr>
            <a:endParaRPr lang="en-US"/>
          </a:p>
        </p:txBody>
      </p:sp>
      <p:sp>
        <p:nvSpPr>
          <p:cNvPr id="10" name="Slide Number Placeholder 6">
            <a:extLst>
              <a:ext uri="{FF2B5EF4-FFF2-40B4-BE49-F238E27FC236}">
                <a16:creationId xmlns:a16="http://schemas.microsoft.com/office/drawing/2014/main" id="{7ACC9328-1FE3-4483-8566-DF1C8B4BBEC3}"/>
              </a:ext>
            </a:extLst>
          </p:cNvPr>
          <p:cNvSpPr>
            <a:spLocks noGrp="1"/>
          </p:cNvSpPr>
          <p:nvPr>
            <p:ph type="sldNum" sz="quarter" idx="12"/>
          </p:nvPr>
        </p:nvSpPr>
        <p:spPr/>
        <p:txBody>
          <a:bodyPr/>
          <a:lstStyle>
            <a:lvl1pPr>
              <a:defRPr/>
            </a:lvl1pPr>
          </a:lstStyle>
          <a:p>
            <a:fld id="{E583EE8E-404C-4244-B2DC-87A340925C81}" type="slidenum">
              <a:rPr lang="en-US" altLang="en-US"/>
              <a:pPr/>
              <a:t>‹#›</a:t>
            </a:fld>
            <a:endParaRPr lang="en-US" altLang="en-US"/>
          </a:p>
        </p:txBody>
      </p:sp>
    </p:spTree>
    <p:extLst>
      <p:ext uri="{BB962C8B-B14F-4D97-AF65-F5344CB8AC3E}">
        <p14:creationId xmlns:p14="http://schemas.microsoft.com/office/powerpoint/2010/main" val="44949348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FDDFDB-11D7-422E-8B96-65E39D9BF68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BB0C96C-4E86-4323-844C-6AD4E845E707}"/>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FB71DCE-15ED-4C7C-A0B2-27417FC472F8}"/>
              </a:ext>
            </a:extLst>
          </p:cNvPr>
          <p:cNvSpPr>
            <a:spLocks noGrp="1"/>
          </p:cNvSpPr>
          <p:nvPr>
            <p:ph type="dt" sz="half" idx="10"/>
          </p:nvPr>
        </p:nvSpPr>
        <p:spPr/>
        <p:txBody>
          <a:bodyPr/>
          <a:lstStyle/>
          <a:p>
            <a:fld id="{0C08B2A5-1572-4DE8-941E-858EF0E10F23}" type="datetimeFigureOut">
              <a:rPr lang="en-US" smtClean="0"/>
              <a:t>12/6/2019</a:t>
            </a:fld>
            <a:endParaRPr lang="en-US"/>
          </a:p>
        </p:txBody>
      </p:sp>
      <p:sp>
        <p:nvSpPr>
          <p:cNvPr id="5" name="Footer Placeholder 4">
            <a:extLst>
              <a:ext uri="{FF2B5EF4-FFF2-40B4-BE49-F238E27FC236}">
                <a16:creationId xmlns:a16="http://schemas.microsoft.com/office/drawing/2014/main" id="{D05BE65D-232A-496F-97CE-BA51D3F271A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0EAA576-F562-4C71-A60D-A668FB0F36B9}"/>
              </a:ext>
            </a:extLst>
          </p:cNvPr>
          <p:cNvSpPr>
            <a:spLocks noGrp="1"/>
          </p:cNvSpPr>
          <p:nvPr>
            <p:ph type="sldNum" sz="quarter" idx="12"/>
          </p:nvPr>
        </p:nvSpPr>
        <p:spPr/>
        <p:txBody>
          <a:bodyPr/>
          <a:lstStyle/>
          <a:p>
            <a:fld id="{E5FAEECA-10E4-45EC-A9E1-A5331A7A6F2F}" type="slidenum">
              <a:rPr lang="en-US" smtClean="0"/>
              <a:t>‹#›</a:t>
            </a:fld>
            <a:endParaRPr lang="en-US"/>
          </a:p>
        </p:txBody>
      </p:sp>
    </p:spTree>
    <p:extLst>
      <p:ext uri="{BB962C8B-B14F-4D97-AF65-F5344CB8AC3E}">
        <p14:creationId xmlns:p14="http://schemas.microsoft.com/office/powerpoint/2010/main" val="8120617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61DCE19-0E2D-4EB0-B3B8-5B4E7F37F4E2}"/>
              </a:ext>
            </a:extLst>
          </p:cNvPr>
          <p:cNvSpPr/>
          <p:nvPr/>
        </p:nvSpPr>
        <p:spPr>
          <a:xfrm flipV="1">
            <a:off x="91018" y="4683126"/>
            <a:ext cx="12009967" cy="92075"/>
          </a:xfrm>
          <a:prstGeom prst="rect">
            <a:avLst/>
          </a:prstGeom>
          <a:solidFill>
            <a:schemeClr val="accent1">
              <a:alpha val="100000"/>
            </a:schemeClr>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sz="1800">
              <a:solidFill>
                <a:prstClr val="white"/>
              </a:solidFill>
            </a:endParaRPr>
          </a:p>
        </p:txBody>
      </p:sp>
      <p:sp>
        <p:nvSpPr>
          <p:cNvPr id="6" name="Rectangle 5">
            <a:extLst>
              <a:ext uri="{FF2B5EF4-FFF2-40B4-BE49-F238E27FC236}">
                <a16:creationId xmlns:a16="http://schemas.microsoft.com/office/drawing/2014/main" id="{6EBCD14A-ED04-4D87-B31B-F7ED757C6CFD}"/>
              </a:ext>
            </a:extLst>
          </p:cNvPr>
          <p:cNvSpPr/>
          <p:nvPr/>
        </p:nvSpPr>
        <p:spPr>
          <a:xfrm>
            <a:off x="91018" y="4649789"/>
            <a:ext cx="12009967" cy="46037"/>
          </a:xfrm>
          <a:prstGeom prst="rect">
            <a:avLst/>
          </a:prstGeom>
          <a:solidFill>
            <a:schemeClr val="accent1">
              <a:tint val="60000"/>
            </a:schemeClr>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sz="1800">
              <a:solidFill>
                <a:prstClr val="white"/>
              </a:solidFill>
            </a:endParaRPr>
          </a:p>
        </p:txBody>
      </p:sp>
      <p:sp>
        <p:nvSpPr>
          <p:cNvPr id="7" name="Rectangle 6">
            <a:extLst>
              <a:ext uri="{FF2B5EF4-FFF2-40B4-BE49-F238E27FC236}">
                <a16:creationId xmlns:a16="http://schemas.microsoft.com/office/drawing/2014/main" id="{7B09A35E-4128-4DD9-8C01-3D73C552E076}"/>
              </a:ext>
            </a:extLst>
          </p:cNvPr>
          <p:cNvSpPr/>
          <p:nvPr/>
        </p:nvSpPr>
        <p:spPr>
          <a:xfrm>
            <a:off x="91018" y="4773613"/>
            <a:ext cx="12009967" cy="49212"/>
          </a:xfrm>
          <a:prstGeom prst="rect">
            <a:avLst/>
          </a:prstGeom>
          <a:solidFill>
            <a:schemeClr val="accent5"/>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sz="1800">
              <a:solidFill>
                <a:prstClr val="white"/>
              </a:solidFill>
            </a:endParaRPr>
          </a:p>
        </p:txBody>
      </p:sp>
      <p:sp>
        <p:nvSpPr>
          <p:cNvPr id="2" name="Title 1"/>
          <p:cNvSpPr>
            <a:spLocks noGrp="1"/>
          </p:cNvSpPr>
          <p:nvPr>
            <p:ph type="title"/>
          </p:nvPr>
        </p:nvSpPr>
        <p:spPr>
          <a:xfrm>
            <a:off x="1219200" y="4900550"/>
            <a:ext cx="9753600" cy="522288"/>
          </a:xfrm>
        </p:spPr>
        <p:txBody>
          <a:bodyPr anchor="ctr">
            <a:noAutofit/>
          </a:bodyPr>
          <a:lstStyle>
            <a:lvl1pPr algn="l">
              <a:buNone/>
              <a:defRPr sz="2800" b="0"/>
            </a:lvl1pPr>
          </a:lstStyle>
          <a:p>
            <a:r>
              <a:rPr lang="en-US"/>
              <a:t>Click to edit Master title style</a:t>
            </a:r>
          </a:p>
        </p:txBody>
      </p:sp>
      <p:sp>
        <p:nvSpPr>
          <p:cNvPr id="4" name="Text Placeholder 3"/>
          <p:cNvSpPr>
            <a:spLocks noGrp="1"/>
          </p:cNvSpPr>
          <p:nvPr>
            <p:ph type="body" sz="half" idx="2"/>
          </p:nvPr>
        </p:nvSpPr>
        <p:spPr>
          <a:xfrm>
            <a:off x="1219200" y="5445825"/>
            <a:ext cx="9753600" cy="685800"/>
          </a:xfrm>
        </p:spPr>
        <p:txBody>
          <a:bodyPr/>
          <a:lstStyle>
            <a:lvl1pPr marL="0" indent="0">
              <a:buFontTx/>
              <a:buNone/>
              <a:defRPr sz="1600"/>
            </a:lvl1pPr>
            <a:lvl2pPr>
              <a:defRPr sz="1200"/>
            </a:lvl2pPr>
            <a:lvl3pPr>
              <a:defRPr sz="1000"/>
            </a:lvl3pPr>
            <a:lvl4pPr>
              <a:defRPr sz="900"/>
            </a:lvl4pPr>
            <a:lvl5pPr>
              <a:defRPr sz="900"/>
            </a:lvl5pPr>
          </a:lstStyle>
          <a:p>
            <a:pPr lvl="0"/>
            <a:r>
              <a:rPr lang="en-US"/>
              <a:t>Click to edit Master text styles</a:t>
            </a:r>
          </a:p>
        </p:txBody>
      </p:sp>
      <p:sp>
        <p:nvSpPr>
          <p:cNvPr id="3" name="Picture Placeholder 2"/>
          <p:cNvSpPr>
            <a:spLocks noGrp="1"/>
          </p:cNvSpPr>
          <p:nvPr>
            <p:ph type="pic" idx="1"/>
          </p:nvPr>
        </p:nvSpPr>
        <p:spPr>
          <a:xfrm>
            <a:off x="91080" y="66676"/>
            <a:ext cx="12002497" cy="4581525"/>
          </a:xfrm>
          <a:prstGeom prst="round2SameRect">
            <a:avLst>
              <a:gd name="adj1" fmla="val 7101"/>
              <a:gd name="adj2" fmla="val 0"/>
            </a:avLst>
          </a:prstGeom>
          <a:solidFill>
            <a:schemeClr val="bg2"/>
          </a:solidFill>
          <a:ln w="6350">
            <a:solidFill>
              <a:schemeClr val="tx1"/>
            </a:solidFill>
          </a:ln>
        </p:spPr>
        <p:txBody>
          <a:bodyPr>
            <a:normAutofit/>
          </a:bodyPr>
          <a:lstStyle>
            <a:lvl1pPr marL="0" indent="0">
              <a:buNone/>
              <a:defRPr sz="3200"/>
            </a:lvl1pPr>
          </a:lstStyle>
          <a:p>
            <a:pPr lvl="0"/>
            <a:r>
              <a:rPr lang="en-US" noProof="0"/>
              <a:t>Click icon to add picture</a:t>
            </a:r>
            <a:endParaRPr lang="en-US" noProof="0" dirty="0"/>
          </a:p>
        </p:txBody>
      </p:sp>
      <p:sp>
        <p:nvSpPr>
          <p:cNvPr id="8" name="Date Placeholder 4">
            <a:extLst>
              <a:ext uri="{FF2B5EF4-FFF2-40B4-BE49-F238E27FC236}">
                <a16:creationId xmlns:a16="http://schemas.microsoft.com/office/drawing/2014/main" id="{349B339A-1E65-4DFA-8564-134B144A80FF}"/>
              </a:ext>
            </a:extLst>
          </p:cNvPr>
          <p:cNvSpPr>
            <a:spLocks noGrp="1"/>
          </p:cNvSpPr>
          <p:nvPr>
            <p:ph type="dt" sz="half" idx="10"/>
          </p:nvPr>
        </p:nvSpPr>
        <p:spPr/>
        <p:txBody>
          <a:bodyPr/>
          <a:lstStyle>
            <a:lvl1pPr>
              <a:defRPr/>
            </a:lvl1pPr>
          </a:lstStyle>
          <a:p>
            <a:pPr>
              <a:defRPr/>
            </a:pPr>
            <a:fld id="{8773A8AD-2011-4AEB-A457-8520F092B770}" type="datetimeFigureOut">
              <a:rPr lang="en-US"/>
              <a:pPr>
                <a:defRPr/>
              </a:pPr>
              <a:t>12/6/2019</a:t>
            </a:fld>
            <a:endParaRPr lang="en-US"/>
          </a:p>
        </p:txBody>
      </p:sp>
      <p:sp>
        <p:nvSpPr>
          <p:cNvPr id="9" name="Footer Placeholder 5">
            <a:extLst>
              <a:ext uri="{FF2B5EF4-FFF2-40B4-BE49-F238E27FC236}">
                <a16:creationId xmlns:a16="http://schemas.microsoft.com/office/drawing/2014/main" id="{39BC3403-07AA-4476-8B83-B4307AC1071C}"/>
              </a:ext>
            </a:extLst>
          </p:cNvPr>
          <p:cNvSpPr>
            <a:spLocks noGrp="1"/>
          </p:cNvSpPr>
          <p:nvPr>
            <p:ph type="ftr" sz="quarter" idx="11"/>
          </p:nvPr>
        </p:nvSpPr>
        <p:spPr>
          <a:xfrm>
            <a:off x="1219200" y="6172200"/>
            <a:ext cx="5181600" cy="457200"/>
          </a:xfrm>
        </p:spPr>
        <p:txBody>
          <a:bodyPr/>
          <a:lstStyle>
            <a:lvl1pPr>
              <a:defRPr/>
            </a:lvl1pPr>
          </a:lstStyle>
          <a:p>
            <a:pPr>
              <a:defRPr/>
            </a:pPr>
            <a:endParaRPr lang="en-US"/>
          </a:p>
        </p:txBody>
      </p:sp>
      <p:sp>
        <p:nvSpPr>
          <p:cNvPr id="10" name="Slide Number Placeholder 6">
            <a:extLst>
              <a:ext uri="{FF2B5EF4-FFF2-40B4-BE49-F238E27FC236}">
                <a16:creationId xmlns:a16="http://schemas.microsoft.com/office/drawing/2014/main" id="{F1B83586-B093-4951-BC3F-DF0DF23CFE01}"/>
              </a:ext>
            </a:extLst>
          </p:cNvPr>
          <p:cNvSpPr>
            <a:spLocks noGrp="1"/>
          </p:cNvSpPr>
          <p:nvPr>
            <p:ph type="sldNum" sz="quarter" idx="12"/>
          </p:nvPr>
        </p:nvSpPr>
        <p:spPr>
          <a:xfrm>
            <a:off x="194733" y="6208713"/>
            <a:ext cx="609600" cy="457200"/>
          </a:xfrm>
        </p:spPr>
        <p:txBody>
          <a:bodyPr/>
          <a:lstStyle>
            <a:lvl1pPr>
              <a:defRPr/>
            </a:lvl1pPr>
          </a:lstStyle>
          <a:p>
            <a:fld id="{C064A041-847A-4802-9414-A504154EDC0A}" type="slidenum">
              <a:rPr lang="en-US" altLang="en-US"/>
              <a:pPr/>
              <a:t>‹#›</a:t>
            </a:fld>
            <a:endParaRPr lang="en-US" altLang="en-US"/>
          </a:p>
        </p:txBody>
      </p:sp>
    </p:spTree>
    <p:extLst>
      <p:ext uri="{BB962C8B-B14F-4D97-AF65-F5344CB8AC3E}">
        <p14:creationId xmlns:p14="http://schemas.microsoft.com/office/powerpoint/2010/main" val="224302671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13">
            <a:extLst>
              <a:ext uri="{FF2B5EF4-FFF2-40B4-BE49-F238E27FC236}">
                <a16:creationId xmlns:a16="http://schemas.microsoft.com/office/drawing/2014/main" id="{5E5AABC9-14D3-4BFB-9A8E-E6C4774C6527}"/>
              </a:ext>
            </a:extLst>
          </p:cNvPr>
          <p:cNvSpPr>
            <a:spLocks noGrp="1"/>
          </p:cNvSpPr>
          <p:nvPr>
            <p:ph type="dt" sz="half" idx="10"/>
          </p:nvPr>
        </p:nvSpPr>
        <p:spPr/>
        <p:txBody>
          <a:bodyPr/>
          <a:lstStyle>
            <a:lvl1pPr>
              <a:defRPr/>
            </a:lvl1pPr>
          </a:lstStyle>
          <a:p>
            <a:pPr>
              <a:defRPr/>
            </a:pPr>
            <a:fld id="{DA6A18A5-C84B-493E-BD79-F081D6EA6FE9}" type="datetimeFigureOut">
              <a:rPr lang="en-US"/>
              <a:pPr>
                <a:defRPr/>
              </a:pPr>
              <a:t>12/6/2019</a:t>
            </a:fld>
            <a:endParaRPr lang="en-US"/>
          </a:p>
        </p:txBody>
      </p:sp>
      <p:sp>
        <p:nvSpPr>
          <p:cNvPr id="5" name="Footer Placeholder 2">
            <a:extLst>
              <a:ext uri="{FF2B5EF4-FFF2-40B4-BE49-F238E27FC236}">
                <a16:creationId xmlns:a16="http://schemas.microsoft.com/office/drawing/2014/main" id="{061EA3FE-FF21-45C1-BC98-BE1E75A46BD4}"/>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22">
            <a:extLst>
              <a:ext uri="{FF2B5EF4-FFF2-40B4-BE49-F238E27FC236}">
                <a16:creationId xmlns:a16="http://schemas.microsoft.com/office/drawing/2014/main" id="{7B15AEA9-271E-402A-95DC-0AF832357F86}"/>
              </a:ext>
            </a:extLst>
          </p:cNvPr>
          <p:cNvSpPr>
            <a:spLocks noGrp="1"/>
          </p:cNvSpPr>
          <p:nvPr>
            <p:ph type="sldNum" sz="quarter" idx="12"/>
          </p:nvPr>
        </p:nvSpPr>
        <p:spPr/>
        <p:txBody>
          <a:bodyPr/>
          <a:lstStyle>
            <a:lvl1pPr>
              <a:defRPr/>
            </a:lvl1pPr>
          </a:lstStyle>
          <a:p>
            <a:fld id="{6F88649D-8106-4D38-86F1-2BAAC125AB4C}" type="slidenum">
              <a:rPr lang="en-US" altLang="en-US"/>
              <a:pPr/>
              <a:t>‹#›</a:t>
            </a:fld>
            <a:endParaRPr lang="en-US" altLang="en-US"/>
          </a:p>
        </p:txBody>
      </p:sp>
    </p:spTree>
    <p:extLst>
      <p:ext uri="{BB962C8B-B14F-4D97-AF65-F5344CB8AC3E}">
        <p14:creationId xmlns:p14="http://schemas.microsoft.com/office/powerpoint/2010/main" val="333583510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44"/>
            <a:ext cx="268224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1219200" y="274641"/>
            <a:ext cx="7416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13">
            <a:extLst>
              <a:ext uri="{FF2B5EF4-FFF2-40B4-BE49-F238E27FC236}">
                <a16:creationId xmlns:a16="http://schemas.microsoft.com/office/drawing/2014/main" id="{3BABEEC6-D4FE-4DFB-B76A-6340E7571D66}"/>
              </a:ext>
            </a:extLst>
          </p:cNvPr>
          <p:cNvSpPr>
            <a:spLocks noGrp="1"/>
          </p:cNvSpPr>
          <p:nvPr>
            <p:ph type="dt" sz="half" idx="10"/>
          </p:nvPr>
        </p:nvSpPr>
        <p:spPr/>
        <p:txBody>
          <a:bodyPr/>
          <a:lstStyle>
            <a:lvl1pPr>
              <a:defRPr/>
            </a:lvl1pPr>
          </a:lstStyle>
          <a:p>
            <a:pPr>
              <a:defRPr/>
            </a:pPr>
            <a:fld id="{59D49FB2-4431-4778-B582-AEF50B888D8B}" type="datetimeFigureOut">
              <a:rPr lang="en-US"/>
              <a:pPr>
                <a:defRPr/>
              </a:pPr>
              <a:t>12/6/2019</a:t>
            </a:fld>
            <a:endParaRPr lang="en-US"/>
          </a:p>
        </p:txBody>
      </p:sp>
      <p:sp>
        <p:nvSpPr>
          <p:cNvPr id="5" name="Footer Placeholder 2">
            <a:extLst>
              <a:ext uri="{FF2B5EF4-FFF2-40B4-BE49-F238E27FC236}">
                <a16:creationId xmlns:a16="http://schemas.microsoft.com/office/drawing/2014/main" id="{938DAF48-A8BB-4B91-8933-1EFC977DA3C7}"/>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22">
            <a:extLst>
              <a:ext uri="{FF2B5EF4-FFF2-40B4-BE49-F238E27FC236}">
                <a16:creationId xmlns:a16="http://schemas.microsoft.com/office/drawing/2014/main" id="{6EEAE7A8-FCAD-498E-9808-818924728728}"/>
              </a:ext>
            </a:extLst>
          </p:cNvPr>
          <p:cNvSpPr>
            <a:spLocks noGrp="1"/>
          </p:cNvSpPr>
          <p:nvPr>
            <p:ph type="sldNum" sz="quarter" idx="12"/>
          </p:nvPr>
        </p:nvSpPr>
        <p:spPr/>
        <p:txBody>
          <a:bodyPr/>
          <a:lstStyle>
            <a:lvl1pPr>
              <a:defRPr/>
            </a:lvl1pPr>
          </a:lstStyle>
          <a:p>
            <a:fld id="{E5456664-14AC-4A87-91D7-CF1AAC475B16}" type="slidenum">
              <a:rPr lang="en-US" altLang="en-US"/>
              <a:pPr/>
              <a:t>‹#›</a:t>
            </a:fld>
            <a:endParaRPr lang="en-US" altLang="en-US"/>
          </a:p>
        </p:txBody>
      </p:sp>
    </p:spTree>
    <p:extLst>
      <p:ext uri="{BB962C8B-B14F-4D97-AF65-F5344CB8AC3E}">
        <p14:creationId xmlns:p14="http://schemas.microsoft.com/office/powerpoint/2010/main" val="257507107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p:spPr>
        <p:txBody>
          <a:bodyPr/>
          <a:lstStyle/>
          <a:p>
            <a:r>
              <a:rPr lang="en-US"/>
              <a:t>Click to edit Master title style</a:t>
            </a:r>
          </a:p>
        </p:txBody>
      </p:sp>
      <p:sp>
        <p:nvSpPr>
          <p:cNvPr id="3" name="Table Placeholder 2"/>
          <p:cNvSpPr>
            <a:spLocks noGrp="1"/>
          </p:cNvSpPr>
          <p:nvPr>
            <p:ph type="tbl" idx="1"/>
          </p:nvPr>
        </p:nvSpPr>
        <p:spPr>
          <a:xfrm>
            <a:off x="609600" y="1600203"/>
            <a:ext cx="10972800" cy="4525963"/>
          </a:xfrm>
        </p:spPr>
        <p:txBody>
          <a:bodyPr>
            <a:normAutofit/>
          </a:bodyPr>
          <a:lstStyle/>
          <a:p>
            <a:pPr lvl="0"/>
            <a:endParaRPr lang="en-US" noProof="0"/>
          </a:p>
        </p:txBody>
      </p:sp>
      <p:sp>
        <p:nvSpPr>
          <p:cNvPr id="4" name="Rectangle 2">
            <a:extLst>
              <a:ext uri="{FF2B5EF4-FFF2-40B4-BE49-F238E27FC236}">
                <a16:creationId xmlns:a16="http://schemas.microsoft.com/office/drawing/2014/main" id="{8C8AF988-D35F-43EE-BE91-3CA2CA5A12E7}"/>
              </a:ext>
            </a:extLst>
          </p:cNvPr>
          <p:cNvSpPr>
            <a:spLocks noGrp="1" noChangeArrowheads="1"/>
          </p:cNvSpPr>
          <p:nvPr>
            <p:ph type="dt" sz="half" idx="10"/>
          </p:nvPr>
        </p:nvSpPr>
        <p:spPr/>
        <p:txBody>
          <a:bodyPr/>
          <a:lstStyle>
            <a:lvl1pPr>
              <a:defRPr>
                <a:solidFill>
                  <a:srgbClr val="FFFFFF"/>
                </a:solidFill>
              </a:defRPr>
            </a:lvl1pPr>
          </a:lstStyle>
          <a:p>
            <a:pPr>
              <a:defRPr/>
            </a:pPr>
            <a:endParaRPr lang="en-US"/>
          </a:p>
        </p:txBody>
      </p:sp>
      <p:sp>
        <p:nvSpPr>
          <p:cNvPr id="5" name="Rectangle 3">
            <a:extLst>
              <a:ext uri="{FF2B5EF4-FFF2-40B4-BE49-F238E27FC236}">
                <a16:creationId xmlns:a16="http://schemas.microsoft.com/office/drawing/2014/main" id="{9CA1B4A4-8486-4FA0-9EE5-ED621169C86E}"/>
              </a:ext>
            </a:extLst>
          </p:cNvPr>
          <p:cNvSpPr>
            <a:spLocks noGrp="1" noChangeArrowheads="1"/>
          </p:cNvSpPr>
          <p:nvPr>
            <p:ph type="sldNum" sz="quarter" idx="11"/>
          </p:nvPr>
        </p:nvSpPr>
        <p:spPr/>
        <p:txBody>
          <a:bodyPr/>
          <a:lstStyle>
            <a:lvl1pPr>
              <a:defRPr/>
            </a:lvl1pPr>
          </a:lstStyle>
          <a:p>
            <a:fld id="{67D11383-F66C-48C0-950E-CA73167E5B94}" type="slidenum">
              <a:rPr lang="en-US" altLang="en-US"/>
              <a:pPr/>
              <a:t>‹#›</a:t>
            </a:fld>
            <a:endParaRPr lang="en-US" altLang="en-US"/>
          </a:p>
        </p:txBody>
      </p:sp>
      <p:sp>
        <p:nvSpPr>
          <p:cNvPr id="6" name="Rectangle 14">
            <a:extLst>
              <a:ext uri="{FF2B5EF4-FFF2-40B4-BE49-F238E27FC236}">
                <a16:creationId xmlns:a16="http://schemas.microsoft.com/office/drawing/2014/main" id="{36C2304C-D6C2-4BFF-BACF-E51A69EA40EB}"/>
              </a:ext>
            </a:extLst>
          </p:cNvPr>
          <p:cNvSpPr>
            <a:spLocks noGrp="1" noChangeArrowheads="1"/>
          </p:cNvSpPr>
          <p:nvPr>
            <p:ph type="ftr" sz="quarter" idx="12"/>
          </p:nvPr>
        </p:nvSpPr>
        <p:spPr/>
        <p:txBody>
          <a:bodyPr/>
          <a:lstStyle>
            <a:lvl1pPr>
              <a:defRPr>
                <a:solidFill>
                  <a:srgbClr val="FFFFFF"/>
                </a:solidFill>
              </a:defRPr>
            </a:lvl1pPr>
          </a:lstStyle>
          <a:p>
            <a:pPr>
              <a:defRPr/>
            </a:pPr>
            <a:endParaRPr lang="en-US"/>
          </a:p>
        </p:txBody>
      </p:sp>
    </p:spTree>
    <p:extLst>
      <p:ext uri="{BB962C8B-B14F-4D97-AF65-F5344CB8AC3E}">
        <p14:creationId xmlns:p14="http://schemas.microsoft.com/office/powerpoint/2010/main" val="1080483745"/>
      </p:ext>
    </p:extLst>
  </p:cSld>
  <p:clrMapOvr>
    <a:masterClrMapping/>
  </p:clrMapOvr>
  <p:transition>
    <p:random/>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type="chart">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p:spPr>
        <p:txBody>
          <a:bodyPr/>
          <a:lstStyle/>
          <a:p>
            <a:r>
              <a:rPr lang="en-US"/>
              <a:t>Click to edit Master title style</a:t>
            </a:r>
          </a:p>
        </p:txBody>
      </p:sp>
      <p:sp>
        <p:nvSpPr>
          <p:cNvPr id="3" name="Chart Placeholder 2"/>
          <p:cNvSpPr>
            <a:spLocks noGrp="1"/>
          </p:cNvSpPr>
          <p:nvPr>
            <p:ph type="chart" idx="1"/>
          </p:nvPr>
        </p:nvSpPr>
        <p:spPr>
          <a:xfrm>
            <a:off x="609600" y="1600203"/>
            <a:ext cx="10972800" cy="4525963"/>
          </a:xfrm>
        </p:spPr>
        <p:txBody>
          <a:bodyPr>
            <a:normAutofit/>
          </a:bodyPr>
          <a:lstStyle/>
          <a:p>
            <a:pPr lvl="0"/>
            <a:endParaRPr lang="en-US" noProof="0"/>
          </a:p>
        </p:txBody>
      </p:sp>
      <p:sp>
        <p:nvSpPr>
          <p:cNvPr id="4" name="Rectangle 2">
            <a:extLst>
              <a:ext uri="{FF2B5EF4-FFF2-40B4-BE49-F238E27FC236}">
                <a16:creationId xmlns:a16="http://schemas.microsoft.com/office/drawing/2014/main" id="{B44541C7-2EF9-46EC-94C7-B4E9C39007E1}"/>
              </a:ext>
            </a:extLst>
          </p:cNvPr>
          <p:cNvSpPr>
            <a:spLocks noGrp="1" noChangeArrowheads="1"/>
          </p:cNvSpPr>
          <p:nvPr>
            <p:ph type="dt" sz="half" idx="10"/>
          </p:nvPr>
        </p:nvSpPr>
        <p:spPr/>
        <p:txBody>
          <a:bodyPr/>
          <a:lstStyle>
            <a:lvl1pPr>
              <a:defRPr>
                <a:solidFill>
                  <a:srgbClr val="FFFFFF"/>
                </a:solidFill>
              </a:defRPr>
            </a:lvl1pPr>
          </a:lstStyle>
          <a:p>
            <a:pPr>
              <a:defRPr/>
            </a:pPr>
            <a:endParaRPr lang="en-US"/>
          </a:p>
        </p:txBody>
      </p:sp>
      <p:sp>
        <p:nvSpPr>
          <p:cNvPr id="5" name="Rectangle 3">
            <a:extLst>
              <a:ext uri="{FF2B5EF4-FFF2-40B4-BE49-F238E27FC236}">
                <a16:creationId xmlns:a16="http://schemas.microsoft.com/office/drawing/2014/main" id="{6A0CC8EC-98B5-4F15-B536-5EE04B663626}"/>
              </a:ext>
            </a:extLst>
          </p:cNvPr>
          <p:cNvSpPr>
            <a:spLocks noGrp="1" noChangeArrowheads="1"/>
          </p:cNvSpPr>
          <p:nvPr>
            <p:ph type="sldNum" sz="quarter" idx="11"/>
          </p:nvPr>
        </p:nvSpPr>
        <p:spPr/>
        <p:txBody>
          <a:bodyPr/>
          <a:lstStyle>
            <a:lvl1pPr>
              <a:defRPr/>
            </a:lvl1pPr>
          </a:lstStyle>
          <a:p>
            <a:fld id="{F71CBEC7-EDD8-45CC-9CC1-2B6F1ADA7B27}" type="slidenum">
              <a:rPr lang="en-US" altLang="en-US"/>
              <a:pPr/>
              <a:t>‹#›</a:t>
            </a:fld>
            <a:endParaRPr lang="en-US" altLang="en-US"/>
          </a:p>
        </p:txBody>
      </p:sp>
      <p:sp>
        <p:nvSpPr>
          <p:cNvPr id="6" name="Rectangle 14">
            <a:extLst>
              <a:ext uri="{FF2B5EF4-FFF2-40B4-BE49-F238E27FC236}">
                <a16:creationId xmlns:a16="http://schemas.microsoft.com/office/drawing/2014/main" id="{2F27D3BA-0B8C-4656-BDD6-F6CD6866E664}"/>
              </a:ext>
            </a:extLst>
          </p:cNvPr>
          <p:cNvSpPr>
            <a:spLocks noGrp="1" noChangeArrowheads="1"/>
          </p:cNvSpPr>
          <p:nvPr>
            <p:ph type="ftr" sz="quarter" idx="12"/>
          </p:nvPr>
        </p:nvSpPr>
        <p:spPr/>
        <p:txBody>
          <a:bodyPr/>
          <a:lstStyle>
            <a:lvl1pPr>
              <a:defRPr>
                <a:solidFill>
                  <a:srgbClr val="FFFFFF"/>
                </a:solidFill>
              </a:defRPr>
            </a:lvl1pPr>
          </a:lstStyle>
          <a:p>
            <a:pPr>
              <a:defRPr/>
            </a:pPr>
            <a:endParaRPr lang="en-US"/>
          </a:p>
        </p:txBody>
      </p:sp>
    </p:spTree>
    <p:extLst>
      <p:ext uri="{BB962C8B-B14F-4D97-AF65-F5344CB8AC3E}">
        <p14:creationId xmlns:p14="http://schemas.microsoft.com/office/powerpoint/2010/main" val="624435864"/>
      </p:ext>
    </p:extLst>
  </p:cSld>
  <p:clrMapOvr>
    <a:masterClrMapping/>
  </p:clrMapOvr>
  <p:transition>
    <p:random/>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userDrawn="1">
  <p:cSld name="Custom Layout">
    <p:spTree>
      <p:nvGrpSpPr>
        <p:cNvPr id="1" name=""/>
        <p:cNvGrpSpPr/>
        <p:nvPr/>
      </p:nvGrpSpPr>
      <p:grpSpPr>
        <a:xfrm>
          <a:off x="0" y="0"/>
          <a:ext cx="0" cy="0"/>
          <a:chOff x="0" y="0"/>
          <a:chExt cx="0" cy="0"/>
        </a:xfrm>
      </p:grpSpPr>
      <p:grpSp>
        <p:nvGrpSpPr>
          <p:cNvPr id="4" name="Group 4">
            <a:extLst>
              <a:ext uri="{FF2B5EF4-FFF2-40B4-BE49-F238E27FC236}">
                <a16:creationId xmlns:a16="http://schemas.microsoft.com/office/drawing/2014/main" id="{BE50C157-217D-4BF1-9B92-C205A1CDF20B}"/>
              </a:ext>
            </a:extLst>
          </p:cNvPr>
          <p:cNvGrpSpPr>
            <a:grpSpLocks/>
          </p:cNvGrpSpPr>
          <p:nvPr/>
        </p:nvGrpSpPr>
        <p:grpSpPr bwMode="auto">
          <a:xfrm>
            <a:off x="1" y="1"/>
            <a:ext cx="12187767" cy="6850063"/>
            <a:chOff x="0" y="0"/>
            <a:chExt cx="5758" cy="4315"/>
          </a:xfrm>
        </p:grpSpPr>
        <p:grpSp>
          <p:nvGrpSpPr>
            <p:cNvPr id="5" name="Group 5">
              <a:extLst>
                <a:ext uri="{FF2B5EF4-FFF2-40B4-BE49-F238E27FC236}">
                  <a16:creationId xmlns:a16="http://schemas.microsoft.com/office/drawing/2014/main" id="{FA629D32-EBEC-43C0-BCD7-C5F36C9775AB}"/>
                </a:ext>
              </a:extLst>
            </p:cNvPr>
            <p:cNvGrpSpPr>
              <a:grpSpLocks/>
            </p:cNvGrpSpPr>
            <p:nvPr userDrawn="1"/>
          </p:nvGrpSpPr>
          <p:grpSpPr bwMode="auto">
            <a:xfrm>
              <a:off x="1728" y="2230"/>
              <a:ext cx="4027" cy="2085"/>
              <a:chOff x="1728" y="2230"/>
              <a:chExt cx="4027" cy="2085"/>
            </a:xfrm>
          </p:grpSpPr>
          <p:sp>
            <p:nvSpPr>
              <p:cNvPr id="8" name="Freeform 6">
                <a:extLst>
                  <a:ext uri="{FF2B5EF4-FFF2-40B4-BE49-F238E27FC236}">
                    <a16:creationId xmlns:a16="http://schemas.microsoft.com/office/drawing/2014/main" id="{52A9FCF7-2C15-490A-9980-12DA77C0F04C}"/>
                  </a:ext>
                </a:extLst>
              </p:cNvPr>
              <p:cNvSpPr>
                <a:spLocks/>
              </p:cNvSpPr>
              <p:nvPr/>
            </p:nvSpPr>
            <p:spPr bwMode="hidden">
              <a:xfrm>
                <a:off x="1728" y="2644"/>
                <a:ext cx="2882" cy="1671"/>
              </a:xfrm>
              <a:custGeom>
                <a:avLst/>
                <a:gdLst/>
                <a:ahLst/>
                <a:cxnLst>
                  <a:cxn ang="0">
                    <a:pos x="2740" y="528"/>
                  </a:cxn>
                  <a:cxn ang="0">
                    <a:pos x="2632" y="484"/>
                  </a:cxn>
                  <a:cxn ang="0">
                    <a:pos x="2480" y="424"/>
                  </a:cxn>
                  <a:cxn ang="0">
                    <a:pos x="2203" y="343"/>
                  </a:cxn>
                  <a:cxn ang="0">
                    <a:pos x="1970" y="277"/>
                  </a:cxn>
                  <a:cxn ang="0">
                    <a:pos x="1807" y="212"/>
                  </a:cxn>
                  <a:cxn ang="0">
                    <a:pos x="1693" y="152"/>
                  </a:cxn>
                  <a:cxn ang="0">
                    <a:pos x="1628" y="103"/>
                  </a:cxn>
                  <a:cxn ang="0">
                    <a:pos x="1590" y="60"/>
                  </a:cxn>
                  <a:cxn ang="0">
                    <a:pos x="1579" y="27"/>
                  </a:cxn>
                  <a:cxn ang="0">
                    <a:pos x="1585" y="0"/>
                  </a:cxn>
                  <a:cxn ang="0">
                    <a:pos x="1557" y="49"/>
                  </a:cxn>
                  <a:cxn ang="0">
                    <a:pos x="1568" y="98"/>
                  </a:cxn>
                  <a:cxn ang="0">
                    <a:pos x="1617" y="141"/>
                  </a:cxn>
                  <a:cxn ang="0">
                    <a:pos x="1688" y="185"/>
                  </a:cxn>
                  <a:cxn ang="0">
                    <a:pos x="1791" y="228"/>
                  </a:cxn>
                  <a:cxn ang="0">
                    <a:pos x="2040" y="310"/>
                  </a:cxn>
                  <a:cxn ang="0">
                    <a:pos x="2285" y="381"/>
                  </a:cxn>
                  <a:cxn ang="0">
                    <a:pos x="2464" y="435"/>
                  </a:cxn>
                  <a:cxn ang="0">
                    <a:pos x="2605" y="484"/>
                  </a:cxn>
                  <a:cxn ang="0">
                    <a:pos x="2708" y="528"/>
                  </a:cxn>
                  <a:cxn ang="0">
                    <a:pos x="2768" y="560"/>
                  </a:cxn>
                  <a:cxn ang="0">
                    <a:pos x="2795" y="593"/>
                  </a:cxn>
                  <a:cxn ang="0">
                    <a:pos x="2795" y="642"/>
                  </a:cxn>
                  <a:cxn ang="0">
                    <a:pos x="2762" y="691"/>
                  </a:cxn>
                  <a:cxn ang="0">
                    <a:pos x="2692" y="735"/>
                  </a:cxn>
                  <a:cxn ang="0">
                    <a:pos x="2589" y="778"/>
                  </a:cxn>
                  <a:cxn ang="0">
                    <a:pos x="2458" y="822"/>
                  </a:cxn>
                  <a:cxn ang="0">
                    <a:pos x="2301" y="865"/>
                  </a:cxn>
                  <a:cxn ang="0">
                    <a:pos x="2030" y="930"/>
                  </a:cxn>
                  <a:cxn ang="0">
                    <a:pos x="1606" y="1034"/>
                  </a:cxn>
                  <a:cxn ang="0">
                    <a:pos x="1145" y="1164"/>
                  </a:cxn>
                  <a:cxn ang="0">
                    <a:pos x="673" y="1328"/>
                  </a:cxn>
                  <a:cxn ang="0">
                    <a:pos x="217" y="1545"/>
                  </a:cxn>
                  <a:cxn ang="0">
                    <a:pos x="353" y="1671"/>
                  </a:cxn>
                  <a:cxn ang="0">
                    <a:pos x="754" y="1469"/>
                  </a:cxn>
                  <a:cxn ang="0">
                    <a:pos x="1145" y="1311"/>
                  </a:cxn>
                  <a:cxn ang="0">
                    <a:pos x="1519" y="1186"/>
                  </a:cxn>
                  <a:cxn ang="0">
                    <a:pos x="1861" y="1083"/>
                  </a:cxn>
                  <a:cxn ang="0">
                    <a:pos x="2165" y="1007"/>
                  </a:cxn>
                  <a:cxn ang="0">
                    <a:pos x="2426" y="947"/>
                  </a:cxn>
                  <a:cxn ang="0">
                    <a:pos x="2626" y="892"/>
                  </a:cxn>
                  <a:cxn ang="0">
                    <a:pos x="2762" y="838"/>
                  </a:cxn>
                  <a:cxn ang="0">
                    <a:pos x="2827" y="794"/>
                  </a:cxn>
                  <a:cxn ang="0">
                    <a:pos x="2865" y="745"/>
                  </a:cxn>
                  <a:cxn ang="0">
                    <a:pos x="2882" y="702"/>
                  </a:cxn>
                  <a:cxn ang="0">
                    <a:pos x="2854" y="620"/>
                  </a:cxn>
                  <a:cxn ang="0">
                    <a:pos x="2800" y="560"/>
                  </a:cxn>
                  <a:cxn ang="0">
                    <a:pos x="2773" y="544"/>
                  </a:cxn>
                </a:cxnLst>
                <a:rect l="0" t="0" r="r" b="b"/>
                <a:pathLst>
                  <a:path w="2882" h="1671">
                    <a:moveTo>
                      <a:pt x="2773" y="544"/>
                    </a:moveTo>
                    <a:lnTo>
                      <a:pt x="2740" y="528"/>
                    </a:lnTo>
                    <a:lnTo>
                      <a:pt x="2692" y="506"/>
                    </a:lnTo>
                    <a:lnTo>
                      <a:pt x="2632" y="484"/>
                    </a:lnTo>
                    <a:lnTo>
                      <a:pt x="2561" y="457"/>
                    </a:lnTo>
                    <a:lnTo>
                      <a:pt x="2480" y="424"/>
                    </a:lnTo>
                    <a:lnTo>
                      <a:pt x="2388" y="397"/>
                    </a:lnTo>
                    <a:lnTo>
                      <a:pt x="2203" y="343"/>
                    </a:lnTo>
                    <a:lnTo>
                      <a:pt x="2078" y="310"/>
                    </a:lnTo>
                    <a:lnTo>
                      <a:pt x="1970" y="277"/>
                    </a:lnTo>
                    <a:lnTo>
                      <a:pt x="1878" y="245"/>
                    </a:lnTo>
                    <a:lnTo>
                      <a:pt x="1807" y="212"/>
                    </a:lnTo>
                    <a:lnTo>
                      <a:pt x="1742" y="179"/>
                    </a:lnTo>
                    <a:lnTo>
                      <a:pt x="1693" y="152"/>
                    </a:lnTo>
                    <a:lnTo>
                      <a:pt x="1655" y="125"/>
                    </a:lnTo>
                    <a:lnTo>
                      <a:pt x="1628" y="103"/>
                    </a:lnTo>
                    <a:lnTo>
                      <a:pt x="1606" y="81"/>
                    </a:lnTo>
                    <a:lnTo>
                      <a:pt x="1590" y="60"/>
                    </a:lnTo>
                    <a:lnTo>
                      <a:pt x="1585" y="43"/>
                    </a:lnTo>
                    <a:lnTo>
                      <a:pt x="1579" y="27"/>
                    </a:lnTo>
                    <a:lnTo>
                      <a:pt x="1585" y="5"/>
                    </a:lnTo>
                    <a:lnTo>
                      <a:pt x="1585" y="0"/>
                    </a:lnTo>
                    <a:lnTo>
                      <a:pt x="1568" y="27"/>
                    </a:lnTo>
                    <a:lnTo>
                      <a:pt x="1557" y="49"/>
                    </a:lnTo>
                    <a:lnTo>
                      <a:pt x="1557" y="76"/>
                    </a:lnTo>
                    <a:lnTo>
                      <a:pt x="1568" y="98"/>
                    </a:lnTo>
                    <a:lnTo>
                      <a:pt x="1590" y="120"/>
                    </a:lnTo>
                    <a:lnTo>
                      <a:pt x="1617" y="141"/>
                    </a:lnTo>
                    <a:lnTo>
                      <a:pt x="1650" y="163"/>
                    </a:lnTo>
                    <a:lnTo>
                      <a:pt x="1688" y="185"/>
                    </a:lnTo>
                    <a:lnTo>
                      <a:pt x="1737" y="207"/>
                    </a:lnTo>
                    <a:lnTo>
                      <a:pt x="1791" y="228"/>
                    </a:lnTo>
                    <a:lnTo>
                      <a:pt x="1905" y="267"/>
                    </a:lnTo>
                    <a:lnTo>
                      <a:pt x="2040" y="310"/>
                    </a:lnTo>
                    <a:lnTo>
                      <a:pt x="2182" y="348"/>
                    </a:lnTo>
                    <a:lnTo>
                      <a:pt x="2285" y="381"/>
                    </a:lnTo>
                    <a:lnTo>
                      <a:pt x="2382" y="408"/>
                    </a:lnTo>
                    <a:lnTo>
                      <a:pt x="2464" y="435"/>
                    </a:lnTo>
                    <a:lnTo>
                      <a:pt x="2540" y="462"/>
                    </a:lnTo>
                    <a:lnTo>
                      <a:pt x="2605" y="484"/>
                    </a:lnTo>
                    <a:lnTo>
                      <a:pt x="2659" y="506"/>
                    </a:lnTo>
                    <a:lnTo>
                      <a:pt x="2708" y="528"/>
                    </a:lnTo>
                    <a:lnTo>
                      <a:pt x="2740" y="544"/>
                    </a:lnTo>
                    <a:lnTo>
                      <a:pt x="2768" y="560"/>
                    </a:lnTo>
                    <a:lnTo>
                      <a:pt x="2784" y="577"/>
                    </a:lnTo>
                    <a:lnTo>
                      <a:pt x="2795" y="593"/>
                    </a:lnTo>
                    <a:lnTo>
                      <a:pt x="2800" y="615"/>
                    </a:lnTo>
                    <a:lnTo>
                      <a:pt x="2795" y="642"/>
                    </a:lnTo>
                    <a:lnTo>
                      <a:pt x="2784" y="664"/>
                    </a:lnTo>
                    <a:lnTo>
                      <a:pt x="2762" y="691"/>
                    </a:lnTo>
                    <a:lnTo>
                      <a:pt x="2730" y="713"/>
                    </a:lnTo>
                    <a:lnTo>
                      <a:pt x="2692" y="735"/>
                    </a:lnTo>
                    <a:lnTo>
                      <a:pt x="2643" y="756"/>
                    </a:lnTo>
                    <a:lnTo>
                      <a:pt x="2589" y="778"/>
                    </a:lnTo>
                    <a:lnTo>
                      <a:pt x="2529" y="800"/>
                    </a:lnTo>
                    <a:lnTo>
                      <a:pt x="2458" y="822"/>
                    </a:lnTo>
                    <a:lnTo>
                      <a:pt x="2382" y="843"/>
                    </a:lnTo>
                    <a:lnTo>
                      <a:pt x="2301" y="865"/>
                    </a:lnTo>
                    <a:lnTo>
                      <a:pt x="2214" y="887"/>
                    </a:lnTo>
                    <a:lnTo>
                      <a:pt x="2030" y="930"/>
                    </a:lnTo>
                    <a:lnTo>
                      <a:pt x="1823" y="979"/>
                    </a:lnTo>
                    <a:lnTo>
                      <a:pt x="1606" y="1034"/>
                    </a:lnTo>
                    <a:lnTo>
                      <a:pt x="1378" y="1094"/>
                    </a:lnTo>
                    <a:lnTo>
                      <a:pt x="1145" y="1164"/>
                    </a:lnTo>
                    <a:lnTo>
                      <a:pt x="912" y="1241"/>
                    </a:lnTo>
                    <a:lnTo>
                      <a:pt x="673" y="1328"/>
                    </a:lnTo>
                    <a:lnTo>
                      <a:pt x="440" y="1431"/>
                    </a:lnTo>
                    <a:lnTo>
                      <a:pt x="217" y="1545"/>
                    </a:lnTo>
                    <a:lnTo>
                      <a:pt x="0" y="1671"/>
                    </a:lnTo>
                    <a:lnTo>
                      <a:pt x="353" y="1671"/>
                    </a:lnTo>
                    <a:lnTo>
                      <a:pt x="554" y="1567"/>
                    </a:lnTo>
                    <a:lnTo>
                      <a:pt x="754" y="1469"/>
                    </a:lnTo>
                    <a:lnTo>
                      <a:pt x="955" y="1388"/>
                    </a:lnTo>
                    <a:lnTo>
                      <a:pt x="1145" y="1311"/>
                    </a:lnTo>
                    <a:lnTo>
                      <a:pt x="1335" y="1241"/>
                    </a:lnTo>
                    <a:lnTo>
                      <a:pt x="1519" y="1186"/>
                    </a:lnTo>
                    <a:lnTo>
                      <a:pt x="1693" y="1132"/>
                    </a:lnTo>
                    <a:lnTo>
                      <a:pt x="1861" y="1083"/>
                    </a:lnTo>
                    <a:lnTo>
                      <a:pt x="2019" y="1045"/>
                    </a:lnTo>
                    <a:lnTo>
                      <a:pt x="2165" y="1007"/>
                    </a:lnTo>
                    <a:lnTo>
                      <a:pt x="2301" y="974"/>
                    </a:lnTo>
                    <a:lnTo>
                      <a:pt x="2426" y="947"/>
                    </a:lnTo>
                    <a:lnTo>
                      <a:pt x="2534" y="914"/>
                    </a:lnTo>
                    <a:lnTo>
                      <a:pt x="2626" y="892"/>
                    </a:lnTo>
                    <a:lnTo>
                      <a:pt x="2702" y="865"/>
                    </a:lnTo>
                    <a:lnTo>
                      <a:pt x="2762" y="838"/>
                    </a:lnTo>
                    <a:lnTo>
                      <a:pt x="2800" y="816"/>
                    </a:lnTo>
                    <a:lnTo>
                      <a:pt x="2827" y="794"/>
                    </a:lnTo>
                    <a:lnTo>
                      <a:pt x="2849" y="767"/>
                    </a:lnTo>
                    <a:lnTo>
                      <a:pt x="2865" y="745"/>
                    </a:lnTo>
                    <a:lnTo>
                      <a:pt x="2876" y="724"/>
                    </a:lnTo>
                    <a:lnTo>
                      <a:pt x="2882" y="702"/>
                    </a:lnTo>
                    <a:lnTo>
                      <a:pt x="2876" y="658"/>
                    </a:lnTo>
                    <a:lnTo>
                      <a:pt x="2854" y="620"/>
                    </a:lnTo>
                    <a:lnTo>
                      <a:pt x="2833" y="588"/>
                    </a:lnTo>
                    <a:lnTo>
                      <a:pt x="2800" y="560"/>
                    </a:lnTo>
                    <a:lnTo>
                      <a:pt x="2773" y="544"/>
                    </a:lnTo>
                    <a:lnTo>
                      <a:pt x="2773" y="544"/>
                    </a:lnTo>
                    <a:close/>
                  </a:path>
                </a:pathLst>
              </a:custGeom>
              <a:gradFill rotWithShape="0">
                <a:gsLst>
                  <a:gs pos="0">
                    <a:schemeClr val="bg1"/>
                  </a:gs>
                  <a:gs pos="100000">
                    <a:schemeClr val="bg1">
                      <a:gamma/>
                      <a:shade val="90980"/>
                      <a:invGamma/>
                    </a:schemeClr>
                  </a:gs>
                </a:gsLst>
                <a:lin ang="0" scaled="1"/>
              </a:gradFill>
              <a:ln w="9525">
                <a:noFill/>
                <a:round/>
                <a:headEnd/>
                <a:tailEnd/>
              </a:ln>
            </p:spPr>
            <p:txBody>
              <a:bodyPr/>
              <a:lstStyle/>
              <a:p>
                <a:pPr eaLnBrk="0" hangingPunct="0">
                  <a:defRPr/>
                </a:pPr>
                <a:endParaRPr lang="en-US" sz="1800">
                  <a:solidFill>
                    <a:srgbClr val="FFFFFF"/>
                  </a:solidFill>
                  <a:latin typeface="+mn-lt"/>
                  <a:cs typeface="+mn-cs"/>
                </a:endParaRPr>
              </a:p>
            </p:txBody>
          </p:sp>
          <p:sp>
            <p:nvSpPr>
              <p:cNvPr id="9" name="Freeform 7">
                <a:extLst>
                  <a:ext uri="{FF2B5EF4-FFF2-40B4-BE49-F238E27FC236}">
                    <a16:creationId xmlns:a16="http://schemas.microsoft.com/office/drawing/2014/main" id="{750C6A5E-225E-410F-AEC6-D846046BE4FC}"/>
                  </a:ext>
                </a:extLst>
              </p:cNvPr>
              <p:cNvSpPr>
                <a:spLocks/>
              </p:cNvSpPr>
              <p:nvPr/>
            </p:nvSpPr>
            <p:spPr bwMode="hidden">
              <a:xfrm>
                <a:off x="4170" y="2671"/>
                <a:ext cx="1259" cy="811"/>
              </a:xfrm>
              <a:custGeom>
                <a:avLst/>
                <a:gdLst/>
                <a:ahLst/>
                <a:cxnLst>
                  <a:cxn ang="0">
                    <a:pos x="1259" y="615"/>
                  </a:cxn>
                  <a:cxn ang="0">
                    <a:pos x="1248" y="588"/>
                  </a:cxn>
                  <a:cxn ang="0">
                    <a:pos x="1237" y="566"/>
                  </a:cxn>
                  <a:cxn ang="0">
                    <a:pos x="1216" y="539"/>
                  </a:cxn>
                  <a:cxn ang="0">
                    <a:pos x="1188" y="517"/>
                  </a:cxn>
                  <a:cxn ang="0">
                    <a:pos x="1123" y="479"/>
                  </a:cxn>
                  <a:cxn ang="0">
                    <a:pos x="1042" y="441"/>
                  </a:cxn>
                  <a:cxn ang="0">
                    <a:pos x="944" y="408"/>
                  </a:cxn>
                  <a:cxn ang="0">
                    <a:pos x="841" y="381"/>
                  </a:cxn>
                  <a:cxn ang="0">
                    <a:pos x="727" y="348"/>
                  </a:cxn>
                  <a:cxn ang="0">
                    <a:pos x="613" y="321"/>
                  </a:cxn>
                  <a:cxn ang="0">
                    <a:pos x="499" y="294"/>
                  </a:cxn>
                  <a:cxn ang="0">
                    <a:pos x="391" y="261"/>
                  </a:cxn>
                  <a:cxn ang="0">
                    <a:pos x="288" y="229"/>
                  </a:cxn>
                  <a:cxn ang="0">
                    <a:pos x="195" y="196"/>
                  </a:cxn>
                  <a:cxn ang="0">
                    <a:pos x="119" y="152"/>
                  </a:cxn>
                  <a:cxn ang="0">
                    <a:pos x="54" y="109"/>
                  </a:cxn>
                  <a:cxn ang="0">
                    <a:pos x="33" y="87"/>
                  </a:cxn>
                  <a:cxn ang="0">
                    <a:pos x="16" y="60"/>
                  </a:cxn>
                  <a:cxn ang="0">
                    <a:pos x="5" y="33"/>
                  </a:cxn>
                  <a:cxn ang="0">
                    <a:pos x="0" y="0"/>
                  </a:cxn>
                  <a:cxn ang="0">
                    <a:pos x="0" y="6"/>
                  </a:cxn>
                  <a:cxn ang="0">
                    <a:pos x="0" y="11"/>
                  </a:cxn>
                  <a:cxn ang="0">
                    <a:pos x="0" y="38"/>
                  </a:cxn>
                  <a:cxn ang="0">
                    <a:pos x="5" y="60"/>
                  </a:cxn>
                  <a:cxn ang="0">
                    <a:pos x="16" y="87"/>
                  </a:cxn>
                  <a:cxn ang="0">
                    <a:pos x="33" y="114"/>
                  </a:cxn>
                  <a:cxn ang="0">
                    <a:pos x="54" y="142"/>
                  </a:cxn>
                  <a:cxn ang="0">
                    <a:pos x="87" y="174"/>
                  </a:cxn>
                  <a:cxn ang="0">
                    <a:pos x="125" y="207"/>
                  </a:cxn>
                  <a:cxn ang="0">
                    <a:pos x="179" y="240"/>
                  </a:cxn>
                  <a:cxn ang="0">
                    <a:pos x="244" y="278"/>
                  </a:cxn>
                  <a:cxn ang="0">
                    <a:pos x="326" y="310"/>
                  </a:cxn>
                  <a:cxn ang="0">
                    <a:pos x="418" y="348"/>
                  </a:cxn>
                  <a:cxn ang="0">
                    <a:pos x="526" y="381"/>
                  </a:cxn>
                  <a:cxn ang="0">
                    <a:pos x="657" y="414"/>
                  </a:cxn>
                  <a:cxn ang="0">
                    <a:pos x="749" y="435"/>
                  </a:cxn>
                  <a:cxn ang="0">
                    <a:pos x="830" y="463"/>
                  </a:cxn>
                  <a:cxn ang="0">
                    <a:pos x="901" y="490"/>
                  </a:cxn>
                  <a:cxn ang="0">
                    <a:pos x="966" y="512"/>
                  </a:cxn>
                  <a:cxn ang="0">
                    <a:pos x="1015" y="539"/>
                  </a:cxn>
                  <a:cxn ang="0">
                    <a:pos x="1053" y="566"/>
                  </a:cxn>
                  <a:cxn ang="0">
                    <a:pos x="1080" y="593"/>
                  </a:cxn>
                  <a:cxn ang="0">
                    <a:pos x="1102" y="620"/>
                  </a:cxn>
                  <a:cxn ang="0">
                    <a:pos x="1112" y="648"/>
                  </a:cxn>
                  <a:cxn ang="0">
                    <a:pos x="1118" y="675"/>
                  </a:cxn>
                  <a:cxn ang="0">
                    <a:pos x="1112" y="697"/>
                  </a:cxn>
                  <a:cxn ang="0">
                    <a:pos x="1096" y="724"/>
                  </a:cxn>
                  <a:cxn ang="0">
                    <a:pos x="1080" y="746"/>
                  </a:cxn>
                  <a:cxn ang="0">
                    <a:pos x="1053" y="767"/>
                  </a:cxn>
                  <a:cxn ang="0">
                    <a:pos x="1015" y="789"/>
                  </a:cxn>
                  <a:cxn ang="0">
                    <a:pos x="977" y="811"/>
                  </a:cxn>
                  <a:cxn ang="0">
                    <a:pos x="1047" y="789"/>
                  </a:cxn>
                  <a:cxn ang="0">
                    <a:pos x="1107" y="767"/>
                  </a:cxn>
                  <a:cxn ang="0">
                    <a:pos x="1156" y="746"/>
                  </a:cxn>
                  <a:cxn ang="0">
                    <a:pos x="1199" y="724"/>
                  </a:cxn>
                  <a:cxn ang="0">
                    <a:pos x="1226" y="702"/>
                  </a:cxn>
                  <a:cxn ang="0">
                    <a:pos x="1248" y="675"/>
                  </a:cxn>
                  <a:cxn ang="0">
                    <a:pos x="1259" y="648"/>
                  </a:cxn>
                  <a:cxn ang="0">
                    <a:pos x="1259" y="615"/>
                  </a:cxn>
                  <a:cxn ang="0">
                    <a:pos x="1259" y="615"/>
                  </a:cxn>
                </a:cxnLst>
                <a:rect l="0" t="0" r="r" b="b"/>
                <a:pathLst>
                  <a:path w="1259" h="811">
                    <a:moveTo>
                      <a:pt x="1259" y="615"/>
                    </a:moveTo>
                    <a:lnTo>
                      <a:pt x="1248" y="588"/>
                    </a:lnTo>
                    <a:lnTo>
                      <a:pt x="1237" y="566"/>
                    </a:lnTo>
                    <a:lnTo>
                      <a:pt x="1216" y="539"/>
                    </a:lnTo>
                    <a:lnTo>
                      <a:pt x="1188" y="517"/>
                    </a:lnTo>
                    <a:lnTo>
                      <a:pt x="1123" y="479"/>
                    </a:lnTo>
                    <a:lnTo>
                      <a:pt x="1042" y="441"/>
                    </a:lnTo>
                    <a:lnTo>
                      <a:pt x="944" y="408"/>
                    </a:lnTo>
                    <a:lnTo>
                      <a:pt x="841" y="381"/>
                    </a:lnTo>
                    <a:lnTo>
                      <a:pt x="727" y="348"/>
                    </a:lnTo>
                    <a:lnTo>
                      <a:pt x="613" y="321"/>
                    </a:lnTo>
                    <a:lnTo>
                      <a:pt x="499" y="294"/>
                    </a:lnTo>
                    <a:lnTo>
                      <a:pt x="391" y="261"/>
                    </a:lnTo>
                    <a:lnTo>
                      <a:pt x="288" y="229"/>
                    </a:lnTo>
                    <a:lnTo>
                      <a:pt x="195" y="196"/>
                    </a:lnTo>
                    <a:lnTo>
                      <a:pt x="119" y="152"/>
                    </a:lnTo>
                    <a:lnTo>
                      <a:pt x="54" y="109"/>
                    </a:lnTo>
                    <a:lnTo>
                      <a:pt x="33" y="87"/>
                    </a:lnTo>
                    <a:lnTo>
                      <a:pt x="16" y="60"/>
                    </a:lnTo>
                    <a:lnTo>
                      <a:pt x="5" y="33"/>
                    </a:lnTo>
                    <a:lnTo>
                      <a:pt x="0" y="0"/>
                    </a:lnTo>
                    <a:lnTo>
                      <a:pt x="0" y="6"/>
                    </a:lnTo>
                    <a:lnTo>
                      <a:pt x="0" y="11"/>
                    </a:lnTo>
                    <a:lnTo>
                      <a:pt x="0" y="38"/>
                    </a:lnTo>
                    <a:lnTo>
                      <a:pt x="5" y="60"/>
                    </a:lnTo>
                    <a:lnTo>
                      <a:pt x="16" y="87"/>
                    </a:lnTo>
                    <a:lnTo>
                      <a:pt x="33" y="114"/>
                    </a:lnTo>
                    <a:lnTo>
                      <a:pt x="54" y="142"/>
                    </a:lnTo>
                    <a:lnTo>
                      <a:pt x="87" y="174"/>
                    </a:lnTo>
                    <a:lnTo>
                      <a:pt x="125" y="207"/>
                    </a:lnTo>
                    <a:lnTo>
                      <a:pt x="179" y="240"/>
                    </a:lnTo>
                    <a:lnTo>
                      <a:pt x="244" y="278"/>
                    </a:lnTo>
                    <a:lnTo>
                      <a:pt x="326" y="310"/>
                    </a:lnTo>
                    <a:lnTo>
                      <a:pt x="418" y="348"/>
                    </a:lnTo>
                    <a:lnTo>
                      <a:pt x="526" y="381"/>
                    </a:lnTo>
                    <a:lnTo>
                      <a:pt x="657" y="414"/>
                    </a:lnTo>
                    <a:lnTo>
                      <a:pt x="749" y="435"/>
                    </a:lnTo>
                    <a:lnTo>
                      <a:pt x="830" y="463"/>
                    </a:lnTo>
                    <a:lnTo>
                      <a:pt x="901" y="490"/>
                    </a:lnTo>
                    <a:lnTo>
                      <a:pt x="966" y="512"/>
                    </a:lnTo>
                    <a:lnTo>
                      <a:pt x="1015" y="539"/>
                    </a:lnTo>
                    <a:lnTo>
                      <a:pt x="1053" y="566"/>
                    </a:lnTo>
                    <a:lnTo>
                      <a:pt x="1080" y="593"/>
                    </a:lnTo>
                    <a:lnTo>
                      <a:pt x="1102" y="620"/>
                    </a:lnTo>
                    <a:lnTo>
                      <a:pt x="1112" y="648"/>
                    </a:lnTo>
                    <a:lnTo>
                      <a:pt x="1118" y="675"/>
                    </a:lnTo>
                    <a:lnTo>
                      <a:pt x="1112" y="697"/>
                    </a:lnTo>
                    <a:lnTo>
                      <a:pt x="1096" y="724"/>
                    </a:lnTo>
                    <a:lnTo>
                      <a:pt x="1080" y="746"/>
                    </a:lnTo>
                    <a:lnTo>
                      <a:pt x="1053" y="767"/>
                    </a:lnTo>
                    <a:lnTo>
                      <a:pt x="1015" y="789"/>
                    </a:lnTo>
                    <a:lnTo>
                      <a:pt x="977" y="811"/>
                    </a:lnTo>
                    <a:lnTo>
                      <a:pt x="1047" y="789"/>
                    </a:lnTo>
                    <a:lnTo>
                      <a:pt x="1107" y="767"/>
                    </a:lnTo>
                    <a:lnTo>
                      <a:pt x="1156" y="746"/>
                    </a:lnTo>
                    <a:lnTo>
                      <a:pt x="1199" y="724"/>
                    </a:lnTo>
                    <a:lnTo>
                      <a:pt x="1226" y="702"/>
                    </a:lnTo>
                    <a:lnTo>
                      <a:pt x="1248" y="675"/>
                    </a:lnTo>
                    <a:lnTo>
                      <a:pt x="1259" y="648"/>
                    </a:lnTo>
                    <a:lnTo>
                      <a:pt x="1259" y="615"/>
                    </a:lnTo>
                    <a:lnTo>
                      <a:pt x="1259" y="615"/>
                    </a:lnTo>
                    <a:close/>
                  </a:path>
                </a:pathLst>
              </a:custGeom>
              <a:gradFill rotWithShape="0">
                <a:gsLst>
                  <a:gs pos="0">
                    <a:schemeClr val="bg1"/>
                  </a:gs>
                  <a:gs pos="100000">
                    <a:schemeClr val="bg1">
                      <a:gamma/>
                      <a:shade val="90980"/>
                      <a:invGamma/>
                    </a:schemeClr>
                  </a:gs>
                </a:gsLst>
                <a:lin ang="2700000" scaled="1"/>
              </a:gradFill>
              <a:ln w="9525">
                <a:noFill/>
                <a:round/>
                <a:headEnd/>
                <a:tailEnd/>
              </a:ln>
            </p:spPr>
            <p:txBody>
              <a:bodyPr/>
              <a:lstStyle/>
              <a:p>
                <a:pPr eaLnBrk="0" hangingPunct="0">
                  <a:defRPr/>
                </a:pPr>
                <a:endParaRPr lang="en-US" sz="1800">
                  <a:solidFill>
                    <a:srgbClr val="FFFFFF"/>
                  </a:solidFill>
                  <a:latin typeface="+mn-lt"/>
                  <a:cs typeface="+mn-cs"/>
                </a:endParaRPr>
              </a:p>
            </p:txBody>
          </p:sp>
          <p:sp>
            <p:nvSpPr>
              <p:cNvPr id="10" name="Freeform 8">
                <a:extLst>
                  <a:ext uri="{FF2B5EF4-FFF2-40B4-BE49-F238E27FC236}">
                    <a16:creationId xmlns:a16="http://schemas.microsoft.com/office/drawing/2014/main" id="{BE7E78FE-6C2C-4010-9E3D-287B985EF114}"/>
                  </a:ext>
                </a:extLst>
              </p:cNvPr>
              <p:cNvSpPr>
                <a:spLocks/>
              </p:cNvSpPr>
              <p:nvPr/>
            </p:nvSpPr>
            <p:spPr bwMode="hidden">
              <a:xfrm>
                <a:off x="2900" y="3346"/>
                <a:ext cx="2849" cy="969"/>
              </a:xfrm>
              <a:custGeom>
                <a:avLst/>
                <a:gdLst/>
                <a:ahLst/>
                <a:cxnLst>
                  <a:cxn ang="0">
                    <a:pos x="92" y="958"/>
                  </a:cxn>
                  <a:cxn ang="0">
                    <a:pos x="0" y="969"/>
                  </a:cxn>
                  <a:cxn ang="0">
                    <a:pos x="391" y="969"/>
                  </a:cxn>
                  <a:cxn ang="0">
                    <a:pos x="434" y="947"/>
                  </a:cxn>
                  <a:cxn ang="0">
                    <a:pos x="483" y="914"/>
                  </a:cxn>
                  <a:cxn ang="0">
                    <a:pos x="554" y="876"/>
                  </a:cxn>
                  <a:cxn ang="0">
                    <a:pos x="635" y="838"/>
                  </a:cxn>
                  <a:cxn ang="0">
                    <a:pos x="727" y="794"/>
                  </a:cxn>
                  <a:cxn ang="0">
                    <a:pos x="836" y="745"/>
                  </a:cxn>
                  <a:cxn ang="0">
                    <a:pos x="961" y="696"/>
                  </a:cxn>
                  <a:cxn ang="0">
                    <a:pos x="1102" y="642"/>
                  </a:cxn>
                  <a:cxn ang="0">
                    <a:pos x="1259" y="582"/>
                  </a:cxn>
                  <a:cxn ang="0">
                    <a:pos x="1433" y="522"/>
                  </a:cxn>
                  <a:cxn ang="0">
                    <a:pos x="1623" y="462"/>
                  </a:cxn>
                  <a:cxn ang="0">
                    <a:pos x="1829" y="403"/>
                  </a:cxn>
                  <a:cxn ang="0">
                    <a:pos x="2057" y="343"/>
                  </a:cxn>
                  <a:cxn ang="0">
                    <a:pos x="2301" y="283"/>
                  </a:cxn>
                  <a:cxn ang="0">
                    <a:pos x="2567" y="223"/>
                  </a:cxn>
                  <a:cxn ang="0">
                    <a:pos x="2849" y="163"/>
                  </a:cxn>
                  <a:cxn ang="0">
                    <a:pos x="2849" y="0"/>
                  </a:cxn>
                  <a:cxn ang="0">
                    <a:pos x="2817" y="16"/>
                  </a:cxn>
                  <a:cxn ang="0">
                    <a:pos x="2773" y="33"/>
                  </a:cxn>
                  <a:cxn ang="0">
                    <a:pos x="2719" y="54"/>
                  </a:cxn>
                  <a:cxn ang="0">
                    <a:pos x="2648" y="76"/>
                  </a:cxn>
                  <a:cxn ang="0">
                    <a:pos x="2572" y="98"/>
                  </a:cxn>
                  <a:cxn ang="0">
                    <a:pos x="2491" y="120"/>
                  </a:cxn>
                  <a:cxn ang="0">
                    <a:pos x="2399" y="147"/>
                  </a:cxn>
                  <a:cxn ang="0">
                    <a:pos x="2301" y="169"/>
                  </a:cxn>
                  <a:cxn ang="0">
                    <a:pos x="2095" y="223"/>
                  </a:cxn>
                  <a:cxn ang="0">
                    <a:pos x="1889" y="277"/>
                  </a:cxn>
                  <a:cxn ang="0">
                    <a:pos x="1688" y="326"/>
                  </a:cxn>
                  <a:cxn ang="0">
                    <a:pos x="1590" y="354"/>
                  </a:cxn>
                  <a:cxn ang="0">
                    <a:pos x="1503" y="381"/>
                  </a:cxn>
                  <a:cxn ang="0">
                    <a:pos x="1107" y="506"/>
                  </a:cxn>
                  <a:cxn ang="0">
                    <a:pos x="912" y="577"/>
                  </a:cxn>
                  <a:cxn ang="0">
                    <a:pos x="727" y="647"/>
                  </a:cxn>
                  <a:cxn ang="0">
                    <a:pos x="548" y="718"/>
                  </a:cxn>
                  <a:cxn ang="0">
                    <a:pos x="380" y="794"/>
                  </a:cxn>
                  <a:cxn ang="0">
                    <a:pos x="228" y="876"/>
                  </a:cxn>
                  <a:cxn ang="0">
                    <a:pos x="92" y="958"/>
                  </a:cxn>
                  <a:cxn ang="0">
                    <a:pos x="92" y="958"/>
                  </a:cxn>
                </a:cxnLst>
                <a:rect l="0" t="0" r="r" b="b"/>
                <a:pathLst>
                  <a:path w="2849" h="969">
                    <a:moveTo>
                      <a:pt x="92" y="958"/>
                    </a:moveTo>
                    <a:lnTo>
                      <a:pt x="0" y="969"/>
                    </a:lnTo>
                    <a:lnTo>
                      <a:pt x="391" y="969"/>
                    </a:lnTo>
                    <a:lnTo>
                      <a:pt x="434" y="947"/>
                    </a:lnTo>
                    <a:lnTo>
                      <a:pt x="483" y="914"/>
                    </a:lnTo>
                    <a:lnTo>
                      <a:pt x="554" y="876"/>
                    </a:lnTo>
                    <a:lnTo>
                      <a:pt x="635" y="838"/>
                    </a:lnTo>
                    <a:lnTo>
                      <a:pt x="727" y="794"/>
                    </a:lnTo>
                    <a:lnTo>
                      <a:pt x="836" y="745"/>
                    </a:lnTo>
                    <a:lnTo>
                      <a:pt x="961" y="696"/>
                    </a:lnTo>
                    <a:lnTo>
                      <a:pt x="1102" y="642"/>
                    </a:lnTo>
                    <a:lnTo>
                      <a:pt x="1259" y="582"/>
                    </a:lnTo>
                    <a:lnTo>
                      <a:pt x="1433" y="522"/>
                    </a:lnTo>
                    <a:lnTo>
                      <a:pt x="1623" y="462"/>
                    </a:lnTo>
                    <a:lnTo>
                      <a:pt x="1829" y="403"/>
                    </a:lnTo>
                    <a:lnTo>
                      <a:pt x="2057" y="343"/>
                    </a:lnTo>
                    <a:lnTo>
                      <a:pt x="2301" y="283"/>
                    </a:lnTo>
                    <a:lnTo>
                      <a:pt x="2567" y="223"/>
                    </a:lnTo>
                    <a:lnTo>
                      <a:pt x="2849" y="163"/>
                    </a:lnTo>
                    <a:lnTo>
                      <a:pt x="2849" y="0"/>
                    </a:lnTo>
                    <a:lnTo>
                      <a:pt x="2817" y="16"/>
                    </a:lnTo>
                    <a:lnTo>
                      <a:pt x="2773" y="33"/>
                    </a:lnTo>
                    <a:lnTo>
                      <a:pt x="2719" y="54"/>
                    </a:lnTo>
                    <a:lnTo>
                      <a:pt x="2648" y="76"/>
                    </a:lnTo>
                    <a:lnTo>
                      <a:pt x="2572" y="98"/>
                    </a:lnTo>
                    <a:lnTo>
                      <a:pt x="2491" y="120"/>
                    </a:lnTo>
                    <a:lnTo>
                      <a:pt x="2399" y="147"/>
                    </a:lnTo>
                    <a:lnTo>
                      <a:pt x="2301" y="169"/>
                    </a:lnTo>
                    <a:lnTo>
                      <a:pt x="2095" y="223"/>
                    </a:lnTo>
                    <a:lnTo>
                      <a:pt x="1889" y="277"/>
                    </a:lnTo>
                    <a:lnTo>
                      <a:pt x="1688" y="326"/>
                    </a:lnTo>
                    <a:lnTo>
                      <a:pt x="1590" y="354"/>
                    </a:lnTo>
                    <a:lnTo>
                      <a:pt x="1503" y="381"/>
                    </a:lnTo>
                    <a:lnTo>
                      <a:pt x="1107" y="506"/>
                    </a:lnTo>
                    <a:lnTo>
                      <a:pt x="912" y="577"/>
                    </a:lnTo>
                    <a:lnTo>
                      <a:pt x="727" y="647"/>
                    </a:lnTo>
                    <a:lnTo>
                      <a:pt x="548" y="718"/>
                    </a:lnTo>
                    <a:lnTo>
                      <a:pt x="380" y="794"/>
                    </a:lnTo>
                    <a:lnTo>
                      <a:pt x="228" y="876"/>
                    </a:lnTo>
                    <a:lnTo>
                      <a:pt x="92" y="958"/>
                    </a:lnTo>
                    <a:lnTo>
                      <a:pt x="92" y="958"/>
                    </a:lnTo>
                    <a:close/>
                  </a:path>
                </a:pathLst>
              </a:custGeom>
              <a:gradFill rotWithShape="0">
                <a:gsLst>
                  <a:gs pos="0">
                    <a:schemeClr val="bg1">
                      <a:gamma/>
                      <a:shade val="81961"/>
                      <a:invGamma/>
                    </a:schemeClr>
                  </a:gs>
                  <a:gs pos="100000">
                    <a:schemeClr val="bg1"/>
                  </a:gs>
                </a:gsLst>
                <a:lin ang="5400000" scaled="1"/>
              </a:gradFill>
              <a:ln w="9525">
                <a:noFill/>
                <a:round/>
                <a:headEnd/>
                <a:tailEnd/>
              </a:ln>
            </p:spPr>
            <p:txBody>
              <a:bodyPr/>
              <a:lstStyle/>
              <a:p>
                <a:pPr eaLnBrk="0" hangingPunct="0">
                  <a:defRPr/>
                </a:pPr>
                <a:endParaRPr lang="en-US" sz="1800">
                  <a:solidFill>
                    <a:srgbClr val="FFFFFF"/>
                  </a:solidFill>
                  <a:latin typeface="+mn-lt"/>
                  <a:cs typeface="+mn-cs"/>
                </a:endParaRPr>
              </a:p>
            </p:txBody>
          </p:sp>
          <p:sp>
            <p:nvSpPr>
              <p:cNvPr id="11" name="Freeform 9">
                <a:extLst>
                  <a:ext uri="{FF2B5EF4-FFF2-40B4-BE49-F238E27FC236}">
                    <a16:creationId xmlns:a16="http://schemas.microsoft.com/office/drawing/2014/main" id="{54C138E6-8D98-4F68-92E8-177A4A97D9D1}"/>
                  </a:ext>
                </a:extLst>
              </p:cNvPr>
              <p:cNvSpPr>
                <a:spLocks/>
              </p:cNvSpPr>
              <p:nvPr/>
            </p:nvSpPr>
            <p:spPr bwMode="hidden">
              <a:xfrm>
                <a:off x="2748" y="2230"/>
                <a:ext cx="3007" cy="2085"/>
              </a:xfrm>
              <a:custGeom>
                <a:avLst/>
                <a:gdLst>
                  <a:gd name="T0" fmla="*/ 1433 w 3007"/>
                  <a:gd name="T1" fmla="*/ 474 h 2085"/>
                  <a:gd name="T2" fmla="*/ 1460 w 3007"/>
                  <a:gd name="T3" fmla="*/ 528 h 2085"/>
                  <a:gd name="T4" fmla="*/ 1541 w 3007"/>
                  <a:gd name="T5" fmla="*/ 593 h 2085"/>
                  <a:gd name="T6" fmla="*/ 1715 w 3007"/>
                  <a:gd name="T7" fmla="*/ 670 h 2085"/>
                  <a:gd name="T8" fmla="*/ 1927 w 3007"/>
                  <a:gd name="T9" fmla="*/ 735 h 2085"/>
                  <a:gd name="T10" fmla="*/ 2155 w 3007"/>
                  <a:gd name="T11" fmla="*/ 789 h 2085"/>
                  <a:gd name="T12" fmla="*/ 2372 w 3007"/>
                  <a:gd name="T13" fmla="*/ 849 h 2085"/>
                  <a:gd name="T14" fmla="*/ 2551 w 3007"/>
                  <a:gd name="T15" fmla="*/ 920 h 2085"/>
                  <a:gd name="T16" fmla="*/ 2638 w 3007"/>
                  <a:gd name="T17" fmla="*/ 980 h 2085"/>
                  <a:gd name="T18" fmla="*/ 2676 w 3007"/>
                  <a:gd name="T19" fmla="*/ 1029 h 2085"/>
                  <a:gd name="T20" fmla="*/ 2681 w 3007"/>
                  <a:gd name="T21" fmla="*/ 1083 h 2085"/>
                  <a:gd name="T22" fmla="*/ 2665 w 3007"/>
                  <a:gd name="T23" fmla="*/ 1127 h 2085"/>
                  <a:gd name="T24" fmla="*/ 2616 w 3007"/>
                  <a:gd name="T25" fmla="*/ 1170 h 2085"/>
                  <a:gd name="T26" fmla="*/ 2545 w 3007"/>
                  <a:gd name="T27" fmla="*/ 1208 h 2085"/>
                  <a:gd name="T28" fmla="*/ 2448 w 3007"/>
                  <a:gd name="T29" fmla="*/ 1241 h 2085"/>
                  <a:gd name="T30" fmla="*/ 2328 w 3007"/>
                  <a:gd name="T31" fmla="*/ 1274 h 2085"/>
                  <a:gd name="T32" fmla="*/ 2106 w 3007"/>
                  <a:gd name="T33" fmla="*/ 1328 h 2085"/>
                  <a:gd name="T34" fmla="*/ 1742 w 3007"/>
                  <a:gd name="T35" fmla="*/ 1421 h 2085"/>
                  <a:gd name="T36" fmla="*/ 1308 w 3007"/>
                  <a:gd name="T37" fmla="*/ 1540 h 2085"/>
                  <a:gd name="T38" fmla="*/ 820 w 3007"/>
                  <a:gd name="T39" fmla="*/ 1709 h 2085"/>
                  <a:gd name="T40" fmla="*/ 282 w 3007"/>
                  <a:gd name="T41" fmla="*/ 1943 h 2085"/>
                  <a:gd name="T42" fmla="*/ 152 w 3007"/>
                  <a:gd name="T43" fmla="*/ 2085 h 2085"/>
                  <a:gd name="T44" fmla="*/ 386 w 3007"/>
                  <a:gd name="T45" fmla="*/ 1992 h 2085"/>
                  <a:gd name="T46" fmla="*/ 700 w 3007"/>
                  <a:gd name="T47" fmla="*/ 1834 h 2085"/>
                  <a:gd name="T48" fmla="*/ 1064 w 3007"/>
                  <a:gd name="T49" fmla="*/ 1693 h 2085"/>
                  <a:gd name="T50" fmla="*/ 1661 w 3007"/>
                  <a:gd name="T51" fmla="*/ 1497 h 2085"/>
                  <a:gd name="T52" fmla="*/ 1845 w 3007"/>
                  <a:gd name="T53" fmla="*/ 1442 h 2085"/>
                  <a:gd name="T54" fmla="*/ 2252 w 3007"/>
                  <a:gd name="T55" fmla="*/ 1339 h 2085"/>
                  <a:gd name="T56" fmla="*/ 2551 w 3007"/>
                  <a:gd name="T57" fmla="*/ 1263 h 2085"/>
                  <a:gd name="T58" fmla="*/ 2730 w 3007"/>
                  <a:gd name="T59" fmla="*/ 1214 h 2085"/>
                  <a:gd name="T60" fmla="*/ 2876 w 3007"/>
                  <a:gd name="T61" fmla="*/ 1170 h 2085"/>
                  <a:gd name="T62" fmla="*/ 2974 w 3007"/>
                  <a:gd name="T63" fmla="*/ 1132 h 2085"/>
                  <a:gd name="T64" fmla="*/ 3007 w 3007"/>
                  <a:gd name="T65" fmla="*/ 871 h 2085"/>
                  <a:gd name="T66" fmla="*/ 2860 w 3007"/>
                  <a:gd name="T67" fmla="*/ 844 h 2085"/>
                  <a:gd name="T68" fmla="*/ 2670 w 3007"/>
                  <a:gd name="T69" fmla="*/ 806 h 2085"/>
                  <a:gd name="T70" fmla="*/ 2458 w 3007"/>
                  <a:gd name="T71" fmla="*/ 757 h 2085"/>
                  <a:gd name="T72" fmla="*/ 2138 w 3007"/>
                  <a:gd name="T73" fmla="*/ 670 h 2085"/>
                  <a:gd name="T74" fmla="*/ 1959 w 3007"/>
                  <a:gd name="T75" fmla="*/ 604 h 2085"/>
                  <a:gd name="T76" fmla="*/ 1824 w 3007"/>
                  <a:gd name="T77" fmla="*/ 534 h 2085"/>
                  <a:gd name="T78" fmla="*/ 1769 w 3007"/>
                  <a:gd name="T79" fmla="*/ 474 h 2085"/>
                  <a:gd name="T80" fmla="*/ 1753 w 3007"/>
                  <a:gd name="T81" fmla="*/ 436 h 2085"/>
                  <a:gd name="T82" fmla="*/ 1780 w 3007"/>
                  <a:gd name="T83" fmla="*/ 381 h 2085"/>
                  <a:gd name="T84" fmla="*/ 1862 w 3007"/>
                  <a:gd name="T85" fmla="*/ 316 h 2085"/>
                  <a:gd name="T86" fmla="*/ 1986 w 3007"/>
                  <a:gd name="T87" fmla="*/ 267 h 2085"/>
                  <a:gd name="T88" fmla="*/ 2149 w 3007"/>
                  <a:gd name="T89" fmla="*/ 229 h 2085"/>
                  <a:gd name="T90" fmla="*/ 2431 w 3007"/>
                  <a:gd name="T91" fmla="*/ 180 h 2085"/>
                  <a:gd name="T92" fmla="*/ 2827 w 3007"/>
                  <a:gd name="T93" fmla="*/ 125 h 2085"/>
                  <a:gd name="T94" fmla="*/ 3007 w 3007"/>
                  <a:gd name="T95" fmla="*/ 87 h 2085"/>
                  <a:gd name="T96" fmla="*/ 2909 w 3007"/>
                  <a:gd name="T97" fmla="*/ 22 h 2085"/>
                  <a:gd name="T98" fmla="*/ 2676 w 3007"/>
                  <a:gd name="T99" fmla="*/ 66 h 2085"/>
                  <a:gd name="T100" fmla="*/ 2285 w 3007"/>
                  <a:gd name="T101" fmla="*/ 120 h 2085"/>
                  <a:gd name="T102" fmla="*/ 2030 w 3007"/>
                  <a:gd name="T103" fmla="*/ 158 h 2085"/>
                  <a:gd name="T104" fmla="*/ 1791 w 3007"/>
                  <a:gd name="T105" fmla="*/ 202 h 2085"/>
                  <a:gd name="T106" fmla="*/ 1601 w 3007"/>
                  <a:gd name="T107" fmla="*/ 261 h 2085"/>
                  <a:gd name="T108" fmla="*/ 1471 w 3007"/>
                  <a:gd name="T109" fmla="*/ 338 h 2085"/>
                  <a:gd name="T110" fmla="*/ 1438 w 3007"/>
                  <a:gd name="T111" fmla="*/ 387 h 2085"/>
                  <a:gd name="T112" fmla="*/ 1427 w 3007"/>
                  <a:gd name="T113" fmla="*/ 441 h 2085"/>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3007" h="2085">
                    <a:moveTo>
                      <a:pt x="1427" y="441"/>
                    </a:moveTo>
                    <a:lnTo>
                      <a:pt x="1433" y="474"/>
                    </a:lnTo>
                    <a:lnTo>
                      <a:pt x="1444" y="501"/>
                    </a:lnTo>
                    <a:lnTo>
                      <a:pt x="1460" y="528"/>
                    </a:lnTo>
                    <a:lnTo>
                      <a:pt x="1482" y="550"/>
                    </a:lnTo>
                    <a:lnTo>
                      <a:pt x="1541" y="593"/>
                    </a:lnTo>
                    <a:lnTo>
                      <a:pt x="1623" y="637"/>
                    </a:lnTo>
                    <a:lnTo>
                      <a:pt x="1715" y="670"/>
                    </a:lnTo>
                    <a:lnTo>
                      <a:pt x="1818" y="702"/>
                    </a:lnTo>
                    <a:lnTo>
                      <a:pt x="1927" y="735"/>
                    </a:lnTo>
                    <a:lnTo>
                      <a:pt x="2041" y="762"/>
                    </a:lnTo>
                    <a:lnTo>
                      <a:pt x="2155" y="789"/>
                    </a:lnTo>
                    <a:lnTo>
                      <a:pt x="2269" y="822"/>
                    </a:lnTo>
                    <a:lnTo>
                      <a:pt x="2372" y="849"/>
                    </a:lnTo>
                    <a:lnTo>
                      <a:pt x="2464" y="882"/>
                    </a:lnTo>
                    <a:lnTo>
                      <a:pt x="2551" y="920"/>
                    </a:lnTo>
                    <a:lnTo>
                      <a:pt x="2616" y="958"/>
                    </a:lnTo>
                    <a:lnTo>
                      <a:pt x="2638" y="980"/>
                    </a:lnTo>
                    <a:lnTo>
                      <a:pt x="2659" y="1007"/>
                    </a:lnTo>
                    <a:lnTo>
                      <a:pt x="2676" y="1029"/>
                    </a:lnTo>
                    <a:lnTo>
                      <a:pt x="2681" y="1056"/>
                    </a:lnTo>
                    <a:lnTo>
                      <a:pt x="2681" y="1083"/>
                    </a:lnTo>
                    <a:lnTo>
                      <a:pt x="2676" y="1105"/>
                    </a:lnTo>
                    <a:lnTo>
                      <a:pt x="2665" y="1127"/>
                    </a:lnTo>
                    <a:lnTo>
                      <a:pt x="2643" y="1149"/>
                    </a:lnTo>
                    <a:lnTo>
                      <a:pt x="2616" y="1170"/>
                    </a:lnTo>
                    <a:lnTo>
                      <a:pt x="2583" y="1187"/>
                    </a:lnTo>
                    <a:lnTo>
                      <a:pt x="2545" y="1208"/>
                    </a:lnTo>
                    <a:lnTo>
                      <a:pt x="2502" y="1225"/>
                    </a:lnTo>
                    <a:lnTo>
                      <a:pt x="2448" y="1241"/>
                    </a:lnTo>
                    <a:lnTo>
                      <a:pt x="2388" y="1257"/>
                    </a:lnTo>
                    <a:lnTo>
                      <a:pt x="2328" y="1274"/>
                    </a:lnTo>
                    <a:lnTo>
                      <a:pt x="2258" y="1290"/>
                    </a:lnTo>
                    <a:lnTo>
                      <a:pt x="2106" y="1328"/>
                    </a:lnTo>
                    <a:lnTo>
                      <a:pt x="1932" y="1372"/>
                    </a:lnTo>
                    <a:lnTo>
                      <a:pt x="1742" y="1421"/>
                    </a:lnTo>
                    <a:lnTo>
                      <a:pt x="1531" y="1475"/>
                    </a:lnTo>
                    <a:lnTo>
                      <a:pt x="1308" y="1540"/>
                    </a:lnTo>
                    <a:lnTo>
                      <a:pt x="1069" y="1617"/>
                    </a:lnTo>
                    <a:lnTo>
                      <a:pt x="820" y="1709"/>
                    </a:lnTo>
                    <a:lnTo>
                      <a:pt x="554" y="1818"/>
                    </a:lnTo>
                    <a:lnTo>
                      <a:pt x="282" y="1943"/>
                    </a:lnTo>
                    <a:lnTo>
                      <a:pt x="0" y="2085"/>
                    </a:lnTo>
                    <a:lnTo>
                      <a:pt x="152" y="2085"/>
                    </a:lnTo>
                    <a:lnTo>
                      <a:pt x="244" y="2074"/>
                    </a:lnTo>
                    <a:lnTo>
                      <a:pt x="386" y="1992"/>
                    </a:lnTo>
                    <a:lnTo>
                      <a:pt x="537" y="1910"/>
                    </a:lnTo>
                    <a:lnTo>
                      <a:pt x="700" y="1834"/>
                    </a:lnTo>
                    <a:lnTo>
                      <a:pt x="879" y="1763"/>
                    </a:lnTo>
                    <a:lnTo>
                      <a:pt x="1064" y="1693"/>
                    </a:lnTo>
                    <a:lnTo>
                      <a:pt x="1259" y="1622"/>
                    </a:lnTo>
                    <a:lnTo>
                      <a:pt x="1661" y="1497"/>
                    </a:lnTo>
                    <a:lnTo>
                      <a:pt x="1748" y="1470"/>
                    </a:lnTo>
                    <a:lnTo>
                      <a:pt x="1845" y="1442"/>
                    </a:lnTo>
                    <a:lnTo>
                      <a:pt x="2046" y="1393"/>
                    </a:lnTo>
                    <a:lnTo>
                      <a:pt x="2252" y="1339"/>
                    </a:lnTo>
                    <a:lnTo>
                      <a:pt x="2458" y="1285"/>
                    </a:lnTo>
                    <a:lnTo>
                      <a:pt x="2551" y="1263"/>
                    </a:lnTo>
                    <a:lnTo>
                      <a:pt x="2643" y="1236"/>
                    </a:lnTo>
                    <a:lnTo>
                      <a:pt x="2730" y="1214"/>
                    </a:lnTo>
                    <a:lnTo>
                      <a:pt x="2806" y="1192"/>
                    </a:lnTo>
                    <a:lnTo>
                      <a:pt x="2876" y="1170"/>
                    </a:lnTo>
                    <a:lnTo>
                      <a:pt x="2931" y="1149"/>
                    </a:lnTo>
                    <a:lnTo>
                      <a:pt x="2974" y="1132"/>
                    </a:lnTo>
                    <a:lnTo>
                      <a:pt x="3007" y="1116"/>
                    </a:lnTo>
                    <a:lnTo>
                      <a:pt x="3007" y="871"/>
                    </a:lnTo>
                    <a:lnTo>
                      <a:pt x="2941" y="860"/>
                    </a:lnTo>
                    <a:lnTo>
                      <a:pt x="2860" y="844"/>
                    </a:lnTo>
                    <a:lnTo>
                      <a:pt x="2773" y="827"/>
                    </a:lnTo>
                    <a:lnTo>
                      <a:pt x="2670" y="806"/>
                    </a:lnTo>
                    <a:lnTo>
                      <a:pt x="2567" y="784"/>
                    </a:lnTo>
                    <a:lnTo>
                      <a:pt x="2458" y="757"/>
                    </a:lnTo>
                    <a:lnTo>
                      <a:pt x="2241" y="702"/>
                    </a:lnTo>
                    <a:lnTo>
                      <a:pt x="2138" y="670"/>
                    </a:lnTo>
                    <a:lnTo>
                      <a:pt x="2046" y="637"/>
                    </a:lnTo>
                    <a:lnTo>
                      <a:pt x="1959" y="604"/>
                    </a:lnTo>
                    <a:lnTo>
                      <a:pt x="1883" y="566"/>
                    </a:lnTo>
                    <a:lnTo>
                      <a:pt x="1824" y="534"/>
                    </a:lnTo>
                    <a:lnTo>
                      <a:pt x="1780" y="495"/>
                    </a:lnTo>
                    <a:lnTo>
                      <a:pt x="1769" y="474"/>
                    </a:lnTo>
                    <a:lnTo>
                      <a:pt x="1758" y="457"/>
                    </a:lnTo>
                    <a:lnTo>
                      <a:pt x="1753" y="436"/>
                    </a:lnTo>
                    <a:lnTo>
                      <a:pt x="1758" y="419"/>
                    </a:lnTo>
                    <a:lnTo>
                      <a:pt x="1780" y="381"/>
                    </a:lnTo>
                    <a:lnTo>
                      <a:pt x="1813" y="343"/>
                    </a:lnTo>
                    <a:lnTo>
                      <a:pt x="1862" y="316"/>
                    </a:lnTo>
                    <a:lnTo>
                      <a:pt x="1921" y="289"/>
                    </a:lnTo>
                    <a:lnTo>
                      <a:pt x="1986" y="267"/>
                    </a:lnTo>
                    <a:lnTo>
                      <a:pt x="2062" y="245"/>
                    </a:lnTo>
                    <a:lnTo>
                      <a:pt x="2149" y="229"/>
                    </a:lnTo>
                    <a:lnTo>
                      <a:pt x="2236" y="213"/>
                    </a:lnTo>
                    <a:lnTo>
                      <a:pt x="2431" y="180"/>
                    </a:lnTo>
                    <a:lnTo>
                      <a:pt x="2627" y="158"/>
                    </a:lnTo>
                    <a:lnTo>
                      <a:pt x="2827" y="125"/>
                    </a:lnTo>
                    <a:lnTo>
                      <a:pt x="2920" y="109"/>
                    </a:lnTo>
                    <a:lnTo>
                      <a:pt x="3007" y="87"/>
                    </a:lnTo>
                    <a:lnTo>
                      <a:pt x="3007" y="0"/>
                    </a:lnTo>
                    <a:lnTo>
                      <a:pt x="2909" y="22"/>
                    </a:lnTo>
                    <a:lnTo>
                      <a:pt x="2795" y="44"/>
                    </a:lnTo>
                    <a:lnTo>
                      <a:pt x="2676" y="66"/>
                    </a:lnTo>
                    <a:lnTo>
                      <a:pt x="2551" y="82"/>
                    </a:lnTo>
                    <a:lnTo>
                      <a:pt x="2285" y="120"/>
                    </a:lnTo>
                    <a:lnTo>
                      <a:pt x="2155" y="136"/>
                    </a:lnTo>
                    <a:lnTo>
                      <a:pt x="2030" y="158"/>
                    </a:lnTo>
                    <a:lnTo>
                      <a:pt x="1905" y="174"/>
                    </a:lnTo>
                    <a:lnTo>
                      <a:pt x="1791" y="202"/>
                    </a:lnTo>
                    <a:lnTo>
                      <a:pt x="1688" y="229"/>
                    </a:lnTo>
                    <a:lnTo>
                      <a:pt x="1601" y="261"/>
                    </a:lnTo>
                    <a:lnTo>
                      <a:pt x="1525" y="300"/>
                    </a:lnTo>
                    <a:lnTo>
                      <a:pt x="1471" y="338"/>
                    </a:lnTo>
                    <a:lnTo>
                      <a:pt x="1455" y="359"/>
                    </a:lnTo>
                    <a:lnTo>
                      <a:pt x="1438" y="387"/>
                    </a:lnTo>
                    <a:lnTo>
                      <a:pt x="1427" y="414"/>
                    </a:lnTo>
                    <a:lnTo>
                      <a:pt x="1427" y="44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800"/>
              </a:p>
            </p:txBody>
          </p:sp>
          <p:sp>
            <p:nvSpPr>
              <p:cNvPr id="13" name="Freeform 10">
                <a:extLst>
                  <a:ext uri="{FF2B5EF4-FFF2-40B4-BE49-F238E27FC236}">
                    <a16:creationId xmlns:a16="http://schemas.microsoft.com/office/drawing/2014/main" id="{6351F604-E14E-4EAA-8210-CDBE88554A36}"/>
                  </a:ext>
                </a:extLst>
              </p:cNvPr>
              <p:cNvSpPr>
                <a:spLocks/>
              </p:cNvSpPr>
              <p:nvPr/>
            </p:nvSpPr>
            <p:spPr bwMode="hidden">
              <a:xfrm>
                <a:off x="4501" y="2317"/>
                <a:ext cx="1248" cy="539"/>
              </a:xfrm>
              <a:custGeom>
                <a:avLst/>
                <a:gdLst/>
                <a:ahLst/>
                <a:cxnLst>
                  <a:cxn ang="0">
                    <a:pos x="0" y="332"/>
                  </a:cxn>
                  <a:cxn ang="0">
                    <a:pos x="0" y="360"/>
                  </a:cxn>
                  <a:cxn ang="0">
                    <a:pos x="5" y="387"/>
                  </a:cxn>
                  <a:cxn ang="0">
                    <a:pos x="27" y="414"/>
                  </a:cxn>
                  <a:cxn ang="0">
                    <a:pos x="54" y="436"/>
                  </a:cxn>
                  <a:cxn ang="0">
                    <a:pos x="92" y="463"/>
                  </a:cxn>
                  <a:cxn ang="0">
                    <a:pos x="141" y="490"/>
                  </a:cxn>
                  <a:cxn ang="0">
                    <a:pos x="195" y="512"/>
                  </a:cxn>
                  <a:cxn ang="0">
                    <a:pos x="255" y="539"/>
                  </a:cxn>
                  <a:cxn ang="0">
                    <a:pos x="212" y="517"/>
                  </a:cxn>
                  <a:cxn ang="0">
                    <a:pos x="179" y="490"/>
                  </a:cxn>
                  <a:cxn ang="0">
                    <a:pos x="157" y="468"/>
                  </a:cxn>
                  <a:cxn ang="0">
                    <a:pos x="141" y="447"/>
                  </a:cxn>
                  <a:cxn ang="0">
                    <a:pos x="136" y="425"/>
                  </a:cxn>
                  <a:cxn ang="0">
                    <a:pos x="136" y="403"/>
                  </a:cxn>
                  <a:cxn ang="0">
                    <a:pos x="141" y="381"/>
                  </a:cxn>
                  <a:cxn ang="0">
                    <a:pos x="157" y="365"/>
                  </a:cxn>
                  <a:cxn ang="0">
                    <a:pos x="179" y="343"/>
                  </a:cxn>
                  <a:cxn ang="0">
                    <a:pos x="201" y="327"/>
                  </a:cxn>
                  <a:cxn ang="0">
                    <a:pos x="266" y="294"/>
                  </a:cxn>
                  <a:cxn ang="0">
                    <a:pos x="353" y="262"/>
                  </a:cxn>
                  <a:cxn ang="0">
                    <a:pos x="445" y="234"/>
                  </a:cxn>
                  <a:cxn ang="0">
                    <a:pos x="554" y="213"/>
                  </a:cxn>
                  <a:cxn ang="0">
                    <a:pos x="662" y="191"/>
                  </a:cxn>
                  <a:cxn ang="0">
                    <a:pos x="890" y="153"/>
                  </a:cxn>
                  <a:cxn ang="0">
                    <a:pos x="993" y="136"/>
                  </a:cxn>
                  <a:cxn ang="0">
                    <a:pos x="1091" y="120"/>
                  </a:cxn>
                  <a:cxn ang="0">
                    <a:pos x="1178" y="115"/>
                  </a:cxn>
                  <a:cxn ang="0">
                    <a:pos x="1248" y="104"/>
                  </a:cxn>
                  <a:cxn ang="0">
                    <a:pos x="1248" y="0"/>
                  </a:cxn>
                  <a:cxn ang="0">
                    <a:pos x="1161" y="22"/>
                  </a:cxn>
                  <a:cxn ang="0">
                    <a:pos x="1069" y="38"/>
                  </a:cxn>
                  <a:cxn ang="0">
                    <a:pos x="874" y="71"/>
                  </a:cxn>
                  <a:cxn ang="0">
                    <a:pos x="673" y="93"/>
                  </a:cxn>
                  <a:cxn ang="0">
                    <a:pos x="483" y="126"/>
                  </a:cxn>
                  <a:cxn ang="0">
                    <a:pos x="391" y="142"/>
                  </a:cxn>
                  <a:cxn ang="0">
                    <a:pos x="309" y="158"/>
                  </a:cxn>
                  <a:cxn ang="0">
                    <a:pos x="228" y="180"/>
                  </a:cxn>
                  <a:cxn ang="0">
                    <a:pos x="163" y="202"/>
                  </a:cxn>
                  <a:cxn ang="0">
                    <a:pos x="103" y="229"/>
                  </a:cxn>
                  <a:cxn ang="0">
                    <a:pos x="54" y="256"/>
                  </a:cxn>
                  <a:cxn ang="0">
                    <a:pos x="22" y="294"/>
                  </a:cxn>
                  <a:cxn ang="0">
                    <a:pos x="0" y="332"/>
                  </a:cxn>
                  <a:cxn ang="0">
                    <a:pos x="0" y="332"/>
                  </a:cxn>
                </a:cxnLst>
                <a:rect l="0" t="0" r="r" b="b"/>
                <a:pathLst>
                  <a:path w="1248" h="539">
                    <a:moveTo>
                      <a:pt x="0" y="332"/>
                    </a:moveTo>
                    <a:lnTo>
                      <a:pt x="0" y="360"/>
                    </a:lnTo>
                    <a:lnTo>
                      <a:pt x="5" y="387"/>
                    </a:lnTo>
                    <a:lnTo>
                      <a:pt x="27" y="414"/>
                    </a:lnTo>
                    <a:lnTo>
                      <a:pt x="54" y="436"/>
                    </a:lnTo>
                    <a:lnTo>
                      <a:pt x="92" y="463"/>
                    </a:lnTo>
                    <a:lnTo>
                      <a:pt x="141" y="490"/>
                    </a:lnTo>
                    <a:lnTo>
                      <a:pt x="195" y="512"/>
                    </a:lnTo>
                    <a:lnTo>
                      <a:pt x="255" y="539"/>
                    </a:lnTo>
                    <a:lnTo>
                      <a:pt x="212" y="517"/>
                    </a:lnTo>
                    <a:lnTo>
                      <a:pt x="179" y="490"/>
                    </a:lnTo>
                    <a:lnTo>
                      <a:pt x="157" y="468"/>
                    </a:lnTo>
                    <a:lnTo>
                      <a:pt x="141" y="447"/>
                    </a:lnTo>
                    <a:lnTo>
                      <a:pt x="136" y="425"/>
                    </a:lnTo>
                    <a:lnTo>
                      <a:pt x="136" y="403"/>
                    </a:lnTo>
                    <a:lnTo>
                      <a:pt x="141" y="381"/>
                    </a:lnTo>
                    <a:lnTo>
                      <a:pt x="157" y="365"/>
                    </a:lnTo>
                    <a:lnTo>
                      <a:pt x="179" y="343"/>
                    </a:lnTo>
                    <a:lnTo>
                      <a:pt x="201" y="327"/>
                    </a:lnTo>
                    <a:lnTo>
                      <a:pt x="266" y="294"/>
                    </a:lnTo>
                    <a:lnTo>
                      <a:pt x="353" y="262"/>
                    </a:lnTo>
                    <a:lnTo>
                      <a:pt x="445" y="234"/>
                    </a:lnTo>
                    <a:lnTo>
                      <a:pt x="554" y="213"/>
                    </a:lnTo>
                    <a:lnTo>
                      <a:pt x="662" y="191"/>
                    </a:lnTo>
                    <a:lnTo>
                      <a:pt x="890" y="153"/>
                    </a:lnTo>
                    <a:lnTo>
                      <a:pt x="993" y="136"/>
                    </a:lnTo>
                    <a:lnTo>
                      <a:pt x="1091" y="120"/>
                    </a:lnTo>
                    <a:lnTo>
                      <a:pt x="1178" y="115"/>
                    </a:lnTo>
                    <a:lnTo>
                      <a:pt x="1248" y="104"/>
                    </a:lnTo>
                    <a:lnTo>
                      <a:pt x="1248" y="0"/>
                    </a:lnTo>
                    <a:lnTo>
                      <a:pt x="1161" y="22"/>
                    </a:lnTo>
                    <a:lnTo>
                      <a:pt x="1069" y="38"/>
                    </a:lnTo>
                    <a:lnTo>
                      <a:pt x="874" y="71"/>
                    </a:lnTo>
                    <a:lnTo>
                      <a:pt x="673" y="93"/>
                    </a:lnTo>
                    <a:lnTo>
                      <a:pt x="483" y="126"/>
                    </a:lnTo>
                    <a:lnTo>
                      <a:pt x="391" y="142"/>
                    </a:lnTo>
                    <a:lnTo>
                      <a:pt x="309" y="158"/>
                    </a:lnTo>
                    <a:lnTo>
                      <a:pt x="228" y="180"/>
                    </a:lnTo>
                    <a:lnTo>
                      <a:pt x="163" y="202"/>
                    </a:lnTo>
                    <a:lnTo>
                      <a:pt x="103" y="229"/>
                    </a:lnTo>
                    <a:lnTo>
                      <a:pt x="54" y="256"/>
                    </a:lnTo>
                    <a:lnTo>
                      <a:pt x="22" y="294"/>
                    </a:lnTo>
                    <a:lnTo>
                      <a:pt x="0" y="332"/>
                    </a:lnTo>
                    <a:lnTo>
                      <a:pt x="0" y="332"/>
                    </a:lnTo>
                    <a:close/>
                  </a:path>
                </a:pathLst>
              </a:custGeom>
              <a:gradFill rotWithShape="0">
                <a:gsLst>
                  <a:gs pos="0">
                    <a:schemeClr val="bg1">
                      <a:gamma/>
                      <a:shade val="87843"/>
                      <a:invGamma/>
                    </a:schemeClr>
                  </a:gs>
                  <a:gs pos="100000">
                    <a:schemeClr val="bg1"/>
                  </a:gs>
                </a:gsLst>
                <a:lin ang="2700000" scaled="1"/>
              </a:gradFill>
              <a:ln w="9525">
                <a:noFill/>
                <a:round/>
                <a:headEnd/>
                <a:tailEnd/>
              </a:ln>
            </p:spPr>
            <p:txBody>
              <a:bodyPr/>
              <a:lstStyle/>
              <a:p>
                <a:pPr eaLnBrk="0" hangingPunct="0">
                  <a:defRPr/>
                </a:pPr>
                <a:endParaRPr lang="en-US" sz="1800">
                  <a:solidFill>
                    <a:srgbClr val="FFFFFF"/>
                  </a:solidFill>
                  <a:latin typeface="+mn-lt"/>
                  <a:cs typeface="+mn-cs"/>
                </a:endParaRPr>
              </a:p>
            </p:txBody>
          </p:sp>
        </p:grpSp>
        <p:sp>
          <p:nvSpPr>
            <p:cNvPr id="6" name="Freeform 11">
              <a:extLst>
                <a:ext uri="{FF2B5EF4-FFF2-40B4-BE49-F238E27FC236}">
                  <a16:creationId xmlns:a16="http://schemas.microsoft.com/office/drawing/2014/main" id="{F529DC3C-AB8D-4A36-8F71-BC420F189FD7}"/>
                </a:ext>
              </a:extLst>
            </p:cNvPr>
            <p:cNvSpPr>
              <a:spLocks/>
            </p:cNvSpPr>
            <p:nvPr/>
          </p:nvSpPr>
          <p:spPr bwMode="hidden">
            <a:xfrm>
              <a:off x="3322" y="1341"/>
              <a:ext cx="1825" cy="1537"/>
            </a:xfrm>
            <a:custGeom>
              <a:avLst/>
              <a:gdLst/>
              <a:ahLst/>
              <a:cxnLst>
                <a:cxn ang="0">
                  <a:pos x="982" y="1061"/>
                </a:cxn>
                <a:cxn ang="0">
                  <a:pos x="1357" y="1012"/>
                </a:cxn>
                <a:cxn ang="0">
                  <a:pos x="1666" y="957"/>
                </a:cxn>
                <a:cxn ang="0">
                  <a:pos x="1916" y="897"/>
                </a:cxn>
                <a:cxn ang="0">
                  <a:pos x="2100" y="832"/>
                </a:cxn>
                <a:cxn ang="0">
                  <a:pos x="2220" y="756"/>
                </a:cxn>
                <a:cxn ang="0">
                  <a:pos x="2285" y="669"/>
                </a:cxn>
                <a:cxn ang="0">
                  <a:pos x="2290" y="560"/>
                </a:cxn>
                <a:cxn ang="0">
                  <a:pos x="2241" y="457"/>
                </a:cxn>
                <a:cxn ang="0">
                  <a:pos x="2144" y="364"/>
                </a:cxn>
                <a:cxn ang="0">
                  <a:pos x="2008" y="277"/>
                </a:cxn>
                <a:cxn ang="0">
                  <a:pos x="1769" y="157"/>
                </a:cxn>
                <a:cxn ang="0">
                  <a:pos x="1612" y="92"/>
                </a:cxn>
                <a:cxn ang="0">
                  <a:pos x="1476" y="43"/>
                </a:cxn>
                <a:cxn ang="0">
                  <a:pos x="1384" y="10"/>
                </a:cxn>
                <a:cxn ang="0">
                  <a:pos x="1346" y="0"/>
                </a:cxn>
                <a:cxn ang="0">
                  <a:pos x="1655" y="119"/>
                </a:cxn>
                <a:cxn ang="0">
                  <a:pos x="1948" y="255"/>
                </a:cxn>
                <a:cxn ang="0">
                  <a:pos x="2068" y="326"/>
                </a:cxn>
                <a:cxn ang="0">
                  <a:pos x="2171" y="402"/>
                </a:cxn>
                <a:cxn ang="0">
                  <a:pos x="2236" y="478"/>
                </a:cxn>
                <a:cxn ang="0">
                  <a:pos x="2263" y="560"/>
                </a:cxn>
                <a:cxn ang="0">
                  <a:pos x="2241" y="636"/>
                </a:cxn>
                <a:cxn ang="0">
                  <a:pos x="2171" y="702"/>
                </a:cxn>
                <a:cxn ang="0">
                  <a:pos x="2062" y="756"/>
                </a:cxn>
                <a:cxn ang="0">
                  <a:pos x="1921" y="800"/>
                </a:cxn>
                <a:cxn ang="0">
                  <a:pos x="1748" y="843"/>
                </a:cxn>
                <a:cxn ang="0">
                  <a:pos x="1351" y="908"/>
                </a:cxn>
                <a:cxn ang="0">
                  <a:pos x="923" y="968"/>
                </a:cxn>
                <a:cxn ang="0">
                  <a:pos x="521" y="1028"/>
                </a:cxn>
                <a:cxn ang="0">
                  <a:pos x="353" y="1066"/>
                </a:cxn>
                <a:cxn ang="0">
                  <a:pos x="206" y="1104"/>
                </a:cxn>
                <a:cxn ang="0">
                  <a:pos x="92" y="1148"/>
                </a:cxn>
                <a:cxn ang="0">
                  <a:pos x="22" y="1202"/>
                </a:cxn>
                <a:cxn ang="0">
                  <a:pos x="0" y="1262"/>
                </a:cxn>
                <a:cxn ang="0">
                  <a:pos x="27" y="1327"/>
                </a:cxn>
                <a:cxn ang="0">
                  <a:pos x="98" y="1382"/>
                </a:cxn>
                <a:cxn ang="0">
                  <a:pos x="196" y="1425"/>
                </a:cxn>
                <a:cxn ang="0">
                  <a:pos x="326" y="1469"/>
                </a:cxn>
                <a:cxn ang="0">
                  <a:pos x="217" y="1414"/>
                </a:cxn>
                <a:cxn ang="0">
                  <a:pos x="147" y="1360"/>
                </a:cxn>
                <a:cxn ang="0">
                  <a:pos x="120" y="1306"/>
                </a:cxn>
                <a:cxn ang="0">
                  <a:pos x="141" y="1257"/>
                </a:cxn>
                <a:cxn ang="0">
                  <a:pos x="212" y="1208"/>
                </a:cxn>
                <a:cxn ang="0">
                  <a:pos x="342" y="1164"/>
                </a:cxn>
                <a:cxn ang="0">
                  <a:pos x="527" y="1121"/>
                </a:cxn>
                <a:cxn ang="0">
                  <a:pos x="771" y="1088"/>
                </a:cxn>
              </a:cxnLst>
              <a:rect l="0" t="0" r="r" b="b"/>
              <a:pathLst>
                <a:path w="2296" h="1469">
                  <a:moveTo>
                    <a:pt x="771" y="1088"/>
                  </a:moveTo>
                  <a:lnTo>
                    <a:pt x="982" y="1061"/>
                  </a:lnTo>
                  <a:lnTo>
                    <a:pt x="1178" y="1034"/>
                  </a:lnTo>
                  <a:lnTo>
                    <a:pt x="1357" y="1012"/>
                  </a:lnTo>
                  <a:lnTo>
                    <a:pt x="1520" y="985"/>
                  </a:lnTo>
                  <a:lnTo>
                    <a:pt x="1666" y="957"/>
                  </a:lnTo>
                  <a:lnTo>
                    <a:pt x="1796" y="930"/>
                  </a:lnTo>
                  <a:lnTo>
                    <a:pt x="1916" y="897"/>
                  </a:lnTo>
                  <a:lnTo>
                    <a:pt x="2013" y="870"/>
                  </a:lnTo>
                  <a:lnTo>
                    <a:pt x="2100" y="832"/>
                  </a:lnTo>
                  <a:lnTo>
                    <a:pt x="2171" y="800"/>
                  </a:lnTo>
                  <a:lnTo>
                    <a:pt x="2220" y="756"/>
                  </a:lnTo>
                  <a:lnTo>
                    <a:pt x="2263" y="712"/>
                  </a:lnTo>
                  <a:lnTo>
                    <a:pt x="2285" y="669"/>
                  </a:lnTo>
                  <a:lnTo>
                    <a:pt x="2296" y="614"/>
                  </a:lnTo>
                  <a:lnTo>
                    <a:pt x="2290" y="560"/>
                  </a:lnTo>
                  <a:lnTo>
                    <a:pt x="2269" y="500"/>
                  </a:lnTo>
                  <a:lnTo>
                    <a:pt x="2241" y="457"/>
                  </a:lnTo>
                  <a:lnTo>
                    <a:pt x="2198" y="408"/>
                  </a:lnTo>
                  <a:lnTo>
                    <a:pt x="2144" y="364"/>
                  </a:lnTo>
                  <a:lnTo>
                    <a:pt x="2079" y="321"/>
                  </a:lnTo>
                  <a:lnTo>
                    <a:pt x="2008" y="277"/>
                  </a:lnTo>
                  <a:lnTo>
                    <a:pt x="1927" y="234"/>
                  </a:lnTo>
                  <a:lnTo>
                    <a:pt x="1769" y="157"/>
                  </a:lnTo>
                  <a:lnTo>
                    <a:pt x="1688" y="125"/>
                  </a:lnTo>
                  <a:lnTo>
                    <a:pt x="1612" y="92"/>
                  </a:lnTo>
                  <a:lnTo>
                    <a:pt x="1536" y="65"/>
                  </a:lnTo>
                  <a:lnTo>
                    <a:pt x="1476" y="43"/>
                  </a:lnTo>
                  <a:lnTo>
                    <a:pt x="1422" y="27"/>
                  </a:lnTo>
                  <a:lnTo>
                    <a:pt x="1384" y="10"/>
                  </a:lnTo>
                  <a:lnTo>
                    <a:pt x="1357" y="5"/>
                  </a:lnTo>
                  <a:lnTo>
                    <a:pt x="1346" y="0"/>
                  </a:lnTo>
                  <a:lnTo>
                    <a:pt x="1498" y="54"/>
                  </a:lnTo>
                  <a:lnTo>
                    <a:pt x="1655" y="119"/>
                  </a:lnTo>
                  <a:lnTo>
                    <a:pt x="1807" y="185"/>
                  </a:lnTo>
                  <a:lnTo>
                    <a:pt x="1948" y="255"/>
                  </a:lnTo>
                  <a:lnTo>
                    <a:pt x="2013" y="288"/>
                  </a:lnTo>
                  <a:lnTo>
                    <a:pt x="2068" y="326"/>
                  </a:lnTo>
                  <a:lnTo>
                    <a:pt x="2122" y="364"/>
                  </a:lnTo>
                  <a:lnTo>
                    <a:pt x="2171" y="402"/>
                  </a:lnTo>
                  <a:lnTo>
                    <a:pt x="2209" y="440"/>
                  </a:lnTo>
                  <a:lnTo>
                    <a:pt x="2236" y="478"/>
                  </a:lnTo>
                  <a:lnTo>
                    <a:pt x="2252" y="522"/>
                  </a:lnTo>
                  <a:lnTo>
                    <a:pt x="2263" y="560"/>
                  </a:lnTo>
                  <a:lnTo>
                    <a:pt x="2258" y="598"/>
                  </a:lnTo>
                  <a:lnTo>
                    <a:pt x="2241" y="636"/>
                  </a:lnTo>
                  <a:lnTo>
                    <a:pt x="2214" y="669"/>
                  </a:lnTo>
                  <a:lnTo>
                    <a:pt x="2171" y="702"/>
                  </a:lnTo>
                  <a:lnTo>
                    <a:pt x="2122" y="729"/>
                  </a:lnTo>
                  <a:lnTo>
                    <a:pt x="2062" y="756"/>
                  </a:lnTo>
                  <a:lnTo>
                    <a:pt x="1997" y="778"/>
                  </a:lnTo>
                  <a:lnTo>
                    <a:pt x="1921" y="800"/>
                  </a:lnTo>
                  <a:lnTo>
                    <a:pt x="1834" y="821"/>
                  </a:lnTo>
                  <a:lnTo>
                    <a:pt x="1748" y="843"/>
                  </a:lnTo>
                  <a:lnTo>
                    <a:pt x="1552" y="876"/>
                  </a:lnTo>
                  <a:lnTo>
                    <a:pt x="1351" y="908"/>
                  </a:lnTo>
                  <a:lnTo>
                    <a:pt x="1134" y="941"/>
                  </a:lnTo>
                  <a:lnTo>
                    <a:pt x="923" y="968"/>
                  </a:lnTo>
                  <a:lnTo>
                    <a:pt x="716" y="995"/>
                  </a:lnTo>
                  <a:lnTo>
                    <a:pt x="521" y="1028"/>
                  </a:lnTo>
                  <a:lnTo>
                    <a:pt x="434" y="1044"/>
                  </a:lnTo>
                  <a:lnTo>
                    <a:pt x="353" y="1066"/>
                  </a:lnTo>
                  <a:lnTo>
                    <a:pt x="277" y="1082"/>
                  </a:lnTo>
                  <a:lnTo>
                    <a:pt x="206" y="1104"/>
                  </a:lnTo>
                  <a:lnTo>
                    <a:pt x="147" y="1126"/>
                  </a:lnTo>
                  <a:lnTo>
                    <a:pt x="92" y="1148"/>
                  </a:lnTo>
                  <a:lnTo>
                    <a:pt x="54" y="1175"/>
                  </a:lnTo>
                  <a:lnTo>
                    <a:pt x="22" y="1202"/>
                  </a:lnTo>
                  <a:lnTo>
                    <a:pt x="6" y="1229"/>
                  </a:lnTo>
                  <a:lnTo>
                    <a:pt x="0" y="1262"/>
                  </a:lnTo>
                  <a:lnTo>
                    <a:pt x="11" y="1295"/>
                  </a:lnTo>
                  <a:lnTo>
                    <a:pt x="27" y="1327"/>
                  </a:lnTo>
                  <a:lnTo>
                    <a:pt x="54" y="1355"/>
                  </a:lnTo>
                  <a:lnTo>
                    <a:pt x="98" y="1382"/>
                  </a:lnTo>
                  <a:lnTo>
                    <a:pt x="141" y="1404"/>
                  </a:lnTo>
                  <a:lnTo>
                    <a:pt x="196" y="1425"/>
                  </a:lnTo>
                  <a:lnTo>
                    <a:pt x="261" y="1447"/>
                  </a:lnTo>
                  <a:lnTo>
                    <a:pt x="326" y="1469"/>
                  </a:lnTo>
                  <a:lnTo>
                    <a:pt x="266" y="1442"/>
                  </a:lnTo>
                  <a:lnTo>
                    <a:pt x="217" y="1414"/>
                  </a:lnTo>
                  <a:lnTo>
                    <a:pt x="174" y="1387"/>
                  </a:lnTo>
                  <a:lnTo>
                    <a:pt x="147" y="1360"/>
                  </a:lnTo>
                  <a:lnTo>
                    <a:pt x="125" y="1333"/>
                  </a:lnTo>
                  <a:lnTo>
                    <a:pt x="120" y="1306"/>
                  </a:lnTo>
                  <a:lnTo>
                    <a:pt x="125" y="1278"/>
                  </a:lnTo>
                  <a:lnTo>
                    <a:pt x="141" y="1257"/>
                  </a:lnTo>
                  <a:lnTo>
                    <a:pt x="174" y="1229"/>
                  </a:lnTo>
                  <a:lnTo>
                    <a:pt x="212" y="1208"/>
                  </a:lnTo>
                  <a:lnTo>
                    <a:pt x="272" y="1186"/>
                  </a:lnTo>
                  <a:lnTo>
                    <a:pt x="342" y="1164"/>
                  </a:lnTo>
                  <a:lnTo>
                    <a:pt x="423" y="1142"/>
                  </a:lnTo>
                  <a:lnTo>
                    <a:pt x="527" y="1121"/>
                  </a:lnTo>
                  <a:lnTo>
                    <a:pt x="641" y="1104"/>
                  </a:lnTo>
                  <a:lnTo>
                    <a:pt x="771" y="1088"/>
                  </a:lnTo>
                  <a:lnTo>
                    <a:pt x="771" y="1088"/>
                  </a:lnTo>
                  <a:close/>
                </a:path>
              </a:pathLst>
            </a:custGeom>
            <a:gradFill rotWithShape="0">
              <a:gsLst>
                <a:gs pos="0">
                  <a:schemeClr val="bg1">
                    <a:gamma/>
                    <a:shade val="84706"/>
                    <a:invGamma/>
                  </a:schemeClr>
                </a:gs>
                <a:gs pos="100000">
                  <a:schemeClr val="bg1"/>
                </a:gs>
              </a:gsLst>
              <a:lin ang="2700000" scaled="1"/>
            </a:gradFill>
            <a:ln w="9525">
              <a:noFill/>
              <a:round/>
              <a:headEnd/>
              <a:tailEnd/>
            </a:ln>
          </p:spPr>
          <p:txBody>
            <a:bodyPr/>
            <a:lstStyle/>
            <a:p>
              <a:pPr eaLnBrk="0" hangingPunct="0">
                <a:defRPr/>
              </a:pPr>
              <a:endParaRPr lang="en-US" sz="1800">
                <a:solidFill>
                  <a:srgbClr val="FFFFFF"/>
                </a:solidFill>
                <a:latin typeface="+mn-lt"/>
                <a:cs typeface="+mn-cs"/>
              </a:endParaRPr>
            </a:p>
          </p:txBody>
        </p:sp>
        <p:sp>
          <p:nvSpPr>
            <p:cNvPr id="7" name="Freeform 12">
              <a:extLst>
                <a:ext uri="{FF2B5EF4-FFF2-40B4-BE49-F238E27FC236}">
                  <a16:creationId xmlns:a16="http://schemas.microsoft.com/office/drawing/2014/main" id="{EC5EBD32-E7A0-48F9-A1D4-0D260C724BFD}"/>
                </a:ext>
              </a:extLst>
            </p:cNvPr>
            <p:cNvSpPr>
              <a:spLocks/>
            </p:cNvSpPr>
            <p:nvPr/>
          </p:nvSpPr>
          <p:spPr bwMode="hidden">
            <a:xfrm>
              <a:off x="0" y="0"/>
              <a:ext cx="5758" cy="1776"/>
            </a:xfrm>
            <a:custGeom>
              <a:avLst/>
              <a:gdLst>
                <a:gd name="T0" fmla="*/ 0 w 5740"/>
                <a:gd name="T1" fmla="*/ 0 h 1906"/>
                <a:gd name="T2" fmla="*/ 0 w 5740"/>
                <a:gd name="T3" fmla="*/ 1906 h 1906"/>
                <a:gd name="T4" fmla="*/ 5740 w 5740"/>
                <a:gd name="T5" fmla="*/ 1906 h 1906"/>
                <a:gd name="T6" fmla="*/ 5740 w 5740"/>
                <a:gd name="T7" fmla="*/ 0 h 1906"/>
                <a:gd name="T8" fmla="*/ 0 w 5740"/>
                <a:gd name="T9" fmla="*/ 0 h 1906"/>
                <a:gd name="T10" fmla="*/ 0 w 5740"/>
                <a:gd name="T11" fmla="*/ 0 h 190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5740" h="1906">
                  <a:moveTo>
                    <a:pt x="0" y="0"/>
                  </a:moveTo>
                  <a:lnTo>
                    <a:pt x="0" y="1906"/>
                  </a:lnTo>
                  <a:lnTo>
                    <a:pt x="5740" y="1906"/>
                  </a:lnTo>
                  <a:lnTo>
                    <a:pt x="5740" y="0"/>
                  </a:lnTo>
                  <a:lnTo>
                    <a:pt x="0" y="0"/>
                  </a:lnTo>
                  <a:close/>
                </a:path>
              </a:pathLst>
            </a:custGeom>
            <a:gradFill rotWithShape="0">
              <a:gsLst>
                <a:gs pos="0">
                  <a:schemeClr val="bg2"/>
                </a:gs>
                <a:gs pos="100000">
                  <a:schemeClr val="bg1"/>
                </a:gs>
              </a:gsLst>
              <a:lin ang="54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800"/>
            </a:p>
          </p:txBody>
        </p:sp>
      </p:grpSp>
      <p:sp>
        <p:nvSpPr>
          <p:cNvPr id="14" name="Text Box 16">
            <a:extLst>
              <a:ext uri="{FF2B5EF4-FFF2-40B4-BE49-F238E27FC236}">
                <a16:creationId xmlns:a16="http://schemas.microsoft.com/office/drawing/2014/main" id="{E5B7A35D-32F4-43B1-BD83-5115A593CA07}"/>
              </a:ext>
            </a:extLst>
          </p:cNvPr>
          <p:cNvSpPr txBox="1">
            <a:spLocks noChangeArrowheads="1"/>
          </p:cNvSpPr>
          <p:nvPr/>
        </p:nvSpPr>
        <p:spPr bwMode="auto">
          <a:xfrm>
            <a:off x="11074400" y="304801"/>
            <a:ext cx="711200"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Perpetua" panose="02020502060401020303" pitchFamily="18" charset="0"/>
              </a:defRPr>
            </a:lvl1pPr>
            <a:lvl2pPr marL="742950" indent="-285750">
              <a:defRPr>
                <a:solidFill>
                  <a:schemeClr val="tx1"/>
                </a:solidFill>
                <a:latin typeface="Perpetua" panose="02020502060401020303" pitchFamily="18" charset="0"/>
              </a:defRPr>
            </a:lvl2pPr>
            <a:lvl3pPr marL="1143000" indent="-228600">
              <a:defRPr>
                <a:solidFill>
                  <a:schemeClr val="tx1"/>
                </a:solidFill>
                <a:latin typeface="Perpetua" panose="02020502060401020303" pitchFamily="18" charset="0"/>
              </a:defRPr>
            </a:lvl3pPr>
            <a:lvl4pPr marL="1600200" indent="-228600">
              <a:defRPr>
                <a:solidFill>
                  <a:schemeClr val="tx1"/>
                </a:solidFill>
                <a:latin typeface="Perpetua" panose="02020502060401020303" pitchFamily="18" charset="0"/>
              </a:defRPr>
            </a:lvl4pPr>
            <a:lvl5pPr marL="2057400" indent="-228600">
              <a:defRPr>
                <a:solidFill>
                  <a:schemeClr val="tx1"/>
                </a:solidFill>
                <a:latin typeface="Perpetua" panose="02020502060401020303" pitchFamily="18" charset="0"/>
              </a:defRPr>
            </a:lvl5pPr>
            <a:lvl6pPr marL="2514600" indent="-228600" fontAlgn="base">
              <a:spcBef>
                <a:spcPct val="0"/>
              </a:spcBef>
              <a:spcAft>
                <a:spcPct val="0"/>
              </a:spcAft>
              <a:defRPr>
                <a:solidFill>
                  <a:schemeClr val="tx1"/>
                </a:solidFill>
                <a:latin typeface="Perpetua" panose="02020502060401020303" pitchFamily="18" charset="0"/>
              </a:defRPr>
            </a:lvl6pPr>
            <a:lvl7pPr marL="2971800" indent="-228600" fontAlgn="base">
              <a:spcBef>
                <a:spcPct val="0"/>
              </a:spcBef>
              <a:spcAft>
                <a:spcPct val="0"/>
              </a:spcAft>
              <a:defRPr>
                <a:solidFill>
                  <a:schemeClr val="tx1"/>
                </a:solidFill>
                <a:latin typeface="Perpetua" panose="02020502060401020303" pitchFamily="18" charset="0"/>
              </a:defRPr>
            </a:lvl7pPr>
            <a:lvl8pPr marL="3429000" indent="-228600" fontAlgn="base">
              <a:spcBef>
                <a:spcPct val="0"/>
              </a:spcBef>
              <a:spcAft>
                <a:spcPct val="0"/>
              </a:spcAft>
              <a:defRPr>
                <a:solidFill>
                  <a:schemeClr val="tx1"/>
                </a:solidFill>
                <a:latin typeface="Perpetua" panose="02020502060401020303" pitchFamily="18" charset="0"/>
              </a:defRPr>
            </a:lvl8pPr>
            <a:lvl9pPr marL="3886200" indent="-228600" fontAlgn="base">
              <a:spcBef>
                <a:spcPct val="0"/>
              </a:spcBef>
              <a:spcAft>
                <a:spcPct val="0"/>
              </a:spcAft>
              <a:defRPr>
                <a:solidFill>
                  <a:schemeClr val="tx1"/>
                </a:solidFill>
                <a:latin typeface="Perpetua" panose="02020502060401020303" pitchFamily="18" charset="0"/>
              </a:defRPr>
            </a:lvl9pPr>
          </a:lstStyle>
          <a:p>
            <a:pPr eaLnBrk="0" hangingPunct="0">
              <a:spcBef>
                <a:spcPct val="50000"/>
              </a:spcBef>
            </a:pPr>
            <a:endParaRPr lang="en-US" altLang="en-US" sz="1800">
              <a:solidFill>
                <a:srgbClr val="FFFFFF"/>
              </a:solidFill>
            </a:endParaRPr>
          </a:p>
        </p:txBody>
      </p:sp>
      <p:sp>
        <p:nvSpPr>
          <p:cNvPr id="15" name="Text Box 17">
            <a:extLst>
              <a:ext uri="{FF2B5EF4-FFF2-40B4-BE49-F238E27FC236}">
                <a16:creationId xmlns:a16="http://schemas.microsoft.com/office/drawing/2014/main" id="{9DF2018C-C41D-4A8D-BC12-CD9BF05237FF}"/>
              </a:ext>
            </a:extLst>
          </p:cNvPr>
          <p:cNvSpPr txBox="1">
            <a:spLocks noChangeArrowheads="1"/>
          </p:cNvSpPr>
          <p:nvPr/>
        </p:nvSpPr>
        <p:spPr bwMode="auto">
          <a:xfrm>
            <a:off x="11582400" y="228600"/>
            <a:ext cx="609600"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Perpetua" panose="02020502060401020303" pitchFamily="18" charset="0"/>
              </a:defRPr>
            </a:lvl1pPr>
            <a:lvl2pPr marL="742950" indent="-285750">
              <a:defRPr>
                <a:solidFill>
                  <a:schemeClr val="tx1"/>
                </a:solidFill>
                <a:latin typeface="Perpetua" panose="02020502060401020303" pitchFamily="18" charset="0"/>
              </a:defRPr>
            </a:lvl2pPr>
            <a:lvl3pPr marL="1143000" indent="-228600">
              <a:defRPr>
                <a:solidFill>
                  <a:schemeClr val="tx1"/>
                </a:solidFill>
                <a:latin typeface="Perpetua" panose="02020502060401020303" pitchFamily="18" charset="0"/>
              </a:defRPr>
            </a:lvl3pPr>
            <a:lvl4pPr marL="1600200" indent="-228600">
              <a:defRPr>
                <a:solidFill>
                  <a:schemeClr val="tx1"/>
                </a:solidFill>
                <a:latin typeface="Perpetua" panose="02020502060401020303" pitchFamily="18" charset="0"/>
              </a:defRPr>
            </a:lvl4pPr>
            <a:lvl5pPr marL="2057400" indent="-228600">
              <a:defRPr>
                <a:solidFill>
                  <a:schemeClr val="tx1"/>
                </a:solidFill>
                <a:latin typeface="Perpetua" panose="02020502060401020303" pitchFamily="18" charset="0"/>
              </a:defRPr>
            </a:lvl5pPr>
            <a:lvl6pPr marL="2514600" indent="-228600" fontAlgn="base">
              <a:spcBef>
                <a:spcPct val="0"/>
              </a:spcBef>
              <a:spcAft>
                <a:spcPct val="0"/>
              </a:spcAft>
              <a:defRPr>
                <a:solidFill>
                  <a:schemeClr val="tx1"/>
                </a:solidFill>
                <a:latin typeface="Perpetua" panose="02020502060401020303" pitchFamily="18" charset="0"/>
              </a:defRPr>
            </a:lvl6pPr>
            <a:lvl7pPr marL="2971800" indent="-228600" fontAlgn="base">
              <a:spcBef>
                <a:spcPct val="0"/>
              </a:spcBef>
              <a:spcAft>
                <a:spcPct val="0"/>
              </a:spcAft>
              <a:defRPr>
                <a:solidFill>
                  <a:schemeClr val="tx1"/>
                </a:solidFill>
                <a:latin typeface="Perpetua" panose="02020502060401020303" pitchFamily="18" charset="0"/>
              </a:defRPr>
            </a:lvl7pPr>
            <a:lvl8pPr marL="3429000" indent="-228600" fontAlgn="base">
              <a:spcBef>
                <a:spcPct val="0"/>
              </a:spcBef>
              <a:spcAft>
                <a:spcPct val="0"/>
              </a:spcAft>
              <a:defRPr>
                <a:solidFill>
                  <a:schemeClr val="tx1"/>
                </a:solidFill>
                <a:latin typeface="Perpetua" panose="02020502060401020303" pitchFamily="18" charset="0"/>
              </a:defRPr>
            </a:lvl8pPr>
            <a:lvl9pPr marL="3886200" indent="-228600" fontAlgn="base">
              <a:spcBef>
                <a:spcPct val="0"/>
              </a:spcBef>
              <a:spcAft>
                <a:spcPct val="0"/>
              </a:spcAft>
              <a:defRPr>
                <a:solidFill>
                  <a:schemeClr val="tx1"/>
                </a:solidFill>
                <a:latin typeface="Perpetua" panose="02020502060401020303" pitchFamily="18" charset="0"/>
              </a:defRPr>
            </a:lvl9pPr>
          </a:lstStyle>
          <a:p>
            <a:pPr eaLnBrk="0" hangingPunct="0">
              <a:spcBef>
                <a:spcPct val="50000"/>
              </a:spcBef>
            </a:pPr>
            <a:fld id="{79B88AEA-D326-4EE3-BCA2-D25F91DDE5B8}" type="slidenum">
              <a:rPr lang="en-US" altLang="en-US" sz="1800">
                <a:solidFill>
                  <a:srgbClr val="FFFFFF"/>
                </a:solidFill>
              </a:rPr>
              <a:pPr eaLnBrk="0" hangingPunct="0">
                <a:spcBef>
                  <a:spcPct val="50000"/>
                </a:spcBef>
              </a:pPr>
              <a:t>‹#›</a:t>
            </a:fld>
            <a:endParaRPr lang="en-US" altLang="en-US" sz="1800">
              <a:solidFill>
                <a:srgbClr val="FFFFFF"/>
              </a:solidFill>
            </a:endParaRPr>
          </a:p>
        </p:txBody>
      </p:sp>
      <p:graphicFrame>
        <p:nvGraphicFramePr>
          <p:cNvPr id="16" name="Object 18">
            <a:extLst>
              <a:ext uri="{FF2B5EF4-FFF2-40B4-BE49-F238E27FC236}">
                <a16:creationId xmlns:a16="http://schemas.microsoft.com/office/drawing/2014/main" id="{ED6251D1-DAF0-4C6C-A0D8-43CEF3CF7E05}"/>
              </a:ext>
            </a:extLst>
          </p:cNvPr>
          <p:cNvGraphicFramePr>
            <a:graphicFrameLocks noChangeAspect="1"/>
          </p:cNvGraphicFramePr>
          <p:nvPr/>
        </p:nvGraphicFramePr>
        <p:xfrm>
          <a:off x="9652000" y="5918200"/>
          <a:ext cx="2540000" cy="939800"/>
        </p:xfrm>
        <a:graphic>
          <a:graphicData uri="http://schemas.openxmlformats.org/presentationml/2006/ole">
            <mc:AlternateContent xmlns:mc="http://schemas.openxmlformats.org/markup-compatibility/2006">
              <mc:Choice xmlns:v="urn:schemas-microsoft-com:vml" Requires="v">
                <p:oleObj spid="_x0000_s1028" name="Bitmap Image" r:id="rId4" imgW="2142857" imgH="1057423" progId="Paint.Picture">
                  <p:embed/>
                </p:oleObj>
              </mc:Choice>
              <mc:Fallback>
                <p:oleObj name="Bitmap Image" r:id="rId4" imgW="2142857" imgH="1057423" progId="Paint.Picture">
                  <p:embed/>
                  <p:pic>
                    <p:nvPicPr>
                      <p:cNvPr id="16" name="Object 18">
                        <a:extLst>
                          <a:ext uri="{FF2B5EF4-FFF2-40B4-BE49-F238E27FC236}">
                            <a16:creationId xmlns:a16="http://schemas.microsoft.com/office/drawing/2014/main" id="{ED6251D1-DAF0-4C6C-A0D8-43CEF3CF7E0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652000" y="5918200"/>
                        <a:ext cx="2540000" cy="939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aphicFrame>
        <p:nvGraphicFramePr>
          <p:cNvPr id="17" name="Object 2">
            <a:extLst>
              <a:ext uri="{FF2B5EF4-FFF2-40B4-BE49-F238E27FC236}">
                <a16:creationId xmlns:a16="http://schemas.microsoft.com/office/drawing/2014/main" id="{DC664330-F86E-4691-9557-98A096B51DEF}"/>
              </a:ext>
            </a:extLst>
          </p:cNvPr>
          <p:cNvGraphicFramePr>
            <a:graphicFrameLocks noChangeAspect="1"/>
          </p:cNvGraphicFramePr>
          <p:nvPr>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029" name="think-cell Slide" r:id="rId6" imgW="360" imgH="360" progId="">
                  <p:embed/>
                </p:oleObj>
              </mc:Choice>
              <mc:Fallback>
                <p:oleObj name="think-cell Slide" r:id="rId6" imgW="360" imgH="360" progId="">
                  <p:embed/>
                  <p:pic>
                    <p:nvPicPr>
                      <p:cNvPr id="17" name="Object 2">
                        <a:extLst>
                          <a:ext uri="{FF2B5EF4-FFF2-40B4-BE49-F238E27FC236}">
                            <a16:creationId xmlns:a16="http://schemas.microsoft.com/office/drawing/2014/main" id="{DC664330-F86E-4691-9557-98A096B51DEF}"/>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8" name="Flowchart: Process 17">
            <a:extLst>
              <a:ext uri="{FF2B5EF4-FFF2-40B4-BE49-F238E27FC236}">
                <a16:creationId xmlns:a16="http://schemas.microsoft.com/office/drawing/2014/main" id="{6C31B6A4-50F3-40F4-B08E-F0B1875ACE9B}"/>
              </a:ext>
            </a:extLst>
          </p:cNvPr>
          <p:cNvSpPr/>
          <p:nvPr userDrawn="1"/>
        </p:nvSpPr>
        <p:spPr>
          <a:xfrm>
            <a:off x="334433" y="908050"/>
            <a:ext cx="3744384" cy="46038"/>
          </a:xfrm>
          <a:prstGeom prst="flowChartProcess">
            <a:avLst/>
          </a:prstGeom>
          <a:solidFill>
            <a:srgbClr val="9B9B9B"/>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GB" sz="1800">
              <a:solidFill>
                <a:srgbClr val="FFFFFF"/>
              </a:solidFill>
            </a:endParaRPr>
          </a:p>
        </p:txBody>
      </p:sp>
      <p:sp>
        <p:nvSpPr>
          <p:cNvPr id="19" name="Flowchart: Process 18">
            <a:extLst>
              <a:ext uri="{FF2B5EF4-FFF2-40B4-BE49-F238E27FC236}">
                <a16:creationId xmlns:a16="http://schemas.microsoft.com/office/drawing/2014/main" id="{921DA94A-D855-469E-8060-1F43FCCE196C}"/>
              </a:ext>
            </a:extLst>
          </p:cNvPr>
          <p:cNvSpPr/>
          <p:nvPr userDrawn="1"/>
        </p:nvSpPr>
        <p:spPr>
          <a:xfrm>
            <a:off x="3467100" y="908050"/>
            <a:ext cx="2271184" cy="46038"/>
          </a:xfrm>
          <a:prstGeom prst="flowChartProcess">
            <a:avLst/>
          </a:prstGeom>
          <a:solidFill>
            <a:srgbClr val="BDBDBD"/>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GB" sz="1800">
              <a:solidFill>
                <a:srgbClr val="FFFFFF"/>
              </a:solidFill>
            </a:endParaRPr>
          </a:p>
        </p:txBody>
      </p:sp>
      <p:sp>
        <p:nvSpPr>
          <p:cNvPr id="20" name="Flowchart: Process 19">
            <a:extLst>
              <a:ext uri="{FF2B5EF4-FFF2-40B4-BE49-F238E27FC236}">
                <a16:creationId xmlns:a16="http://schemas.microsoft.com/office/drawing/2014/main" id="{E3AE0E8D-0392-4E19-8E31-BB7E35A5D7DF}"/>
              </a:ext>
            </a:extLst>
          </p:cNvPr>
          <p:cNvSpPr/>
          <p:nvPr userDrawn="1"/>
        </p:nvSpPr>
        <p:spPr>
          <a:xfrm>
            <a:off x="5738285" y="908050"/>
            <a:ext cx="2271183" cy="46038"/>
          </a:xfrm>
          <a:prstGeom prst="flowChartProcess">
            <a:avLst/>
          </a:prstGeom>
          <a:solidFill>
            <a:srgbClr val="DEDED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GB" sz="1800">
              <a:solidFill>
                <a:srgbClr val="FFFFFF"/>
              </a:solidFill>
            </a:endParaRPr>
          </a:p>
        </p:txBody>
      </p:sp>
      <p:sp>
        <p:nvSpPr>
          <p:cNvPr id="21" name="TextBox 29">
            <a:extLst>
              <a:ext uri="{FF2B5EF4-FFF2-40B4-BE49-F238E27FC236}">
                <a16:creationId xmlns:a16="http://schemas.microsoft.com/office/drawing/2014/main" id="{D4DF3043-CEDC-4450-BC74-C382FFB9E5FD}"/>
              </a:ext>
            </a:extLst>
          </p:cNvPr>
          <p:cNvSpPr txBox="1">
            <a:spLocks noChangeArrowheads="1"/>
          </p:cNvSpPr>
          <p:nvPr userDrawn="1"/>
        </p:nvSpPr>
        <p:spPr bwMode="auto">
          <a:xfrm>
            <a:off x="508001" y="6438900"/>
            <a:ext cx="673100" cy="306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Perpetua" panose="02020502060401020303" pitchFamily="18" charset="0"/>
              </a:defRPr>
            </a:lvl1pPr>
            <a:lvl2pPr marL="742950" indent="-285750">
              <a:defRPr>
                <a:solidFill>
                  <a:schemeClr val="tx1"/>
                </a:solidFill>
                <a:latin typeface="Perpetua" panose="02020502060401020303" pitchFamily="18" charset="0"/>
              </a:defRPr>
            </a:lvl2pPr>
            <a:lvl3pPr marL="1143000" indent="-228600">
              <a:defRPr>
                <a:solidFill>
                  <a:schemeClr val="tx1"/>
                </a:solidFill>
                <a:latin typeface="Perpetua" panose="02020502060401020303" pitchFamily="18" charset="0"/>
              </a:defRPr>
            </a:lvl3pPr>
            <a:lvl4pPr marL="1600200" indent="-228600">
              <a:defRPr>
                <a:solidFill>
                  <a:schemeClr val="tx1"/>
                </a:solidFill>
                <a:latin typeface="Perpetua" panose="02020502060401020303" pitchFamily="18" charset="0"/>
              </a:defRPr>
            </a:lvl4pPr>
            <a:lvl5pPr marL="2057400" indent="-228600">
              <a:defRPr>
                <a:solidFill>
                  <a:schemeClr val="tx1"/>
                </a:solidFill>
                <a:latin typeface="Perpetua" panose="02020502060401020303" pitchFamily="18" charset="0"/>
              </a:defRPr>
            </a:lvl5pPr>
            <a:lvl6pPr marL="2514600" indent="-228600" fontAlgn="base">
              <a:spcBef>
                <a:spcPct val="0"/>
              </a:spcBef>
              <a:spcAft>
                <a:spcPct val="0"/>
              </a:spcAft>
              <a:defRPr>
                <a:solidFill>
                  <a:schemeClr val="tx1"/>
                </a:solidFill>
                <a:latin typeface="Perpetua" panose="02020502060401020303" pitchFamily="18" charset="0"/>
              </a:defRPr>
            </a:lvl6pPr>
            <a:lvl7pPr marL="2971800" indent="-228600" fontAlgn="base">
              <a:spcBef>
                <a:spcPct val="0"/>
              </a:spcBef>
              <a:spcAft>
                <a:spcPct val="0"/>
              </a:spcAft>
              <a:defRPr>
                <a:solidFill>
                  <a:schemeClr val="tx1"/>
                </a:solidFill>
                <a:latin typeface="Perpetua" panose="02020502060401020303" pitchFamily="18" charset="0"/>
              </a:defRPr>
            </a:lvl7pPr>
            <a:lvl8pPr marL="3429000" indent="-228600" fontAlgn="base">
              <a:spcBef>
                <a:spcPct val="0"/>
              </a:spcBef>
              <a:spcAft>
                <a:spcPct val="0"/>
              </a:spcAft>
              <a:defRPr>
                <a:solidFill>
                  <a:schemeClr val="tx1"/>
                </a:solidFill>
                <a:latin typeface="Perpetua" panose="02020502060401020303" pitchFamily="18" charset="0"/>
              </a:defRPr>
            </a:lvl8pPr>
            <a:lvl9pPr marL="3886200" indent="-228600" fontAlgn="base">
              <a:spcBef>
                <a:spcPct val="0"/>
              </a:spcBef>
              <a:spcAft>
                <a:spcPct val="0"/>
              </a:spcAft>
              <a:defRPr>
                <a:solidFill>
                  <a:schemeClr val="tx1"/>
                </a:solidFill>
                <a:latin typeface="Perpetua" panose="02020502060401020303" pitchFamily="18" charset="0"/>
              </a:defRPr>
            </a:lvl9pPr>
          </a:lstStyle>
          <a:p>
            <a:pPr eaLnBrk="0" hangingPunct="0"/>
            <a:fld id="{AE47310D-74EE-4380-B219-541613B126C9}" type="slidenum">
              <a:rPr lang="en-GB" altLang="en-US" sz="1400">
                <a:solidFill>
                  <a:srgbClr val="FFFFFF"/>
                </a:solidFill>
                <a:latin typeface="Arial" panose="020B0604020202020204" pitchFamily="34" charset="0"/>
              </a:rPr>
              <a:pPr eaLnBrk="0" hangingPunct="0"/>
              <a:t>‹#›</a:t>
            </a:fld>
            <a:endParaRPr lang="en-GB" altLang="en-US" sz="1800">
              <a:solidFill>
                <a:srgbClr val="FFFFFF"/>
              </a:solidFill>
              <a:latin typeface="Arial" panose="020B0604020202020204" pitchFamily="34" charset="0"/>
            </a:endParaRPr>
          </a:p>
        </p:txBody>
      </p:sp>
      <p:sp>
        <p:nvSpPr>
          <p:cNvPr id="3" name="Subtitle 2"/>
          <p:cNvSpPr>
            <a:spLocks noGrp="1"/>
          </p:cNvSpPr>
          <p:nvPr>
            <p:ph type="subTitle" idx="1"/>
          </p:nvPr>
        </p:nvSpPr>
        <p:spPr>
          <a:xfrm>
            <a:off x="335360" y="476672"/>
            <a:ext cx="9889099" cy="360040"/>
          </a:xfrm>
          <a:prstGeom prst="rect">
            <a:avLst/>
          </a:prstGeom>
        </p:spPr>
        <p:txBody>
          <a:bodyPr anchor="b">
            <a:noAutofit/>
          </a:bodyPr>
          <a:lstStyle>
            <a:lvl1pPr marL="0" indent="0" algn="l">
              <a:buNone/>
              <a:defRPr sz="1800" b="1" baseline="0">
                <a:solidFill>
                  <a:schemeClr val="tx1">
                    <a:lumMod val="75000"/>
                    <a:lumOff val="25000"/>
                  </a:schemeClr>
                </a:solidFill>
                <a:latin typeface="Arial" panose="020B0604020202020204" pitchFamily="34" charset="0"/>
                <a:cs typeface="Arial" panose="020B0604020202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GB" dirty="0"/>
          </a:p>
        </p:txBody>
      </p:sp>
      <p:sp>
        <p:nvSpPr>
          <p:cNvPr id="12" name="Text Placeholder 11"/>
          <p:cNvSpPr>
            <a:spLocks noGrp="1"/>
          </p:cNvSpPr>
          <p:nvPr>
            <p:ph type="body" sz="quarter" idx="10"/>
          </p:nvPr>
        </p:nvSpPr>
        <p:spPr>
          <a:xfrm>
            <a:off x="335360" y="1989138"/>
            <a:ext cx="11618384" cy="4320182"/>
          </a:xfrm>
          <a:prstGeom prst="rect">
            <a:avLst/>
          </a:prstGeom>
        </p:spPr>
        <p:txBody>
          <a:bodyPr/>
          <a:lstStyle>
            <a:lvl1pPr marL="342900" indent="-342900">
              <a:buFont typeface="Arial" panose="020B0604020202020204" pitchFamily="34" charset="0"/>
              <a:buChar char="•"/>
              <a:defRPr sz="1600" b="0" baseline="0">
                <a:latin typeface="Arial" panose="020B0604020202020204" pitchFamily="34" charset="0"/>
                <a:cs typeface="Arial" panose="020B0604020202020204" pitchFamily="34" charset="0"/>
              </a:defRPr>
            </a:lvl1pPr>
            <a:lvl2pPr>
              <a:defRPr sz="2400">
                <a:latin typeface="Arial" panose="020B0604020202020204" pitchFamily="34" charset="0"/>
                <a:cs typeface="Arial" panose="020B0604020202020204" pitchFamily="34" charset="0"/>
              </a:defRPr>
            </a:lvl2pPr>
            <a:lvl3pPr>
              <a:defRPr sz="2000">
                <a:latin typeface="Arial" panose="020B0604020202020204" pitchFamily="34" charset="0"/>
                <a:cs typeface="Arial" panose="020B0604020202020204" pitchFamily="34" charset="0"/>
              </a:defRPr>
            </a:lvl3pPr>
            <a:lvl4pPr>
              <a:defRPr sz="1800">
                <a:latin typeface="Arial" panose="020B0604020202020204" pitchFamily="34" charset="0"/>
                <a:cs typeface="Arial" panose="020B0604020202020204" pitchFamily="34" charset="0"/>
              </a:defRPr>
            </a:lvl4pPr>
            <a:lvl5pPr>
              <a:defRPr sz="18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408123913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a:extLst>
              <a:ext uri="{FF2B5EF4-FFF2-40B4-BE49-F238E27FC236}">
                <a16:creationId xmlns:a16="http://schemas.microsoft.com/office/drawing/2014/main" id="{42C4819E-5546-429D-AA98-EB88CF441AC9}"/>
              </a:ext>
            </a:extLst>
          </p:cNvPr>
          <p:cNvSpPr>
            <a:spLocks noGrp="1"/>
          </p:cNvSpPr>
          <p:nvPr>
            <p:ph type="dt" sz="half" idx="10"/>
          </p:nvPr>
        </p:nvSpPr>
        <p:spPr/>
        <p:txBody>
          <a:bodyPr/>
          <a:lstStyle>
            <a:lvl1pPr>
              <a:defRPr/>
            </a:lvl1pPr>
          </a:lstStyle>
          <a:p>
            <a:pPr>
              <a:defRPr/>
            </a:pPr>
            <a:fld id="{F2A74927-19ED-485D-A846-E2D9F9E1128D}" type="datetimeFigureOut">
              <a:rPr lang="en-US"/>
              <a:pPr>
                <a:defRPr/>
              </a:pPr>
              <a:t>12/6/2019</a:t>
            </a:fld>
            <a:endParaRPr lang="en-US" dirty="0"/>
          </a:p>
        </p:txBody>
      </p:sp>
      <p:sp>
        <p:nvSpPr>
          <p:cNvPr id="5" name="Footer Placeholder 4">
            <a:extLst>
              <a:ext uri="{FF2B5EF4-FFF2-40B4-BE49-F238E27FC236}">
                <a16:creationId xmlns:a16="http://schemas.microsoft.com/office/drawing/2014/main" id="{0BDA65B9-6052-4ADF-993F-40F8A1494BBC}"/>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5">
            <a:extLst>
              <a:ext uri="{FF2B5EF4-FFF2-40B4-BE49-F238E27FC236}">
                <a16:creationId xmlns:a16="http://schemas.microsoft.com/office/drawing/2014/main" id="{B346BB7E-C1DE-445E-AD90-D3A2023E5930}"/>
              </a:ext>
            </a:extLst>
          </p:cNvPr>
          <p:cNvSpPr>
            <a:spLocks noGrp="1"/>
          </p:cNvSpPr>
          <p:nvPr>
            <p:ph type="sldNum" sz="quarter" idx="12"/>
          </p:nvPr>
        </p:nvSpPr>
        <p:spPr/>
        <p:txBody>
          <a:bodyPr/>
          <a:lstStyle>
            <a:lvl1pPr>
              <a:defRPr/>
            </a:lvl1pPr>
          </a:lstStyle>
          <a:p>
            <a:fld id="{C0FC5670-830F-48D3-9806-9F636AE2766E}" type="slidenum">
              <a:rPr lang="en-US" altLang="en-US"/>
              <a:pPr/>
              <a:t>‹#›</a:t>
            </a:fld>
            <a:endParaRPr lang="en-US" altLang="en-US"/>
          </a:p>
        </p:txBody>
      </p:sp>
    </p:spTree>
    <p:extLst>
      <p:ext uri="{BB962C8B-B14F-4D97-AF65-F5344CB8AC3E}">
        <p14:creationId xmlns:p14="http://schemas.microsoft.com/office/powerpoint/2010/main" val="276200418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4" name="TextBox 6">
            <a:extLst>
              <a:ext uri="{FF2B5EF4-FFF2-40B4-BE49-F238E27FC236}">
                <a16:creationId xmlns:a16="http://schemas.microsoft.com/office/drawing/2014/main" id="{9AD01D63-7DF9-4011-9B09-A5311F3D4127}"/>
              </a:ext>
            </a:extLst>
          </p:cNvPr>
          <p:cNvSpPr txBox="1">
            <a:spLocks noChangeArrowheads="1"/>
          </p:cNvSpPr>
          <p:nvPr userDrawn="1"/>
        </p:nvSpPr>
        <p:spPr bwMode="auto">
          <a:xfrm>
            <a:off x="10769600" y="6096000"/>
            <a:ext cx="121920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fld id="{46DEAA7F-CBEF-45C1-A79A-1ADEB60D2C4C}" type="slidenum">
              <a:rPr lang="en-US" altLang="en-US" sz="1800"/>
              <a:pPr/>
              <a:t>‹#›</a:t>
            </a:fld>
            <a:endParaRPr lang="en-US" altLang="en-US" sz="1800"/>
          </a:p>
        </p:txBody>
      </p:sp>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3">
            <a:extLst>
              <a:ext uri="{FF2B5EF4-FFF2-40B4-BE49-F238E27FC236}">
                <a16:creationId xmlns:a16="http://schemas.microsoft.com/office/drawing/2014/main" id="{9A609A64-836A-4E36-AC0F-D55250D77771}"/>
              </a:ext>
            </a:extLst>
          </p:cNvPr>
          <p:cNvSpPr>
            <a:spLocks noGrp="1"/>
          </p:cNvSpPr>
          <p:nvPr>
            <p:ph type="dt" sz="half" idx="10"/>
          </p:nvPr>
        </p:nvSpPr>
        <p:spPr/>
        <p:txBody>
          <a:bodyPr/>
          <a:lstStyle>
            <a:lvl1pPr>
              <a:defRPr/>
            </a:lvl1pPr>
          </a:lstStyle>
          <a:p>
            <a:pPr>
              <a:defRPr/>
            </a:pPr>
            <a:fld id="{EAC11DBE-E3B4-4621-AD47-00C4AE8910A2}" type="datetimeFigureOut">
              <a:rPr lang="en-US"/>
              <a:pPr>
                <a:defRPr/>
              </a:pPr>
              <a:t>12/6/2019</a:t>
            </a:fld>
            <a:endParaRPr lang="en-US" dirty="0"/>
          </a:p>
        </p:txBody>
      </p:sp>
      <p:sp>
        <p:nvSpPr>
          <p:cNvPr id="6" name="Footer Placeholder 4">
            <a:extLst>
              <a:ext uri="{FF2B5EF4-FFF2-40B4-BE49-F238E27FC236}">
                <a16:creationId xmlns:a16="http://schemas.microsoft.com/office/drawing/2014/main" id="{384E254F-B987-4A72-AF64-489EFF542548}"/>
              </a:ext>
            </a:extLst>
          </p:cNvPr>
          <p:cNvSpPr>
            <a:spLocks noGrp="1"/>
          </p:cNvSpPr>
          <p:nvPr>
            <p:ph type="ftr" sz="quarter" idx="11"/>
          </p:nvPr>
        </p:nvSpPr>
        <p:spPr/>
        <p:txBody>
          <a:bodyPr/>
          <a:lstStyle>
            <a:lvl1pPr>
              <a:defRPr/>
            </a:lvl1pPr>
          </a:lstStyle>
          <a:p>
            <a:pPr>
              <a:defRPr/>
            </a:pPr>
            <a:endParaRPr lang="en-US"/>
          </a:p>
        </p:txBody>
      </p:sp>
      <p:sp>
        <p:nvSpPr>
          <p:cNvPr id="7" name="Slide Number Placeholder 5">
            <a:extLst>
              <a:ext uri="{FF2B5EF4-FFF2-40B4-BE49-F238E27FC236}">
                <a16:creationId xmlns:a16="http://schemas.microsoft.com/office/drawing/2014/main" id="{F839E9AD-5ACA-44B6-A732-3B556623F838}"/>
              </a:ext>
            </a:extLst>
          </p:cNvPr>
          <p:cNvSpPr>
            <a:spLocks noGrp="1"/>
          </p:cNvSpPr>
          <p:nvPr>
            <p:ph type="sldNum" sz="quarter" idx="12"/>
          </p:nvPr>
        </p:nvSpPr>
        <p:spPr/>
        <p:txBody>
          <a:bodyPr/>
          <a:lstStyle>
            <a:lvl1pPr>
              <a:defRPr/>
            </a:lvl1pPr>
          </a:lstStyle>
          <a:p>
            <a:fld id="{3B214139-E1C9-413F-A9E7-60A15B5FFFDE}" type="slidenum">
              <a:rPr lang="en-US" altLang="en-US"/>
              <a:pPr/>
              <a:t>‹#›</a:t>
            </a:fld>
            <a:endParaRPr lang="en-US" altLang="en-US"/>
          </a:p>
        </p:txBody>
      </p:sp>
    </p:spTree>
    <p:extLst>
      <p:ext uri="{BB962C8B-B14F-4D97-AF65-F5344CB8AC3E}">
        <p14:creationId xmlns:p14="http://schemas.microsoft.com/office/powerpoint/2010/main" val="318613681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9DB3D582-555A-4C6A-9843-22325AFFB07D}"/>
              </a:ext>
            </a:extLst>
          </p:cNvPr>
          <p:cNvSpPr>
            <a:spLocks noGrp="1"/>
          </p:cNvSpPr>
          <p:nvPr>
            <p:ph type="dt" sz="half" idx="10"/>
          </p:nvPr>
        </p:nvSpPr>
        <p:spPr/>
        <p:txBody>
          <a:bodyPr/>
          <a:lstStyle>
            <a:lvl1pPr>
              <a:defRPr/>
            </a:lvl1pPr>
          </a:lstStyle>
          <a:p>
            <a:pPr>
              <a:defRPr/>
            </a:pPr>
            <a:fld id="{BD742F6A-BAB7-47C9-B41B-453D9060B7EB}" type="datetimeFigureOut">
              <a:rPr lang="en-US"/>
              <a:pPr>
                <a:defRPr/>
              </a:pPr>
              <a:t>12/6/2019</a:t>
            </a:fld>
            <a:endParaRPr lang="en-US" dirty="0"/>
          </a:p>
        </p:txBody>
      </p:sp>
      <p:sp>
        <p:nvSpPr>
          <p:cNvPr id="5" name="Footer Placeholder 4">
            <a:extLst>
              <a:ext uri="{FF2B5EF4-FFF2-40B4-BE49-F238E27FC236}">
                <a16:creationId xmlns:a16="http://schemas.microsoft.com/office/drawing/2014/main" id="{95424D84-BBA6-4CA3-B577-201830A49B09}"/>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5">
            <a:extLst>
              <a:ext uri="{FF2B5EF4-FFF2-40B4-BE49-F238E27FC236}">
                <a16:creationId xmlns:a16="http://schemas.microsoft.com/office/drawing/2014/main" id="{B61ADCE4-713C-4019-A56B-E3D7AD58BF02}"/>
              </a:ext>
            </a:extLst>
          </p:cNvPr>
          <p:cNvSpPr>
            <a:spLocks noGrp="1"/>
          </p:cNvSpPr>
          <p:nvPr>
            <p:ph type="sldNum" sz="quarter" idx="12"/>
          </p:nvPr>
        </p:nvSpPr>
        <p:spPr/>
        <p:txBody>
          <a:bodyPr/>
          <a:lstStyle>
            <a:lvl1pPr>
              <a:defRPr/>
            </a:lvl1pPr>
          </a:lstStyle>
          <a:p>
            <a:fld id="{7642CCD2-479C-478F-AB81-5F467638DD88}" type="slidenum">
              <a:rPr lang="en-US" altLang="en-US"/>
              <a:pPr/>
              <a:t>‹#›</a:t>
            </a:fld>
            <a:endParaRPr lang="en-US" altLang="en-US"/>
          </a:p>
        </p:txBody>
      </p:sp>
    </p:spTree>
    <p:extLst>
      <p:ext uri="{BB962C8B-B14F-4D97-AF65-F5344CB8AC3E}">
        <p14:creationId xmlns:p14="http://schemas.microsoft.com/office/powerpoint/2010/main" val="179539772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3">
            <a:extLst>
              <a:ext uri="{FF2B5EF4-FFF2-40B4-BE49-F238E27FC236}">
                <a16:creationId xmlns:a16="http://schemas.microsoft.com/office/drawing/2014/main" id="{C1571BA4-71DA-4BAB-AAB6-EA01B81B2AA6}"/>
              </a:ext>
            </a:extLst>
          </p:cNvPr>
          <p:cNvSpPr>
            <a:spLocks noGrp="1"/>
          </p:cNvSpPr>
          <p:nvPr>
            <p:ph type="dt" sz="half" idx="10"/>
          </p:nvPr>
        </p:nvSpPr>
        <p:spPr/>
        <p:txBody>
          <a:bodyPr/>
          <a:lstStyle>
            <a:lvl1pPr>
              <a:defRPr/>
            </a:lvl1pPr>
          </a:lstStyle>
          <a:p>
            <a:pPr>
              <a:defRPr/>
            </a:pPr>
            <a:fld id="{D544806F-1C61-4659-91D3-CB9DE06FCF5E}" type="datetimeFigureOut">
              <a:rPr lang="en-US"/>
              <a:pPr>
                <a:defRPr/>
              </a:pPr>
              <a:t>12/6/2019</a:t>
            </a:fld>
            <a:endParaRPr lang="en-US" dirty="0"/>
          </a:p>
        </p:txBody>
      </p:sp>
      <p:sp>
        <p:nvSpPr>
          <p:cNvPr id="6" name="Footer Placeholder 4">
            <a:extLst>
              <a:ext uri="{FF2B5EF4-FFF2-40B4-BE49-F238E27FC236}">
                <a16:creationId xmlns:a16="http://schemas.microsoft.com/office/drawing/2014/main" id="{6585A04C-D1A8-47D3-A4DD-ABA7F13C5BC1}"/>
              </a:ext>
            </a:extLst>
          </p:cNvPr>
          <p:cNvSpPr>
            <a:spLocks noGrp="1"/>
          </p:cNvSpPr>
          <p:nvPr>
            <p:ph type="ftr" sz="quarter" idx="11"/>
          </p:nvPr>
        </p:nvSpPr>
        <p:spPr/>
        <p:txBody>
          <a:bodyPr/>
          <a:lstStyle>
            <a:lvl1pPr>
              <a:defRPr/>
            </a:lvl1pPr>
          </a:lstStyle>
          <a:p>
            <a:pPr>
              <a:defRPr/>
            </a:pPr>
            <a:endParaRPr lang="en-US"/>
          </a:p>
        </p:txBody>
      </p:sp>
      <p:sp>
        <p:nvSpPr>
          <p:cNvPr id="7" name="Slide Number Placeholder 5">
            <a:extLst>
              <a:ext uri="{FF2B5EF4-FFF2-40B4-BE49-F238E27FC236}">
                <a16:creationId xmlns:a16="http://schemas.microsoft.com/office/drawing/2014/main" id="{B26B2AF4-F331-4985-8A7F-86A4E764EDF9}"/>
              </a:ext>
            </a:extLst>
          </p:cNvPr>
          <p:cNvSpPr>
            <a:spLocks noGrp="1"/>
          </p:cNvSpPr>
          <p:nvPr>
            <p:ph type="sldNum" sz="quarter" idx="12"/>
          </p:nvPr>
        </p:nvSpPr>
        <p:spPr/>
        <p:txBody>
          <a:bodyPr/>
          <a:lstStyle>
            <a:lvl1pPr>
              <a:defRPr/>
            </a:lvl1pPr>
          </a:lstStyle>
          <a:p>
            <a:fld id="{DF6E93D7-741D-4C85-A3D1-6CDDBDB06B51}" type="slidenum">
              <a:rPr lang="en-US" altLang="en-US"/>
              <a:pPr/>
              <a:t>‹#›</a:t>
            </a:fld>
            <a:endParaRPr lang="en-US" altLang="en-US"/>
          </a:p>
        </p:txBody>
      </p:sp>
    </p:spTree>
    <p:extLst>
      <p:ext uri="{BB962C8B-B14F-4D97-AF65-F5344CB8AC3E}">
        <p14:creationId xmlns:p14="http://schemas.microsoft.com/office/powerpoint/2010/main" val="297553236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9BB4F9-779A-4806-AD75-674EF6D919E6}"/>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CC01269F-705A-40FD-8248-51E8394D58B6}"/>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8AA27CCB-D6F0-4457-AC07-5155EDCBF27E}"/>
              </a:ext>
            </a:extLst>
          </p:cNvPr>
          <p:cNvSpPr>
            <a:spLocks noGrp="1"/>
          </p:cNvSpPr>
          <p:nvPr>
            <p:ph type="dt" sz="half" idx="10"/>
          </p:nvPr>
        </p:nvSpPr>
        <p:spPr/>
        <p:txBody>
          <a:bodyPr/>
          <a:lstStyle/>
          <a:p>
            <a:fld id="{0C08B2A5-1572-4DE8-941E-858EF0E10F23}" type="datetimeFigureOut">
              <a:rPr lang="en-US" smtClean="0"/>
              <a:t>12/6/2019</a:t>
            </a:fld>
            <a:endParaRPr lang="en-US"/>
          </a:p>
        </p:txBody>
      </p:sp>
      <p:sp>
        <p:nvSpPr>
          <p:cNvPr id="5" name="Footer Placeholder 4">
            <a:extLst>
              <a:ext uri="{FF2B5EF4-FFF2-40B4-BE49-F238E27FC236}">
                <a16:creationId xmlns:a16="http://schemas.microsoft.com/office/drawing/2014/main" id="{608DBB55-2DB9-4A89-A730-EA630ADE349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43792D6-821A-446E-BB38-1E87165CFE9D}"/>
              </a:ext>
            </a:extLst>
          </p:cNvPr>
          <p:cNvSpPr>
            <a:spLocks noGrp="1"/>
          </p:cNvSpPr>
          <p:nvPr>
            <p:ph type="sldNum" sz="quarter" idx="12"/>
          </p:nvPr>
        </p:nvSpPr>
        <p:spPr/>
        <p:txBody>
          <a:bodyPr/>
          <a:lstStyle/>
          <a:p>
            <a:fld id="{E5FAEECA-10E4-45EC-A9E1-A5331A7A6F2F}" type="slidenum">
              <a:rPr lang="en-US" smtClean="0"/>
              <a:t>‹#›</a:t>
            </a:fld>
            <a:endParaRPr lang="en-US"/>
          </a:p>
        </p:txBody>
      </p:sp>
    </p:spTree>
    <p:extLst>
      <p:ext uri="{BB962C8B-B14F-4D97-AF65-F5344CB8AC3E}">
        <p14:creationId xmlns:p14="http://schemas.microsoft.com/office/powerpoint/2010/main" val="210149680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3">
            <a:extLst>
              <a:ext uri="{FF2B5EF4-FFF2-40B4-BE49-F238E27FC236}">
                <a16:creationId xmlns:a16="http://schemas.microsoft.com/office/drawing/2014/main" id="{3F7E9F02-8B4F-4F97-83F6-225719D686E0}"/>
              </a:ext>
            </a:extLst>
          </p:cNvPr>
          <p:cNvSpPr>
            <a:spLocks noGrp="1"/>
          </p:cNvSpPr>
          <p:nvPr>
            <p:ph type="dt" sz="half" idx="10"/>
          </p:nvPr>
        </p:nvSpPr>
        <p:spPr/>
        <p:txBody>
          <a:bodyPr/>
          <a:lstStyle>
            <a:lvl1pPr>
              <a:defRPr/>
            </a:lvl1pPr>
          </a:lstStyle>
          <a:p>
            <a:pPr>
              <a:defRPr/>
            </a:pPr>
            <a:fld id="{4052E192-A770-47FC-9CA5-C47C0C7D6F3D}" type="datetimeFigureOut">
              <a:rPr lang="en-US"/>
              <a:pPr>
                <a:defRPr/>
              </a:pPr>
              <a:t>12/6/2019</a:t>
            </a:fld>
            <a:endParaRPr lang="en-US" dirty="0"/>
          </a:p>
        </p:txBody>
      </p:sp>
      <p:sp>
        <p:nvSpPr>
          <p:cNvPr id="8" name="Footer Placeholder 4">
            <a:extLst>
              <a:ext uri="{FF2B5EF4-FFF2-40B4-BE49-F238E27FC236}">
                <a16:creationId xmlns:a16="http://schemas.microsoft.com/office/drawing/2014/main" id="{643100AE-0DBD-44A6-BBDB-3C5757A59270}"/>
              </a:ext>
            </a:extLst>
          </p:cNvPr>
          <p:cNvSpPr>
            <a:spLocks noGrp="1"/>
          </p:cNvSpPr>
          <p:nvPr>
            <p:ph type="ftr" sz="quarter" idx="11"/>
          </p:nvPr>
        </p:nvSpPr>
        <p:spPr/>
        <p:txBody>
          <a:bodyPr/>
          <a:lstStyle>
            <a:lvl1pPr>
              <a:defRPr/>
            </a:lvl1pPr>
          </a:lstStyle>
          <a:p>
            <a:pPr>
              <a:defRPr/>
            </a:pPr>
            <a:endParaRPr lang="en-US"/>
          </a:p>
        </p:txBody>
      </p:sp>
      <p:sp>
        <p:nvSpPr>
          <p:cNvPr id="9" name="Slide Number Placeholder 5">
            <a:extLst>
              <a:ext uri="{FF2B5EF4-FFF2-40B4-BE49-F238E27FC236}">
                <a16:creationId xmlns:a16="http://schemas.microsoft.com/office/drawing/2014/main" id="{C9AAB0E4-3535-408E-88CB-51B4100C906C}"/>
              </a:ext>
            </a:extLst>
          </p:cNvPr>
          <p:cNvSpPr>
            <a:spLocks noGrp="1"/>
          </p:cNvSpPr>
          <p:nvPr>
            <p:ph type="sldNum" sz="quarter" idx="12"/>
          </p:nvPr>
        </p:nvSpPr>
        <p:spPr/>
        <p:txBody>
          <a:bodyPr/>
          <a:lstStyle>
            <a:lvl1pPr>
              <a:defRPr/>
            </a:lvl1pPr>
          </a:lstStyle>
          <a:p>
            <a:fld id="{30D98910-4C1D-4FC1-960C-48068CA5E2F3}" type="slidenum">
              <a:rPr lang="en-US" altLang="en-US"/>
              <a:pPr/>
              <a:t>‹#›</a:t>
            </a:fld>
            <a:endParaRPr lang="en-US" altLang="en-US"/>
          </a:p>
        </p:txBody>
      </p:sp>
    </p:spTree>
    <p:extLst>
      <p:ext uri="{BB962C8B-B14F-4D97-AF65-F5344CB8AC3E}">
        <p14:creationId xmlns:p14="http://schemas.microsoft.com/office/powerpoint/2010/main" val="237443334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3">
            <a:extLst>
              <a:ext uri="{FF2B5EF4-FFF2-40B4-BE49-F238E27FC236}">
                <a16:creationId xmlns:a16="http://schemas.microsoft.com/office/drawing/2014/main" id="{CB845777-E3E4-419F-B3BB-481C6376FF66}"/>
              </a:ext>
            </a:extLst>
          </p:cNvPr>
          <p:cNvSpPr>
            <a:spLocks noGrp="1"/>
          </p:cNvSpPr>
          <p:nvPr>
            <p:ph type="dt" sz="half" idx="10"/>
          </p:nvPr>
        </p:nvSpPr>
        <p:spPr/>
        <p:txBody>
          <a:bodyPr/>
          <a:lstStyle>
            <a:lvl1pPr>
              <a:defRPr/>
            </a:lvl1pPr>
          </a:lstStyle>
          <a:p>
            <a:pPr>
              <a:defRPr/>
            </a:pPr>
            <a:fld id="{6413CAE6-724E-499B-868A-6FAE9C87C4EF}" type="datetimeFigureOut">
              <a:rPr lang="en-US"/>
              <a:pPr>
                <a:defRPr/>
              </a:pPr>
              <a:t>12/6/2019</a:t>
            </a:fld>
            <a:endParaRPr lang="en-US" dirty="0"/>
          </a:p>
        </p:txBody>
      </p:sp>
      <p:sp>
        <p:nvSpPr>
          <p:cNvPr id="4" name="Footer Placeholder 4">
            <a:extLst>
              <a:ext uri="{FF2B5EF4-FFF2-40B4-BE49-F238E27FC236}">
                <a16:creationId xmlns:a16="http://schemas.microsoft.com/office/drawing/2014/main" id="{2C3640B1-F935-4673-888B-A85546ED78DE}"/>
              </a:ext>
            </a:extLst>
          </p:cNvPr>
          <p:cNvSpPr>
            <a:spLocks noGrp="1"/>
          </p:cNvSpPr>
          <p:nvPr>
            <p:ph type="ftr" sz="quarter" idx="11"/>
          </p:nvPr>
        </p:nvSpPr>
        <p:spPr/>
        <p:txBody>
          <a:bodyPr/>
          <a:lstStyle>
            <a:lvl1pPr>
              <a:defRPr/>
            </a:lvl1pPr>
          </a:lstStyle>
          <a:p>
            <a:pPr>
              <a:defRPr/>
            </a:pPr>
            <a:endParaRPr lang="en-US"/>
          </a:p>
        </p:txBody>
      </p:sp>
      <p:sp>
        <p:nvSpPr>
          <p:cNvPr id="5" name="Slide Number Placeholder 5">
            <a:extLst>
              <a:ext uri="{FF2B5EF4-FFF2-40B4-BE49-F238E27FC236}">
                <a16:creationId xmlns:a16="http://schemas.microsoft.com/office/drawing/2014/main" id="{42BE49FD-126B-4294-A979-E3C9791D371B}"/>
              </a:ext>
            </a:extLst>
          </p:cNvPr>
          <p:cNvSpPr>
            <a:spLocks noGrp="1"/>
          </p:cNvSpPr>
          <p:nvPr>
            <p:ph type="sldNum" sz="quarter" idx="12"/>
          </p:nvPr>
        </p:nvSpPr>
        <p:spPr/>
        <p:txBody>
          <a:bodyPr/>
          <a:lstStyle>
            <a:lvl1pPr>
              <a:defRPr/>
            </a:lvl1pPr>
          </a:lstStyle>
          <a:p>
            <a:fld id="{EEB389A6-2042-4660-BE4C-07164F41947E}" type="slidenum">
              <a:rPr lang="en-US" altLang="en-US"/>
              <a:pPr/>
              <a:t>‹#›</a:t>
            </a:fld>
            <a:endParaRPr lang="en-US" altLang="en-US"/>
          </a:p>
        </p:txBody>
      </p:sp>
    </p:spTree>
    <p:extLst>
      <p:ext uri="{BB962C8B-B14F-4D97-AF65-F5344CB8AC3E}">
        <p14:creationId xmlns:p14="http://schemas.microsoft.com/office/powerpoint/2010/main" val="421268043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a:extLst>
              <a:ext uri="{FF2B5EF4-FFF2-40B4-BE49-F238E27FC236}">
                <a16:creationId xmlns:a16="http://schemas.microsoft.com/office/drawing/2014/main" id="{926E39DE-C7FD-41EA-B729-9486074AD3C1}"/>
              </a:ext>
            </a:extLst>
          </p:cNvPr>
          <p:cNvSpPr>
            <a:spLocks noGrp="1"/>
          </p:cNvSpPr>
          <p:nvPr>
            <p:ph type="dt" sz="half" idx="10"/>
          </p:nvPr>
        </p:nvSpPr>
        <p:spPr/>
        <p:txBody>
          <a:bodyPr/>
          <a:lstStyle>
            <a:lvl1pPr>
              <a:defRPr/>
            </a:lvl1pPr>
          </a:lstStyle>
          <a:p>
            <a:pPr>
              <a:defRPr/>
            </a:pPr>
            <a:fld id="{107AE63B-FCC5-4DD3-9653-5683C88D3AA0}" type="datetimeFigureOut">
              <a:rPr lang="en-US"/>
              <a:pPr>
                <a:defRPr/>
              </a:pPr>
              <a:t>12/6/2019</a:t>
            </a:fld>
            <a:endParaRPr lang="en-US" dirty="0"/>
          </a:p>
        </p:txBody>
      </p:sp>
      <p:sp>
        <p:nvSpPr>
          <p:cNvPr id="3" name="Footer Placeholder 4">
            <a:extLst>
              <a:ext uri="{FF2B5EF4-FFF2-40B4-BE49-F238E27FC236}">
                <a16:creationId xmlns:a16="http://schemas.microsoft.com/office/drawing/2014/main" id="{454088CC-33E8-444D-A8BF-38200D7A4924}"/>
              </a:ext>
            </a:extLst>
          </p:cNvPr>
          <p:cNvSpPr>
            <a:spLocks noGrp="1"/>
          </p:cNvSpPr>
          <p:nvPr>
            <p:ph type="ftr" sz="quarter" idx="11"/>
          </p:nvPr>
        </p:nvSpPr>
        <p:spPr/>
        <p:txBody>
          <a:bodyPr/>
          <a:lstStyle>
            <a:lvl1pPr>
              <a:defRPr/>
            </a:lvl1pPr>
          </a:lstStyle>
          <a:p>
            <a:pPr>
              <a:defRPr/>
            </a:pPr>
            <a:endParaRPr lang="en-US"/>
          </a:p>
        </p:txBody>
      </p:sp>
      <p:sp>
        <p:nvSpPr>
          <p:cNvPr id="4" name="Slide Number Placeholder 5">
            <a:extLst>
              <a:ext uri="{FF2B5EF4-FFF2-40B4-BE49-F238E27FC236}">
                <a16:creationId xmlns:a16="http://schemas.microsoft.com/office/drawing/2014/main" id="{3972F1C6-7953-43B0-8509-0FCAFC79F0A8}"/>
              </a:ext>
            </a:extLst>
          </p:cNvPr>
          <p:cNvSpPr>
            <a:spLocks noGrp="1"/>
          </p:cNvSpPr>
          <p:nvPr>
            <p:ph type="sldNum" sz="quarter" idx="12"/>
          </p:nvPr>
        </p:nvSpPr>
        <p:spPr/>
        <p:txBody>
          <a:bodyPr/>
          <a:lstStyle>
            <a:lvl1pPr>
              <a:defRPr/>
            </a:lvl1pPr>
          </a:lstStyle>
          <a:p>
            <a:fld id="{A16E58BF-6F30-4B92-BA96-9CC7D429FFDF}" type="slidenum">
              <a:rPr lang="en-US" altLang="en-US"/>
              <a:pPr/>
              <a:t>‹#›</a:t>
            </a:fld>
            <a:endParaRPr lang="en-US" altLang="en-US"/>
          </a:p>
        </p:txBody>
      </p:sp>
    </p:spTree>
    <p:extLst>
      <p:ext uri="{BB962C8B-B14F-4D97-AF65-F5344CB8AC3E}">
        <p14:creationId xmlns:p14="http://schemas.microsoft.com/office/powerpoint/2010/main" val="292730353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a:extLst>
              <a:ext uri="{FF2B5EF4-FFF2-40B4-BE49-F238E27FC236}">
                <a16:creationId xmlns:a16="http://schemas.microsoft.com/office/drawing/2014/main" id="{FA35C66B-DA40-49AC-B4B6-8C29A056E0B0}"/>
              </a:ext>
            </a:extLst>
          </p:cNvPr>
          <p:cNvSpPr>
            <a:spLocks noGrp="1"/>
          </p:cNvSpPr>
          <p:nvPr>
            <p:ph type="dt" sz="half" idx="10"/>
          </p:nvPr>
        </p:nvSpPr>
        <p:spPr/>
        <p:txBody>
          <a:bodyPr/>
          <a:lstStyle>
            <a:lvl1pPr>
              <a:defRPr/>
            </a:lvl1pPr>
          </a:lstStyle>
          <a:p>
            <a:pPr>
              <a:defRPr/>
            </a:pPr>
            <a:fld id="{9967E3CC-5AC4-4C3F-AFA7-6645CA7A6F9F}" type="datetimeFigureOut">
              <a:rPr lang="en-US"/>
              <a:pPr>
                <a:defRPr/>
              </a:pPr>
              <a:t>12/6/2019</a:t>
            </a:fld>
            <a:endParaRPr lang="en-US" dirty="0"/>
          </a:p>
        </p:txBody>
      </p:sp>
      <p:sp>
        <p:nvSpPr>
          <p:cNvPr id="6" name="Footer Placeholder 4">
            <a:extLst>
              <a:ext uri="{FF2B5EF4-FFF2-40B4-BE49-F238E27FC236}">
                <a16:creationId xmlns:a16="http://schemas.microsoft.com/office/drawing/2014/main" id="{F5860FFE-9C24-4B86-98A3-71F9502E5D80}"/>
              </a:ext>
            </a:extLst>
          </p:cNvPr>
          <p:cNvSpPr>
            <a:spLocks noGrp="1"/>
          </p:cNvSpPr>
          <p:nvPr>
            <p:ph type="ftr" sz="quarter" idx="11"/>
          </p:nvPr>
        </p:nvSpPr>
        <p:spPr/>
        <p:txBody>
          <a:bodyPr/>
          <a:lstStyle>
            <a:lvl1pPr>
              <a:defRPr/>
            </a:lvl1pPr>
          </a:lstStyle>
          <a:p>
            <a:pPr>
              <a:defRPr/>
            </a:pPr>
            <a:endParaRPr lang="en-US"/>
          </a:p>
        </p:txBody>
      </p:sp>
      <p:sp>
        <p:nvSpPr>
          <p:cNvPr id="7" name="Slide Number Placeholder 5">
            <a:extLst>
              <a:ext uri="{FF2B5EF4-FFF2-40B4-BE49-F238E27FC236}">
                <a16:creationId xmlns:a16="http://schemas.microsoft.com/office/drawing/2014/main" id="{27F02433-109B-48BE-87B0-6E7487E9F320}"/>
              </a:ext>
            </a:extLst>
          </p:cNvPr>
          <p:cNvSpPr>
            <a:spLocks noGrp="1"/>
          </p:cNvSpPr>
          <p:nvPr>
            <p:ph type="sldNum" sz="quarter" idx="12"/>
          </p:nvPr>
        </p:nvSpPr>
        <p:spPr/>
        <p:txBody>
          <a:bodyPr/>
          <a:lstStyle>
            <a:lvl1pPr>
              <a:defRPr/>
            </a:lvl1pPr>
          </a:lstStyle>
          <a:p>
            <a:fld id="{416D36A3-4BFC-4B86-9562-8093B288340D}" type="slidenum">
              <a:rPr lang="en-US" altLang="en-US"/>
              <a:pPr/>
              <a:t>‹#›</a:t>
            </a:fld>
            <a:endParaRPr lang="en-US" altLang="en-US"/>
          </a:p>
        </p:txBody>
      </p:sp>
    </p:spTree>
    <p:extLst>
      <p:ext uri="{BB962C8B-B14F-4D97-AF65-F5344CB8AC3E}">
        <p14:creationId xmlns:p14="http://schemas.microsoft.com/office/powerpoint/2010/main" val="102199914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a:extLst>
              <a:ext uri="{FF2B5EF4-FFF2-40B4-BE49-F238E27FC236}">
                <a16:creationId xmlns:a16="http://schemas.microsoft.com/office/drawing/2014/main" id="{7322320D-B105-43E9-9B5A-6781B49AA544}"/>
              </a:ext>
            </a:extLst>
          </p:cNvPr>
          <p:cNvSpPr>
            <a:spLocks noGrp="1"/>
          </p:cNvSpPr>
          <p:nvPr>
            <p:ph type="dt" sz="half" idx="10"/>
          </p:nvPr>
        </p:nvSpPr>
        <p:spPr/>
        <p:txBody>
          <a:bodyPr/>
          <a:lstStyle>
            <a:lvl1pPr>
              <a:defRPr/>
            </a:lvl1pPr>
          </a:lstStyle>
          <a:p>
            <a:pPr>
              <a:defRPr/>
            </a:pPr>
            <a:fld id="{39CCAD79-8FFB-4C3C-AB8F-6DB9F67CAC87}" type="datetimeFigureOut">
              <a:rPr lang="en-US"/>
              <a:pPr>
                <a:defRPr/>
              </a:pPr>
              <a:t>12/6/2019</a:t>
            </a:fld>
            <a:endParaRPr lang="en-US" dirty="0"/>
          </a:p>
        </p:txBody>
      </p:sp>
      <p:sp>
        <p:nvSpPr>
          <p:cNvPr id="6" name="Footer Placeholder 4">
            <a:extLst>
              <a:ext uri="{FF2B5EF4-FFF2-40B4-BE49-F238E27FC236}">
                <a16:creationId xmlns:a16="http://schemas.microsoft.com/office/drawing/2014/main" id="{2BFE81A0-677D-42AB-86F2-2CCDBEF138F6}"/>
              </a:ext>
            </a:extLst>
          </p:cNvPr>
          <p:cNvSpPr>
            <a:spLocks noGrp="1"/>
          </p:cNvSpPr>
          <p:nvPr>
            <p:ph type="ftr" sz="quarter" idx="11"/>
          </p:nvPr>
        </p:nvSpPr>
        <p:spPr/>
        <p:txBody>
          <a:bodyPr/>
          <a:lstStyle>
            <a:lvl1pPr>
              <a:defRPr/>
            </a:lvl1pPr>
          </a:lstStyle>
          <a:p>
            <a:pPr>
              <a:defRPr/>
            </a:pPr>
            <a:endParaRPr lang="en-US"/>
          </a:p>
        </p:txBody>
      </p:sp>
      <p:sp>
        <p:nvSpPr>
          <p:cNvPr id="7" name="Slide Number Placeholder 5">
            <a:extLst>
              <a:ext uri="{FF2B5EF4-FFF2-40B4-BE49-F238E27FC236}">
                <a16:creationId xmlns:a16="http://schemas.microsoft.com/office/drawing/2014/main" id="{37C991C0-C045-4179-BE5C-71613677CA3D}"/>
              </a:ext>
            </a:extLst>
          </p:cNvPr>
          <p:cNvSpPr>
            <a:spLocks noGrp="1"/>
          </p:cNvSpPr>
          <p:nvPr>
            <p:ph type="sldNum" sz="quarter" idx="12"/>
          </p:nvPr>
        </p:nvSpPr>
        <p:spPr/>
        <p:txBody>
          <a:bodyPr/>
          <a:lstStyle>
            <a:lvl1pPr>
              <a:defRPr/>
            </a:lvl1pPr>
          </a:lstStyle>
          <a:p>
            <a:fld id="{A7BD1D7A-72B7-4641-90FD-2F30E8449E2F}" type="slidenum">
              <a:rPr lang="en-US" altLang="en-US"/>
              <a:pPr/>
              <a:t>‹#›</a:t>
            </a:fld>
            <a:endParaRPr lang="en-US" altLang="en-US"/>
          </a:p>
        </p:txBody>
      </p:sp>
    </p:spTree>
    <p:extLst>
      <p:ext uri="{BB962C8B-B14F-4D97-AF65-F5344CB8AC3E}">
        <p14:creationId xmlns:p14="http://schemas.microsoft.com/office/powerpoint/2010/main" val="229762994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7EA6F30-447C-4180-921B-8CE76A19B484}"/>
              </a:ext>
            </a:extLst>
          </p:cNvPr>
          <p:cNvSpPr>
            <a:spLocks noGrp="1"/>
          </p:cNvSpPr>
          <p:nvPr>
            <p:ph type="dt" sz="half" idx="10"/>
          </p:nvPr>
        </p:nvSpPr>
        <p:spPr/>
        <p:txBody>
          <a:bodyPr/>
          <a:lstStyle>
            <a:lvl1pPr>
              <a:defRPr/>
            </a:lvl1pPr>
          </a:lstStyle>
          <a:p>
            <a:pPr>
              <a:defRPr/>
            </a:pPr>
            <a:fld id="{C75D8B7A-9594-4BA7-B7E0-3B495BA63C0F}" type="datetimeFigureOut">
              <a:rPr lang="en-US"/>
              <a:pPr>
                <a:defRPr/>
              </a:pPr>
              <a:t>12/6/2019</a:t>
            </a:fld>
            <a:endParaRPr lang="en-US" dirty="0"/>
          </a:p>
        </p:txBody>
      </p:sp>
      <p:sp>
        <p:nvSpPr>
          <p:cNvPr id="5" name="Footer Placeholder 4">
            <a:extLst>
              <a:ext uri="{FF2B5EF4-FFF2-40B4-BE49-F238E27FC236}">
                <a16:creationId xmlns:a16="http://schemas.microsoft.com/office/drawing/2014/main" id="{121D69B9-273E-4AE8-9639-B2A46F7161A7}"/>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5">
            <a:extLst>
              <a:ext uri="{FF2B5EF4-FFF2-40B4-BE49-F238E27FC236}">
                <a16:creationId xmlns:a16="http://schemas.microsoft.com/office/drawing/2014/main" id="{86CA4DD0-AAC6-4D47-9668-CC835BA5DCF1}"/>
              </a:ext>
            </a:extLst>
          </p:cNvPr>
          <p:cNvSpPr>
            <a:spLocks noGrp="1"/>
          </p:cNvSpPr>
          <p:nvPr>
            <p:ph type="sldNum" sz="quarter" idx="12"/>
          </p:nvPr>
        </p:nvSpPr>
        <p:spPr/>
        <p:txBody>
          <a:bodyPr/>
          <a:lstStyle>
            <a:lvl1pPr>
              <a:defRPr/>
            </a:lvl1pPr>
          </a:lstStyle>
          <a:p>
            <a:fld id="{FE9E65CD-946B-480A-961F-440FE8A70C3B}" type="slidenum">
              <a:rPr lang="en-US" altLang="en-US"/>
              <a:pPr/>
              <a:t>‹#›</a:t>
            </a:fld>
            <a:endParaRPr lang="en-US" altLang="en-US"/>
          </a:p>
        </p:txBody>
      </p:sp>
    </p:spTree>
    <p:extLst>
      <p:ext uri="{BB962C8B-B14F-4D97-AF65-F5344CB8AC3E}">
        <p14:creationId xmlns:p14="http://schemas.microsoft.com/office/powerpoint/2010/main" val="368379023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39"/>
            <a:ext cx="27432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9600" y="274639"/>
            <a:ext cx="80264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A559591-DB73-41A0-9A88-740911A3DB7C}"/>
              </a:ext>
            </a:extLst>
          </p:cNvPr>
          <p:cNvSpPr>
            <a:spLocks noGrp="1"/>
          </p:cNvSpPr>
          <p:nvPr>
            <p:ph type="dt" sz="half" idx="10"/>
          </p:nvPr>
        </p:nvSpPr>
        <p:spPr/>
        <p:txBody>
          <a:bodyPr/>
          <a:lstStyle>
            <a:lvl1pPr>
              <a:defRPr/>
            </a:lvl1pPr>
          </a:lstStyle>
          <a:p>
            <a:pPr>
              <a:defRPr/>
            </a:pPr>
            <a:fld id="{E2238B28-ADF0-454A-B862-1A41675CBE12}" type="datetimeFigureOut">
              <a:rPr lang="en-US"/>
              <a:pPr>
                <a:defRPr/>
              </a:pPr>
              <a:t>12/6/2019</a:t>
            </a:fld>
            <a:endParaRPr lang="en-US" dirty="0"/>
          </a:p>
        </p:txBody>
      </p:sp>
      <p:sp>
        <p:nvSpPr>
          <p:cNvPr id="5" name="Footer Placeholder 4">
            <a:extLst>
              <a:ext uri="{FF2B5EF4-FFF2-40B4-BE49-F238E27FC236}">
                <a16:creationId xmlns:a16="http://schemas.microsoft.com/office/drawing/2014/main" id="{6EE64C4E-3389-4434-9C61-32AD55215C9F}"/>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5">
            <a:extLst>
              <a:ext uri="{FF2B5EF4-FFF2-40B4-BE49-F238E27FC236}">
                <a16:creationId xmlns:a16="http://schemas.microsoft.com/office/drawing/2014/main" id="{7A648E5A-0EFD-416C-883D-630A5DD6455F}"/>
              </a:ext>
            </a:extLst>
          </p:cNvPr>
          <p:cNvSpPr>
            <a:spLocks noGrp="1"/>
          </p:cNvSpPr>
          <p:nvPr>
            <p:ph type="sldNum" sz="quarter" idx="12"/>
          </p:nvPr>
        </p:nvSpPr>
        <p:spPr/>
        <p:txBody>
          <a:bodyPr/>
          <a:lstStyle>
            <a:lvl1pPr>
              <a:defRPr/>
            </a:lvl1pPr>
          </a:lstStyle>
          <a:p>
            <a:fld id="{EA4C10D5-EC0A-48BC-909F-CC3A503E2B66}" type="slidenum">
              <a:rPr lang="en-US" altLang="en-US"/>
              <a:pPr/>
              <a:t>‹#›</a:t>
            </a:fld>
            <a:endParaRPr lang="en-US" altLang="en-US"/>
          </a:p>
        </p:txBody>
      </p:sp>
    </p:spTree>
    <p:extLst>
      <p:ext uri="{BB962C8B-B14F-4D97-AF65-F5344CB8AC3E}">
        <p14:creationId xmlns:p14="http://schemas.microsoft.com/office/powerpoint/2010/main" val="26230992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xAndObj">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p>
            <a:r>
              <a:rPr lang="en-US"/>
              <a:t>Click to edit Master title style</a:t>
            </a:r>
          </a:p>
        </p:txBody>
      </p:sp>
      <p:sp>
        <p:nvSpPr>
          <p:cNvPr id="3" name="Text Placeholder 2"/>
          <p:cNvSpPr>
            <a:spLocks noGrp="1"/>
          </p:cNvSpPr>
          <p:nvPr>
            <p:ph type="body" sz="half" idx="1"/>
          </p:nvPr>
        </p:nvSpPr>
        <p:spPr>
          <a:xfrm>
            <a:off x="609600" y="1600201"/>
            <a:ext cx="5384800" cy="452596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600201"/>
            <a:ext cx="5384800" cy="452596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2">
            <a:extLst>
              <a:ext uri="{FF2B5EF4-FFF2-40B4-BE49-F238E27FC236}">
                <a16:creationId xmlns:a16="http://schemas.microsoft.com/office/drawing/2014/main" id="{8E754E5C-3F93-401F-B884-03E0D0083E9F}"/>
              </a:ext>
            </a:extLst>
          </p:cNvPr>
          <p:cNvSpPr>
            <a:spLocks noGrp="1" noChangeArrowheads="1"/>
          </p:cNvSpPr>
          <p:nvPr>
            <p:ph type="dt" sz="half" idx="10"/>
          </p:nvPr>
        </p:nvSpPr>
        <p:spPr/>
        <p:txBody>
          <a:bodyPr/>
          <a:lstStyle>
            <a:lvl1pPr fontAlgn="auto">
              <a:spcBef>
                <a:spcPts val="0"/>
              </a:spcBef>
              <a:spcAft>
                <a:spcPts val="0"/>
              </a:spcAft>
              <a:defRPr>
                <a:latin typeface="Arial" charset="0"/>
              </a:defRPr>
            </a:lvl1pPr>
          </a:lstStyle>
          <a:p>
            <a:pPr>
              <a:defRPr/>
            </a:pPr>
            <a:endParaRPr lang="en-US"/>
          </a:p>
        </p:txBody>
      </p:sp>
      <p:sp>
        <p:nvSpPr>
          <p:cNvPr id="6" name="Rectangle 3">
            <a:extLst>
              <a:ext uri="{FF2B5EF4-FFF2-40B4-BE49-F238E27FC236}">
                <a16:creationId xmlns:a16="http://schemas.microsoft.com/office/drawing/2014/main" id="{494348C2-EECD-46BD-AE13-B6C0658B5801}"/>
              </a:ext>
            </a:extLst>
          </p:cNvPr>
          <p:cNvSpPr>
            <a:spLocks noGrp="1" noChangeArrowheads="1"/>
          </p:cNvSpPr>
          <p:nvPr>
            <p:ph type="sldNum" sz="quarter" idx="11"/>
          </p:nvPr>
        </p:nvSpPr>
        <p:spPr/>
        <p:txBody>
          <a:bodyPr/>
          <a:lstStyle>
            <a:lvl1pPr>
              <a:defRPr/>
            </a:lvl1pPr>
          </a:lstStyle>
          <a:p>
            <a:fld id="{F8EE13E1-751F-45AC-88BD-562533008B75}" type="slidenum">
              <a:rPr lang="en-US" altLang="en-US"/>
              <a:pPr/>
              <a:t>‹#›</a:t>
            </a:fld>
            <a:endParaRPr lang="en-US" altLang="en-US"/>
          </a:p>
        </p:txBody>
      </p:sp>
      <p:sp>
        <p:nvSpPr>
          <p:cNvPr id="7" name="Rectangle 14">
            <a:extLst>
              <a:ext uri="{FF2B5EF4-FFF2-40B4-BE49-F238E27FC236}">
                <a16:creationId xmlns:a16="http://schemas.microsoft.com/office/drawing/2014/main" id="{55DF4FC6-4505-4EAC-B87C-56690083D36F}"/>
              </a:ext>
            </a:extLst>
          </p:cNvPr>
          <p:cNvSpPr>
            <a:spLocks noGrp="1" noChangeArrowheads="1"/>
          </p:cNvSpPr>
          <p:nvPr>
            <p:ph type="ftr" sz="quarter" idx="12"/>
          </p:nvPr>
        </p:nvSpPr>
        <p:spPr/>
        <p:txBody>
          <a:bodyPr/>
          <a:lstStyle>
            <a:lvl1pPr fontAlgn="auto">
              <a:spcBef>
                <a:spcPts val="0"/>
              </a:spcBef>
              <a:spcAft>
                <a:spcPts val="0"/>
              </a:spcAft>
              <a:defRPr>
                <a:latin typeface="Arial" charset="0"/>
              </a:defRPr>
            </a:lvl1pPr>
          </a:lstStyle>
          <a:p>
            <a:pPr>
              <a:defRPr/>
            </a:pPr>
            <a:endParaRPr lang="en-US"/>
          </a:p>
        </p:txBody>
      </p:sp>
    </p:spTree>
    <p:extLst>
      <p:ext uri="{BB962C8B-B14F-4D97-AF65-F5344CB8AC3E}">
        <p14:creationId xmlns:p14="http://schemas.microsoft.com/office/powerpoint/2010/main" val="2438123479"/>
      </p:ext>
    </p:extLst>
  </p:cSld>
  <p:clrMapOvr>
    <a:masterClrMapping/>
  </p:clrMapOvr>
  <p:transition>
    <p:random/>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pSp>
        <p:nvGrpSpPr>
          <p:cNvPr id="4" name="Group 2">
            <a:extLst>
              <a:ext uri="{FF2B5EF4-FFF2-40B4-BE49-F238E27FC236}">
                <a16:creationId xmlns:a16="http://schemas.microsoft.com/office/drawing/2014/main" id="{9EE9FD49-62E7-4EAF-8B2D-9184536FB0B4}"/>
              </a:ext>
            </a:extLst>
          </p:cNvPr>
          <p:cNvGrpSpPr>
            <a:grpSpLocks/>
          </p:cNvGrpSpPr>
          <p:nvPr/>
        </p:nvGrpSpPr>
        <p:grpSpPr bwMode="auto">
          <a:xfrm>
            <a:off x="1" y="1"/>
            <a:ext cx="12187767" cy="6850063"/>
            <a:chOff x="0" y="0"/>
            <a:chExt cx="5758" cy="4315"/>
          </a:xfrm>
        </p:grpSpPr>
        <p:grpSp>
          <p:nvGrpSpPr>
            <p:cNvPr id="5" name="Group 3">
              <a:extLst>
                <a:ext uri="{FF2B5EF4-FFF2-40B4-BE49-F238E27FC236}">
                  <a16:creationId xmlns:a16="http://schemas.microsoft.com/office/drawing/2014/main" id="{8FCDA12D-0D7F-4B24-926D-4D7E3F24886B}"/>
                </a:ext>
              </a:extLst>
            </p:cNvPr>
            <p:cNvGrpSpPr>
              <a:grpSpLocks/>
            </p:cNvGrpSpPr>
            <p:nvPr userDrawn="1"/>
          </p:nvGrpSpPr>
          <p:grpSpPr bwMode="auto">
            <a:xfrm>
              <a:off x="1728" y="2230"/>
              <a:ext cx="4027" cy="2085"/>
              <a:chOff x="1728" y="2230"/>
              <a:chExt cx="4027" cy="2085"/>
            </a:xfrm>
          </p:grpSpPr>
          <p:sp>
            <p:nvSpPr>
              <p:cNvPr id="8" name="Freeform 4">
                <a:extLst>
                  <a:ext uri="{FF2B5EF4-FFF2-40B4-BE49-F238E27FC236}">
                    <a16:creationId xmlns:a16="http://schemas.microsoft.com/office/drawing/2014/main" id="{3C135F00-FBAB-4B96-BC62-AA48E840E5E1}"/>
                  </a:ext>
                </a:extLst>
              </p:cNvPr>
              <p:cNvSpPr>
                <a:spLocks/>
              </p:cNvSpPr>
              <p:nvPr/>
            </p:nvSpPr>
            <p:spPr bwMode="hidden">
              <a:xfrm>
                <a:off x="1728" y="2644"/>
                <a:ext cx="2882" cy="1671"/>
              </a:xfrm>
              <a:custGeom>
                <a:avLst/>
                <a:gdLst/>
                <a:ahLst/>
                <a:cxnLst>
                  <a:cxn ang="0">
                    <a:pos x="2740" y="528"/>
                  </a:cxn>
                  <a:cxn ang="0">
                    <a:pos x="2632" y="484"/>
                  </a:cxn>
                  <a:cxn ang="0">
                    <a:pos x="2480" y="424"/>
                  </a:cxn>
                  <a:cxn ang="0">
                    <a:pos x="2203" y="343"/>
                  </a:cxn>
                  <a:cxn ang="0">
                    <a:pos x="1970" y="277"/>
                  </a:cxn>
                  <a:cxn ang="0">
                    <a:pos x="1807" y="212"/>
                  </a:cxn>
                  <a:cxn ang="0">
                    <a:pos x="1693" y="152"/>
                  </a:cxn>
                  <a:cxn ang="0">
                    <a:pos x="1628" y="103"/>
                  </a:cxn>
                  <a:cxn ang="0">
                    <a:pos x="1590" y="60"/>
                  </a:cxn>
                  <a:cxn ang="0">
                    <a:pos x="1579" y="27"/>
                  </a:cxn>
                  <a:cxn ang="0">
                    <a:pos x="1585" y="0"/>
                  </a:cxn>
                  <a:cxn ang="0">
                    <a:pos x="1557" y="49"/>
                  </a:cxn>
                  <a:cxn ang="0">
                    <a:pos x="1568" y="98"/>
                  </a:cxn>
                  <a:cxn ang="0">
                    <a:pos x="1617" y="141"/>
                  </a:cxn>
                  <a:cxn ang="0">
                    <a:pos x="1688" y="185"/>
                  </a:cxn>
                  <a:cxn ang="0">
                    <a:pos x="1791" y="228"/>
                  </a:cxn>
                  <a:cxn ang="0">
                    <a:pos x="2040" y="310"/>
                  </a:cxn>
                  <a:cxn ang="0">
                    <a:pos x="2285" y="381"/>
                  </a:cxn>
                  <a:cxn ang="0">
                    <a:pos x="2464" y="435"/>
                  </a:cxn>
                  <a:cxn ang="0">
                    <a:pos x="2605" y="484"/>
                  </a:cxn>
                  <a:cxn ang="0">
                    <a:pos x="2708" y="528"/>
                  </a:cxn>
                  <a:cxn ang="0">
                    <a:pos x="2768" y="560"/>
                  </a:cxn>
                  <a:cxn ang="0">
                    <a:pos x="2795" y="593"/>
                  </a:cxn>
                  <a:cxn ang="0">
                    <a:pos x="2795" y="642"/>
                  </a:cxn>
                  <a:cxn ang="0">
                    <a:pos x="2762" y="691"/>
                  </a:cxn>
                  <a:cxn ang="0">
                    <a:pos x="2692" y="735"/>
                  </a:cxn>
                  <a:cxn ang="0">
                    <a:pos x="2589" y="778"/>
                  </a:cxn>
                  <a:cxn ang="0">
                    <a:pos x="2458" y="822"/>
                  </a:cxn>
                  <a:cxn ang="0">
                    <a:pos x="2301" y="865"/>
                  </a:cxn>
                  <a:cxn ang="0">
                    <a:pos x="2030" y="930"/>
                  </a:cxn>
                  <a:cxn ang="0">
                    <a:pos x="1606" y="1034"/>
                  </a:cxn>
                  <a:cxn ang="0">
                    <a:pos x="1145" y="1164"/>
                  </a:cxn>
                  <a:cxn ang="0">
                    <a:pos x="673" y="1328"/>
                  </a:cxn>
                  <a:cxn ang="0">
                    <a:pos x="217" y="1545"/>
                  </a:cxn>
                  <a:cxn ang="0">
                    <a:pos x="353" y="1671"/>
                  </a:cxn>
                  <a:cxn ang="0">
                    <a:pos x="754" y="1469"/>
                  </a:cxn>
                  <a:cxn ang="0">
                    <a:pos x="1145" y="1311"/>
                  </a:cxn>
                  <a:cxn ang="0">
                    <a:pos x="1519" y="1186"/>
                  </a:cxn>
                  <a:cxn ang="0">
                    <a:pos x="1861" y="1083"/>
                  </a:cxn>
                  <a:cxn ang="0">
                    <a:pos x="2165" y="1007"/>
                  </a:cxn>
                  <a:cxn ang="0">
                    <a:pos x="2426" y="947"/>
                  </a:cxn>
                  <a:cxn ang="0">
                    <a:pos x="2626" y="892"/>
                  </a:cxn>
                  <a:cxn ang="0">
                    <a:pos x="2762" y="838"/>
                  </a:cxn>
                  <a:cxn ang="0">
                    <a:pos x="2827" y="794"/>
                  </a:cxn>
                  <a:cxn ang="0">
                    <a:pos x="2865" y="745"/>
                  </a:cxn>
                  <a:cxn ang="0">
                    <a:pos x="2882" y="702"/>
                  </a:cxn>
                  <a:cxn ang="0">
                    <a:pos x="2854" y="620"/>
                  </a:cxn>
                  <a:cxn ang="0">
                    <a:pos x="2800" y="560"/>
                  </a:cxn>
                  <a:cxn ang="0">
                    <a:pos x="2773" y="544"/>
                  </a:cxn>
                </a:cxnLst>
                <a:rect l="0" t="0" r="r" b="b"/>
                <a:pathLst>
                  <a:path w="2882" h="1671">
                    <a:moveTo>
                      <a:pt x="2773" y="544"/>
                    </a:moveTo>
                    <a:lnTo>
                      <a:pt x="2740" y="528"/>
                    </a:lnTo>
                    <a:lnTo>
                      <a:pt x="2692" y="506"/>
                    </a:lnTo>
                    <a:lnTo>
                      <a:pt x="2632" y="484"/>
                    </a:lnTo>
                    <a:lnTo>
                      <a:pt x="2561" y="457"/>
                    </a:lnTo>
                    <a:lnTo>
                      <a:pt x="2480" y="424"/>
                    </a:lnTo>
                    <a:lnTo>
                      <a:pt x="2388" y="397"/>
                    </a:lnTo>
                    <a:lnTo>
                      <a:pt x="2203" y="343"/>
                    </a:lnTo>
                    <a:lnTo>
                      <a:pt x="2078" y="310"/>
                    </a:lnTo>
                    <a:lnTo>
                      <a:pt x="1970" y="277"/>
                    </a:lnTo>
                    <a:lnTo>
                      <a:pt x="1878" y="245"/>
                    </a:lnTo>
                    <a:lnTo>
                      <a:pt x="1807" y="212"/>
                    </a:lnTo>
                    <a:lnTo>
                      <a:pt x="1742" y="179"/>
                    </a:lnTo>
                    <a:lnTo>
                      <a:pt x="1693" y="152"/>
                    </a:lnTo>
                    <a:lnTo>
                      <a:pt x="1655" y="125"/>
                    </a:lnTo>
                    <a:lnTo>
                      <a:pt x="1628" y="103"/>
                    </a:lnTo>
                    <a:lnTo>
                      <a:pt x="1606" y="81"/>
                    </a:lnTo>
                    <a:lnTo>
                      <a:pt x="1590" y="60"/>
                    </a:lnTo>
                    <a:lnTo>
                      <a:pt x="1585" y="43"/>
                    </a:lnTo>
                    <a:lnTo>
                      <a:pt x="1579" y="27"/>
                    </a:lnTo>
                    <a:lnTo>
                      <a:pt x="1585" y="5"/>
                    </a:lnTo>
                    <a:lnTo>
                      <a:pt x="1585" y="0"/>
                    </a:lnTo>
                    <a:lnTo>
                      <a:pt x="1568" y="27"/>
                    </a:lnTo>
                    <a:lnTo>
                      <a:pt x="1557" y="49"/>
                    </a:lnTo>
                    <a:lnTo>
                      <a:pt x="1557" y="76"/>
                    </a:lnTo>
                    <a:lnTo>
                      <a:pt x="1568" y="98"/>
                    </a:lnTo>
                    <a:lnTo>
                      <a:pt x="1590" y="120"/>
                    </a:lnTo>
                    <a:lnTo>
                      <a:pt x="1617" y="141"/>
                    </a:lnTo>
                    <a:lnTo>
                      <a:pt x="1650" y="163"/>
                    </a:lnTo>
                    <a:lnTo>
                      <a:pt x="1688" y="185"/>
                    </a:lnTo>
                    <a:lnTo>
                      <a:pt x="1737" y="207"/>
                    </a:lnTo>
                    <a:lnTo>
                      <a:pt x="1791" y="228"/>
                    </a:lnTo>
                    <a:lnTo>
                      <a:pt x="1905" y="267"/>
                    </a:lnTo>
                    <a:lnTo>
                      <a:pt x="2040" y="310"/>
                    </a:lnTo>
                    <a:lnTo>
                      <a:pt x="2182" y="348"/>
                    </a:lnTo>
                    <a:lnTo>
                      <a:pt x="2285" y="381"/>
                    </a:lnTo>
                    <a:lnTo>
                      <a:pt x="2382" y="408"/>
                    </a:lnTo>
                    <a:lnTo>
                      <a:pt x="2464" y="435"/>
                    </a:lnTo>
                    <a:lnTo>
                      <a:pt x="2540" y="462"/>
                    </a:lnTo>
                    <a:lnTo>
                      <a:pt x="2605" y="484"/>
                    </a:lnTo>
                    <a:lnTo>
                      <a:pt x="2659" y="506"/>
                    </a:lnTo>
                    <a:lnTo>
                      <a:pt x="2708" y="528"/>
                    </a:lnTo>
                    <a:lnTo>
                      <a:pt x="2740" y="544"/>
                    </a:lnTo>
                    <a:lnTo>
                      <a:pt x="2768" y="560"/>
                    </a:lnTo>
                    <a:lnTo>
                      <a:pt x="2784" y="577"/>
                    </a:lnTo>
                    <a:lnTo>
                      <a:pt x="2795" y="593"/>
                    </a:lnTo>
                    <a:lnTo>
                      <a:pt x="2800" y="615"/>
                    </a:lnTo>
                    <a:lnTo>
                      <a:pt x="2795" y="642"/>
                    </a:lnTo>
                    <a:lnTo>
                      <a:pt x="2784" y="664"/>
                    </a:lnTo>
                    <a:lnTo>
                      <a:pt x="2762" y="691"/>
                    </a:lnTo>
                    <a:lnTo>
                      <a:pt x="2730" y="713"/>
                    </a:lnTo>
                    <a:lnTo>
                      <a:pt x="2692" y="735"/>
                    </a:lnTo>
                    <a:lnTo>
                      <a:pt x="2643" y="756"/>
                    </a:lnTo>
                    <a:lnTo>
                      <a:pt x="2589" y="778"/>
                    </a:lnTo>
                    <a:lnTo>
                      <a:pt x="2529" y="800"/>
                    </a:lnTo>
                    <a:lnTo>
                      <a:pt x="2458" y="822"/>
                    </a:lnTo>
                    <a:lnTo>
                      <a:pt x="2382" y="843"/>
                    </a:lnTo>
                    <a:lnTo>
                      <a:pt x="2301" y="865"/>
                    </a:lnTo>
                    <a:lnTo>
                      <a:pt x="2214" y="887"/>
                    </a:lnTo>
                    <a:lnTo>
                      <a:pt x="2030" y="930"/>
                    </a:lnTo>
                    <a:lnTo>
                      <a:pt x="1823" y="979"/>
                    </a:lnTo>
                    <a:lnTo>
                      <a:pt x="1606" y="1034"/>
                    </a:lnTo>
                    <a:lnTo>
                      <a:pt x="1378" y="1094"/>
                    </a:lnTo>
                    <a:lnTo>
                      <a:pt x="1145" y="1164"/>
                    </a:lnTo>
                    <a:lnTo>
                      <a:pt x="912" y="1241"/>
                    </a:lnTo>
                    <a:lnTo>
                      <a:pt x="673" y="1328"/>
                    </a:lnTo>
                    <a:lnTo>
                      <a:pt x="440" y="1431"/>
                    </a:lnTo>
                    <a:lnTo>
                      <a:pt x="217" y="1545"/>
                    </a:lnTo>
                    <a:lnTo>
                      <a:pt x="0" y="1671"/>
                    </a:lnTo>
                    <a:lnTo>
                      <a:pt x="353" y="1671"/>
                    </a:lnTo>
                    <a:lnTo>
                      <a:pt x="554" y="1567"/>
                    </a:lnTo>
                    <a:lnTo>
                      <a:pt x="754" y="1469"/>
                    </a:lnTo>
                    <a:lnTo>
                      <a:pt x="955" y="1388"/>
                    </a:lnTo>
                    <a:lnTo>
                      <a:pt x="1145" y="1311"/>
                    </a:lnTo>
                    <a:lnTo>
                      <a:pt x="1335" y="1241"/>
                    </a:lnTo>
                    <a:lnTo>
                      <a:pt x="1519" y="1186"/>
                    </a:lnTo>
                    <a:lnTo>
                      <a:pt x="1693" y="1132"/>
                    </a:lnTo>
                    <a:lnTo>
                      <a:pt x="1861" y="1083"/>
                    </a:lnTo>
                    <a:lnTo>
                      <a:pt x="2019" y="1045"/>
                    </a:lnTo>
                    <a:lnTo>
                      <a:pt x="2165" y="1007"/>
                    </a:lnTo>
                    <a:lnTo>
                      <a:pt x="2301" y="974"/>
                    </a:lnTo>
                    <a:lnTo>
                      <a:pt x="2426" y="947"/>
                    </a:lnTo>
                    <a:lnTo>
                      <a:pt x="2534" y="914"/>
                    </a:lnTo>
                    <a:lnTo>
                      <a:pt x="2626" y="892"/>
                    </a:lnTo>
                    <a:lnTo>
                      <a:pt x="2702" y="865"/>
                    </a:lnTo>
                    <a:lnTo>
                      <a:pt x="2762" y="838"/>
                    </a:lnTo>
                    <a:lnTo>
                      <a:pt x="2800" y="816"/>
                    </a:lnTo>
                    <a:lnTo>
                      <a:pt x="2827" y="794"/>
                    </a:lnTo>
                    <a:lnTo>
                      <a:pt x="2849" y="767"/>
                    </a:lnTo>
                    <a:lnTo>
                      <a:pt x="2865" y="745"/>
                    </a:lnTo>
                    <a:lnTo>
                      <a:pt x="2876" y="724"/>
                    </a:lnTo>
                    <a:lnTo>
                      <a:pt x="2882" y="702"/>
                    </a:lnTo>
                    <a:lnTo>
                      <a:pt x="2876" y="658"/>
                    </a:lnTo>
                    <a:lnTo>
                      <a:pt x="2854" y="620"/>
                    </a:lnTo>
                    <a:lnTo>
                      <a:pt x="2833" y="588"/>
                    </a:lnTo>
                    <a:lnTo>
                      <a:pt x="2800" y="560"/>
                    </a:lnTo>
                    <a:lnTo>
                      <a:pt x="2773" y="544"/>
                    </a:lnTo>
                    <a:lnTo>
                      <a:pt x="2773" y="544"/>
                    </a:lnTo>
                    <a:close/>
                  </a:path>
                </a:pathLst>
              </a:custGeom>
              <a:gradFill rotWithShape="0">
                <a:gsLst>
                  <a:gs pos="0">
                    <a:schemeClr val="bg1"/>
                  </a:gs>
                  <a:gs pos="100000">
                    <a:schemeClr val="bg1">
                      <a:gamma/>
                      <a:shade val="90980"/>
                      <a:invGamma/>
                    </a:schemeClr>
                  </a:gs>
                </a:gsLst>
                <a:lin ang="0" scaled="1"/>
              </a:gradFill>
              <a:ln w="9525">
                <a:noFill/>
                <a:round/>
                <a:headEnd/>
                <a:tailEnd/>
              </a:ln>
            </p:spPr>
            <p:txBody>
              <a:bodyPr/>
              <a:lstStyle/>
              <a:p>
                <a:pPr eaLnBrk="0" hangingPunct="0">
                  <a:defRPr/>
                </a:pPr>
                <a:endParaRPr lang="en-US" sz="1800">
                  <a:solidFill>
                    <a:srgbClr val="FFFFFF"/>
                  </a:solidFill>
                  <a:latin typeface="+mn-lt"/>
                  <a:cs typeface="Arial" charset="0"/>
                </a:endParaRPr>
              </a:p>
            </p:txBody>
          </p:sp>
          <p:sp>
            <p:nvSpPr>
              <p:cNvPr id="9" name="Freeform 5">
                <a:extLst>
                  <a:ext uri="{FF2B5EF4-FFF2-40B4-BE49-F238E27FC236}">
                    <a16:creationId xmlns:a16="http://schemas.microsoft.com/office/drawing/2014/main" id="{9D5DD18F-193D-43A6-B9CA-44C74E0321E5}"/>
                  </a:ext>
                </a:extLst>
              </p:cNvPr>
              <p:cNvSpPr>
                <a:spLocks/>
              </p:cNvSpPr>
              <p:nvPr/>
            </p:nvSpPr>
            <p:spPr bwMode="hidden">
              <a:xfrm>
                <a:off x="4170" y="2671"/>
                <a:ext cx="1259" cy="811"/>
              </a:xfrm>
              <a:custGeom>
                <a:avLst/>
                <a:gdLst/>
                <a:ahLst/>
                <a:cxnLst>
                  <a:cxn ang="0">
                    <a:pos x="1259" y="615"/>
                  </a:cxn>
                  <a:cxn ang="0">
                    <a:pos x="1248" y="588"/>
                  </a:cxn>
                  <a:cxn ang="0">
                    <a:pos x="1237" y="566"/>
                  </a:cxn>
                  <a:cxn ang="0">
                    <a:pos x="1216" y="539"/>
                  </a:cxn>
                  <a:cxn ang="0">
                    <a:pos x="1188" y="517"/>
                  </a:cxn>
                  <a:cxn ang="0">
                    <a:pos x="1123" y="479"/>
                  </a:cxn>
                  <a:cxn ang="0">
                    <a:pos x="1042" y="441"/>
                  </a:cxn>
                  <a:cxn ang="0">
                    <a:pos x="944" y="408"/>
                  </a:cxn>
                  <a:cxn ang="0">
                    <a:pos x="841" y="381"/>
                  </a:cxn>
                  <a:cxn ang="0">
                    <a:pos x="727" y="348"/>
                  </a:cxn>
                  <a:cxn ang="0">
                    <a:pos x="613" y="321"/>
                  </a:cxn>
                  <a:cxn ang="0">
                    <a:pos x="499" y="294"/>
                  </a:cxn>
                  <a:cxn ang="0">
                    <a:pos x="391" y="261"/>
                  </a:cxn>
                  <a:cxn ang="0">
                    <a:pos x="288" y="229"/>
                  </a:cxn>
                  <a:cxn ang="0">
                    <a:pos x="195" y="196"/>
                  </a:cxn>
                  <a:cxn ang="0">
                    <a:pos x="119" y="152"/>
                  </a:cxn>
                  <a:cxn ang="0">
                    <a:pos x="54" y="109"/>
                  </a:cxn>
                  <a:cxn ang="0">
                    <a:pos x="33" y="87"/>
                  </a:cxn>
                  <a:cxn ang="0">
                    <a:pos x="16" y="60"/>
                  </a:cxn>
                  <a:cxn ang="0">
                    <a:pos x="5" y="33"/>
                  </a:cxn>
                  <a:cxn ang="0">
                    <a:pos x="0" y="0"/>
                  </a:cxn>
                  <a:cxn ang="0">
                    <a:pos x="0" y="6"/>
                  </a:cxn>
                  <a:cxn ang="0">
                    <a:pos x="0" y="11"/>
                  </a:cxn>
                  <a:cxn ang="0">
                    <a:pos x="0" y="38"/>
                  </a:cxn>
                  <a:cxn ang="0">
                    <a:pos x="5" y="60"/>
                  </a:cxn>
                  <a:cxn ang="0">
                    <a:pos x="16" y="87"/>
                  </a:cxn>
                  <a:cxn ang="0">
                    <a:pos x="33" y="114"/>
                  </a:cxn>
                  <a:cxn ang="0">
                    <a:pos x="54" y="142"/>
                  </a:cxn>
                  <a:cxn ang="0">
                    <a:pos x="87" y="174"/>
                  </a:cxn>
                  <a:cxn ang="0">
                    <a:pos x="125" y="207"/>
                  </a:cxn>
                  <a:cxn ang="0">
                    <a:pos x="179" y="240"/>
                  </a:cxn>
                  <a:cxn ang="0">
                    <a:pos x="244" y="278"/>
                  </a:cxn>
                  <a:cxn ang="0">
                    <a:pos x="326" y="310"/>
                  </a:cxn>
                  <a:cxn ang="0">
                    <a:pos x="418" y="348"/>
                  </a:cxn>
                  <a:cxn ang="0">
                    <a:pos x="526" y="381"/>
                  </a:cxn>
                  <a:cxn ang="0">
                    <a:pos x="657" y="414"/>
                  </a:cxn>
                  <a:cxn ang="0">
                    <a:pos x="749" y="435"/>
                  </a:cxn>
                  <a:cxn ang="0">
                    <a:pos x="830" y="463"/>
                  </a:cxn>
                  <a:cxn ang="0">
                    <a:pos x="901" y="490"/>
                  </a:cxn>
                  <a:cxn ang="0">
                    <a:pos x="966" y="512"/>
                  </a:cxn>
                  <a:cxn ang="0">
                    <a:pos x="1015" y="539"/>
                  </a:cxn>
                  <a:cxn ang="0">
                    <a:pos x="1053" y="566"/>
                  </a:cxn>
                  <a:cxn ang="0">
                    <a:pos x="1080" y="593"/>
                  </a:cxn>
                  <a:cxn ang="0">
                    <a:pos x="1102" y="620"/>
                  </a:cxn>
                  <a:cxn ang="0">
                    <a:pos x="1112" y="648"/>
                  </a:cxn>
                  <a:cxn ang="0">
                    <a:pos x="1118" y="675"/>
                  </a:cxn>
                  <a:cxn ang="0">
                    <a:pos x="1112" y="697"/>
                  </a:cxn>
                  <a:cxn ang="0">
                    <a:pos x="1096" y="724"/>
                  </a:cxn>
                  <a:cxn ang="0">
                    <a:pos x="1080" y="746"/>
                  </a:cxn>
                  <a:cxn ang="0">
                    <a:pos x="1053" y="767"/>
                  </a:cxn>
                  <a:cxn ang="0">
                    <a:pos x="1015" y="789"/>
                  </a:cxn>
                  <a:cxn ang="0">
                    <a:pos x="977" y="811"/>
                  </a:cxn>
                  <a:cxn ang="0">
                    <a:pos x="1047" y="789"/>
                  </a:cxn>
                  <a:cxn ang="0">
                    <a:pos x="1107" y="767"/>
                  </a:cxn>
                  <a:cxn ang="0">
                    <a:pos x="1156" y="746"/>
                  </a:cxn>
                  <a:cxn ang="0">
                    <a:pos x="1199" y="724"/>
                  </a:cxn>
                  <a:cxn ang="0">
                    <a:pos x="1226" y="702"/>
                  </a:cxn>
                  <a:cxn ang="0">
                    <a:pos x="1248" y="675"/>
                  </a:cxn>
                  <a:cxn ang="0">
                    <a:pos x="1259" y="648"/>
                  </a:cxn>
                  <a:cxn ang="0">
                    <a:pos x="1259" y="615"/>
                  </a:cxn>
                  <a:cxn ang="0">
                    <a:pos x="1259" y="615"/>
                  </a:cxn>
                </a:cxnLst>
                <a:rect l="0" t="0" r="r" b="b"/>
                <a:pathLst>
                  <a:path w="1259" h="811">
                    <a:moveTo>
                      <a:pt x="1259" y="615"/>
                    </a:moveTo>
                    <a:lnTo>
                      <a:pt x="1248" y="588"/>
                    </a:lnTo>
                    <a:lnTo>
                      <a:pt x="1237" y="566"/>
                    </a:lnTo>
                    <a:lnTo>
                      <a:pt x="1216" y="539"/>
                    </a:lnTo>
                    <a:lnTo>
                      <a:pt x="1188" y="517"/>
                    </a:lnTo>
                    <a:lnTo>
                      <a:pt x="1123" y="479"/>
                    </a:lnTo>
                    <a:lnTo>
                      <a:pt x="1042" y="441"/>
                    </a:lnTo>
                    <a:lnTo>
                      <a:pt x="944" y="408"/>
                    </a:lnTo>
                    <a:lnTo>
                      <a:pt x="841" y="381"/>
                    </a:lnTo>
                    <a:lnTo>
                      <a:pt x="727" y="348"/>
                    </a:lnTo>
                    <a:lnTo>
                      <a:pt x="613" y="321"/>
                    </a:lnTo>
                    <a:lnTo>
                      <a:pt x="499" y="294"/>
                    </a:lnTo>
                    <a:lnTo>
                      <a:pt x="391" y="261"/>
                    </a:lnTo>
                    <a:lnTo>
                      <a:pt x="288" y="229"/>
                    </a:lnTo>
                    <a:lnTo>
                      <a:pt x="195" y="196"/>
                    </a:lnTo>
                    <a:lnTo>
                      <a:pt x="119" y="152"/>
                    </a:lnTo>
                    <a:lnTo>
                      <a:pt x="54" y="109"/>
                    </a:lnTo>
                    <a:lnTo>
                      <a:pt x="33" y="87"/>
                    </a:lnTo>
                    <a:lnTo>
                      <a:pt x="16" y="60"/>
                    </a:lnTo>
                    <a:lnTo>
                      <a:pt x="5" y="33"/>
                    </a:lnTo>
                    <a:lnTo>
                      <a:pt x="0" y="0"/>
                    </a:lnTo>
                    <a:lnTo>
                      <a:pt x="0" y="6"/>
                    </a:lnTo>
                    <a:lnTo>
                      <a:pt x="0" y="11"/>
                    </a:lnTo>
                    <a:lnTo>
                      <a:pt x="0" y="38"/>
                    </a:lnTo>
                    <a:lnTo>
                      <a:pt x="5" y="60"/>
                    </a:lnTo>
                    <a:lnTo>
                      <a:pt x="16" y="87"/>
                    </a:lnTo>
                    <a:lnTo>
                      <a:pt x="33" y="114"/>
                    </a:lnTo>
                    <a:lnTo>
                      <a:pt x="54" y="142"/>
                    </a:lnTo>
                    <a:lnTo>
                      <a:pt x="87" y="174"/>
                    </a:lnTo>
                    <a:lnTo>
                      <a:pt x="125" y="207"/>
                    </a:lnTo>
                    <a:lnTo>
                      <a:pt x="179" y="240"/>
                    </a:lnTo>
                    <a:lnTo>
                      <a:pt x="244" y="278"/>
                    </a:lnTo>
                    <a:lnTo>
                      <a:pt x="326" y="310"/>
                    </a:lnTo>
                    <a:lnTo>
                      <a:pt x="418" y="348"/>
                    </a:lnTo>
                    <a:lnTo>
                      <a:pt x="526" y="381"/>
                    </a:lnTo>
                    <a:lnTo>
                      <a:pt x="657" y="414"/>
                    </a:lnTo>
                    <a:lnTo>
                      <a:pt x="749" y="435"/>
                    </a:lnTo>
                    <a:lnTo>
                      <a:pt x="830" y="463"/>
                    </a:lnTo>
                    <a:lnTo>
                      <a:pt x="901" y="490"/>
                    </a:lnTo>
                    <a:lnTo>
                      <a:pt x="966" y="512"/>
                    </a:lnTo>
                    <a:lnTo>
                      <a:pt x="1015" y="539"/>
                    </a:lnTo>
                    <a:lnTo>
                      <a:pt x="1053" y="566"/>
                    </a:lnTo>
                    <a:lnTo>
                      <a:pt x="1080" y="593"/>
                    </a:lnTo>
                    <a:lnTo>
                      <a:pt x="1102" y="620"/>
                    </a:lnTo>
                    <a:lnTo>
                      <a:pt x="1112" y="648"/>
                    </a:lnTo>
                    <a:lnTo>
                      <a:pt x="1118" y="675"/>
                    </a:lnTo>
                    <a:lnTo>
                      <a:pt x="1112" y="697"/>
                    </a:lnTo>
                    <a:lnTo>
                      <a:pt x="1096" y="724"/>
                    </a:lnTo>
                    <a:lnTo>
                      <a:pt x="1080" y="746"/>
                    </a:lnTo>
                    <a:lnTo>
                      <a:pt x="1053" y="767"/>
                    </a:lnTo>
                    <a:lnTo>
                      <a:pt x="1015" y="789"/>
                    </a:lnTo>
                    <a:lnTo>
                      <a:pt x="977" y="811"/>
                    </a:lnTo>
                    <a:lnTo>
                      <a:pt x="1047" y="789"/>
                    </a:lnTo>
                    <a:lnTo>
                      <a:pt x="1107" y="767"/>
                    </a:lnTo>
                    <a:lnTo>
                      <a:pt x="1156" y="746"/>
                    </a:lnTo>
                    <a:lnTo>
                      <a:pt x="1199" y="724"/>
                    </a:lnTo>
                    <a:lnTo>
                      <a:pt x="1226" y="702"/>
                    </a:lnTo>
                    <a:lnTo>
                      <a:pt x="1248" y="675"/>
                    </a:lnTo>
                    <a:lnTo>
                      <a:pt x="1259" y="648"/>
                    </a:lnTo>
                    <a:lnTo>
                      <a:pt x="1259" y="615"/>
                    </a:lnTo>
                    <a:lnTo>
                      <a:pt x="1259" y="615"/>
                    </a:lnTo>
                    <a:close/>
                  </a:path>
                </a:pathLst>
              </a:custGeom>
              <a:gradFill rotWithShape="0">
                <a:gsLst>
                  <a:gs pos="0">
                    <a:schemeClr val="bg1"/>
                  </a:gs>
                  <a:gs pos="100000">
                    <a:schemeClr val="bg1">
                      <a:gamma/>
                      <a:shade val="90980"/>
                      <a:invGamma/>
                    </a:schemeClr>
                  </a:gs>
                </a:gsLst>
                <a:lin ang="2700000" scaled="1"/>
              </a:gradFill>
              <a:ln w="9525">
                <a:noFill/>
                <a:round/>
                <a:headEnd/>
                <a:tailEnd/>
              </a:ln>
            </p:spPr>
            <p:txBody>
              <a:bodyPr/>
              <a:lstStyle/>
              <a:p>
                <a:pPr eaLnBrk="0" hangingPunct="0">
                  <a:defRPr/>
                </a:pPr>
                <a:endParaRPr lang="en-US" sz="1800">
                  <a:solidFill>
                    <a:srgbClr val="FFFFFF"/>
                  </a:solidFill>
                  <a:latin typeface="+mn-lt"/>
                  <a:cs typeface="Arial" charset="0"/>
                </a:endParaRPr>
              </a:p>
            </p:txBody>
          </p:sp>
          <p:sp>
            <p:nvSpPr>
              <p:cNvPr id="10" name="Freeform 6">
                <a:extLst>
                  <a:ext uri="{FF2B5EF4-FFF2-40B4-BE49-F238E27FC236}">
                    <a16:creationId xmlns:a16="http://schemas.microsoft.com/office/drawing/2014/main" id="{6982C7FF-35F0-4E34-93C2-FAE94D48E560}"/>
                  </a:ext>
                </a:extLst>
              </p:cNvPr>
              <p:cNvSpPr>
                <a:spLocks/>
              </p:cNvSpPr>
              <p:nvPr/>
            </p:nvSpPr>
            <p:spPr bwMode="hidden">
              <a:xfrm>
                <a:off x="2900" y="3346"/>
                <a:ext cx="2849" cy="969"/>
              </a:xfrm>
              <a:custGeom>
                <a:avLst/>
                <a:gdLst/>
                <a:ahLst/>
                <a:cxnLst>
                  <a:cxn ang="0">
                    <a:pos x="92" y="958"/>
                  </a:cxn>
                  <a:cxn ang="0">
                    <a:pos x="0" y="969"/>
                  </a:cxn>
                  <a:cxn ang="0">
                    <a:pos x="391" y="969"/>
                  </a:cxn>
                  <a:cxn ang="0">
                    <a:pos x="434" y="947"/>
                  </a:cxn>
                  <a:cxn ang="0">
                    <a:pos x="483" y="914"/>
                  </a:cxn>
                  <a:cxn ang="0">
                    <a:pos x="554" y="876"/>
                  </a:cxn>
                  <a:cxn ang="0">
                    <a:pos x="635" y="838"/>
                  </a:cxn>
                  <a:cxn ang="0">
                    <a:pos x="727" y="794"/>
                  </a:cxn>
                  <a:cxn ang="0">
                    <a:pos x="836" y="745"/>
                  </a:cxn>
                  <a:cxn ang="0">
                    <a:pos x="961" y="696"/>
                  </a:cxn>
                  <a:cxn ang="0">
                    <a:pos x="1102" y="642"/>
                  </a:cxn>
                  <a:cxn ang="0">
                    <a:pos x="1259" y="582"/>
                  </a:cxn>
                  <a:cxn ang="0">
                    <a:pos x="1433" y="522"/>
                  </a:cxn>
                  <a:cxn ang="0">
                    <a:pos x="1623" y="462"/>
                  </a:cxn>
                  <a:cxn ang="0">
                    <a:pos x="1829" y="403"/>
                  </a:cxn>
                  <a:cxn ang="0">
                    <a:pos x="2057" y="343"/>
                  </a:cxn>
                  <a:cxn ang="0">
                    <a:pos x="2301" y="283"/>
                  </a:cxn>
                  <a:cxn ang="0">
                    <a:pos x="2567" y="223"/>
                  </a:cxn>
                  <a:cxn ang="0">
                    <a:pos x="2849" y="163"/>
                  </a:cxn>
                  <a:cxn ang="0">
                    <a:pos x="2849" y="0"/>
                  </a:cxn>
                  <a:cxn ang="0">
                    <a:pos x="2817" y="16"/>
                  </a:cxn>
                  <a:cxn ang="0">
                    <a:pos x="2773" y="33"/>
                  </a:cxn>
                  <a:cxn ang="0">
                    <a:pos x="2719" y="54"/>
                  </a:cxn>
                  <a:cxn ang="0">
                    <a:pos x="2648" y="76"/>
                  </a:cxn>
                  <a:cxn ang="0">
                    <a:pos x="2572" y="98"/>
                  </a:cxn>
                  <a:cxn ang="0">
                    <a:pos x="2491" y="120"/>
                  </a:cxn>
                  <a:cxn ang="0">
                    <a:pos x="2399" y="147"/>
                  </a:cxn>
                  <a:cxn ang="0">
                    <a:pos x="2301" y="169"/>
                  </a:cxn>
                  <a:cxn ang="0">
                    <a:pos x="2095" y="223"/>
                  </a:cxn>
                  <a:cxn ang="0">
                    <a:pos x="1889" y="277"/>
                  </a:cxn>
                  <a:cxn ang="0">
                    <a:pos x="1688" y="326"/>
                  </a:cxn>
                  <a:cxn ang="0">
                    <a:pos x="1590" y="354"/>
                  </a:cxn>
                  <a:cxn ang="0">
                    <a:pos x="1503" y="381"/>
                  </a:cxn>
                  <a:cxn ang="0">
                    <a:pos x="1107" y="506"/>
                  </a:cxn>
                  <a:cxn ang="0">
                    <a:pos x="912" y="577"/>
                  </a:cxn>
                  <a:cxn ang="0">
                    <a:pos x="727" y="647"/>
                  </a:cxn>
                  <a:cxn ang="0">
                    <a:pos x="548" y="718"/>
                  </a:cxn>
                  <a:cxn ang="0">
                    <a:pos x="380" y="794"/>
                  </a:cxn>
                  <a:cxn ang="0">
                    <a:pos x="228" y="876"/>
                  </a:cxn>
                  <a:cxn ang="0">
                    <a:pos x="92" y="958"/>
                  </a:cxn>
                  <a:cxn ang="0">
                    <a:pos x="92" y="958"/>
                  </a:cxn>
                </a:cxnLst>
                <a:rect l="0" t="0" r="r" b="b"/>
                <a:pathLst>
                  <a:path w="2849" h="969">
                    <a:moveTo>
                      <a:pt x="92" y="958"/>
                    </a:moveTo>
                    <a:lnTo>
                      <a:pt x="0" y="969"/>
                    </a:lnTo>
                    <a:lnTo>
                      <a:pt x="391" y="969"/>
                    </a:lnTo>
                    <a:lnTo>
                      <a:pt x="434" y="947"/>
                    </a:lnTo>
                    <a:lnTo>
                      <a:pt x="483" y="914"/>
                    </a:lnTo>
                    <a:lnTo>
                      <a:pt x="554" y="876"/>
                    </a:lnTo>
                    <a:lnTo>
                      <a:pt x="635" y="838"/>
                    </a:lnTo>
                    <a:lnTo>
                      <a:pt x="727" y="794"/>
                    </a:lnTo>
                    <a:lnTo>
                      <a:pt x="836" y="745"/>
                    </a:lnTo>
                    <a:lnTo>
                      <a:pt x="961" y="696"/>
                    </a:lnTo>
                    <a:lnTo>
                      <a:pt x="1102" y="642"/>
                    </a:lnTo>
                    <a:lnTo>
                      <a:pt x="1259" y="582"/>
                    </a:lnTo>
                    <a:lnTo>
                      <a:pt x="1433" y="522"/>
                    </a:lnTo>
                    <a:lnTo>
                      <a:pt x="1623" y="462"/>
                    </a:lnTo>
                    <a:lnTo>
                      <a:pt x="1829" y="403"/>
                    </a:lnTo>
                    <a:lnTo>
                      <a:pt x="2057" y="343"/>
                    </a:lnTo>
                    <a:lnTo>
                      <a:pt x="2301" y="283"/>
                    </a:lnTo>
                    <a:lnTo>
                      <a:pt x="2567" y="223"/>
                    </a:lnTo>
                    <a:lnTo>
                      <a:pt x="2849" y="163"/>
                    </a:lnTo>
                    <a:lnTo>
                      <a:pt x="2849" y="0"/>
                    </a:lnTo>
                    <a:lnTo>
                      <a:pt x="2817" y="16"/>
                    </a:lnTo>
                    <a:lnTo>
                      <a:pt x="2773" y="33"/>
                    </a:lnTo>
                    <a:lnTo>
                      <a:pt x="2719" y="54"/>
                    </a:lnTo>
                    <a:lnTo>
                      <a:pt x="2648" y="76"/>
                    </a:lnTo>
                    <a:lnTo>
                      <a:pt x="2572" y="98"/>
                    </a:lnTo>
                    <a:lnTo>
                      <a:pt x="2491" y="120"/>
                    </a:lnTo>
                    <a:lnTo>
                      <a:pt x="2399" y="147"/>
                    </a:lnTo>
                    <a:lnTo>
                      <a:pt x="2301" y="169"/>
                    </a:lnTo>
                    <a:lnTo>
                      <a:pt x="2095" y="223"/>
                    </a:lnTo>
                    <a:lnTo>
                      <a:pt x="1889" y="277"/>
                    </a:lnTo>
                    <a:lnTo>
                      <a:pt x="1688" y="326"/>
                    </a:lnTo>
                    <a:lnTo>
                      <a:pt x="1590" y="354"/>
                    </a:lnTo>
                    <a:lnTo>
                      <a:pt x="1503" y="381"/>
                    </a:lnTo>
                    <a:lnTo>
                      <a:pt x="1107" y="506"/>
                    </a:lnTo>
                    <a:lnTo>
                      <a:pt x="912" y="577"/>
                    </a:lnTo>
                    <a:lnTo>
                      <a:pt x="727" y="647"/>
                    </a:lnTo>
                    <a:lnTo>
                      <a:pt x="548" y="718"/>
                    </a:lnTo>
                    <a:lnTo>
                      <a:pt x="380" y="794"/>
                    </a:lnTo>
                    <a:lnTo>
                      <a:pt x="228" y="876"/>
                    </a:lnTo>
                    <a:lnTo>
                      <a:pt x="92" y="958"/>
                    </a:lnTo>
                    <a:lnTo>
                      <a:pt x="92" y="958"/>
                    </a:lnTo>
                    <a:close/>
                  </a:path>
                </a:pathLst>
              </a:custGeom>
              <a:gradFill rotWithShape="0">
                <a:gsLst>
                  <a:gs pos="0">
                    <a:schemeClr val="bg1">
                      <a:gamma/>
                      <a:shade val="81961"/>
                      <a:invGamma/>
                    </a:schemeClr>
                  </a:gs>
                  <a:gs pos="100000">
                    <a:schemeClr val="bg1"/>
                  </a:gs>
                </a:gsLst>
                <a:lin ang="5400000" scaled="1"/>
              </a:gradFill>
              <a:ln w="9525">
                <a:noFill/>
                <a:round/>
                <a:headEnd/>
                <a:tailEnd/>
              </a:ln>
            </p:spPr>
            <p:txBody>
              <a:bodyPr/>
              <a:lstStyle/>
              <a:p>
                <a:pPr eaLnBrk="0" hangingPunct="0">
                  <a:defRPr/>
                </a:pPr>
                <a:endParaRPr lang="en-US" sz="1800">
                  <a:solidFill>
                    <a:srgbClr val="FFFFFF"/>
                  </a:solidFill>
                  <a:latin typeface="+mn-lt"/>
                  <a:cs typeface="Arial" charset="0"/>
                </a:endParaRPr>
              </a:p>
            </p:txBody>
          </p:sp>
          <p:sp>
            <p:nvSpPr>
              <p:cNvPr id="11" name="Freeform 7">
                <a:extLst>
                  <a:ext uri="{FF2B5EF4-FFF2-40B4-BE49-F238E27FC236}">
                    <a16:creationId xmlns:a16="http://schemas.microsoft.com/office/drawing/2014/main" id="{2DD2E1B1-526A-45C9-8A72-1B8015F6D733}"/>
                  </a:ext>
                </a:extLst>
              </p:cNvPr>
              <p:cNvSpPr>
                <a:spLocks/>
              </p:cNvSpPr>
              <p:nvPr/>
            </p:nvSpPr>
            <p:spPr bwMode="hidden">
              <a:xfrm>
                <a:off x="2748" y="2230"/>
                <a:ext cx="3007" cy="2085"/>
              </a:xfrm>
              <a:custGeom>
                <a:avLst/>
                <a:gdLst>
                  <a:gd name="T0" fmla="*/ 1433 w 3007"/>
                  <a:gd name="T1" fmla="*/ 474 h 2085"/>
                  <a:gd name="T2" fmla="*/ 1460 w 3007"/>
                  <a:gd name="T3" fmla="*/ 528 h 2085"/>
                  <a:gd name="T4" fmla="*/ 1541 w 3007"/>
                  <a:gd name="T5" fmla="*/ 593 h 2085"/>
                  <a:gd name="T6" fmla="*/ 1715 w 3007"/>
                  <a:gd name="T7" fmla="*/ 670 h 2085"/>
                  <a:gd name="T8" fmla="*/ 1927 w 3007"/>
                  <a:gd name="T9" fmla="*/ 735 h 2085"/>
                  <a:gd name="T10" fmla="*/ 2155 w 3007"/>
                  <a:gd name="T11" fmla="*/ 789 h 2085"/>
                  <a:gd name="T12" fmla="*/ 2372 w 3007"/>
                  <a:gd name="T13" fmla="*/ 849 h 2085"/>
                  <a:gd name="T14" fmla="*/ 2551 w 3007"/>
                  <a:gd name="T15" fmla="*/ 920 h 2085"/>
                  <a:gd name="T16" fmla="*/ 2638 w 3007"/>
                  <a:gd name="T17" fmla="*/ 980 h 2085"/>
                  <a:gd name="T18" fmla="*/ 2676 w 3007"/>
                  <a:gd name="T19" fmla="*/ 1029 h 2085"/>
                  <a:gd name="T20" fmla="*/ 2681 w 3007"/>
                  <a:gd name="T21" fmla="*/ 1083 h 2085"/>
                  <a:gd name="T22" fmla="*/ 2665 w 3007"/>
                  <a:gd name="T23" fmla="*/ 1127 h 2085"/>
                  <a:gd name="T24" fmla="*/ 2616 w 3007"/>
                  <a:gd name="T25" fmla="*/ 1170 h 2085"/>
                  <a:gd name="T26" fmla="*/ 2545 w 3007"/>
                  <a:gd name="T27" fmla="*/ 1208 h 2085"/>
                  <a:gd name="T28" fmla="*/ 2448 w 3007"/>
                  <a:gd name="T29" fmla="*/ 1241 h 2085"/>
                  <a:gd name="T30" fmla="*/ 2328 w 3007"/>
                  <a:gd name="T31" fmla="*/ 1274 h 2085"/>
                  <a:gd name="T32" fmla="*/ 2106 w 3007"/>
                  <a:gd name="T33" fmla="*/ 1328 h 2085"/>
                  <a:gd name="T34" fmla="*/ 1742 w 3007"/>
                  <a:gd name="T35" fmla="*/ 1421 h 2085"/>
                  <a:gd name="T36" fmla="*/ 1308 w 3007"/>
                  <a:gd name="T37" fmla="*/ 1540 h 2085"/>
                  <a:gd name="T38" fmla="*/ 820 w 3007"/>
                  <a:gd name="T39" fmla="*/ 1709 h 2085"/>
                  <a:gd name="T40" fmla="*/ 282 w 3007"/>
                  <a:gd name="T41" fmla="*/ 1943 h 2085"/>
                  <a:gd name="T42" fmla="*/ 152 w 3007"/>
                  <a:gd name="T43" fmla="*/ 2085 h 2085"/>
                  <a:gd name="T44" fmla="*/ 386 w 3007"/>
                  <a:gd name="T45" fmla="*/ 1992 h 2085"/>
                  <a:gd name="T46" fmla="*/ 700 w 3007"/>
                  <a:gd name="T47" fmla="*/ 1834 h 2085"/>
                  <a:gd name="T48" fmla="*/ 1064 w 3007"/>
                  <a:gd name="T49" fmla="*/ 1693 h 2085"/>
                  <a:gd name="T50" fmla="*/ 1661 w 3007"/>
                  <a:gd name="T51" fmla="*/ 1497 h 2085"/>
                  <a:gd name="T52" fmla="*/ 1845 w 3007"/>
                  <a:gd name="T53" fmla="*/ 1442 h 2085"/>
                  <a:gd name="T54" fmla="*/ 2252 w 3007"/>
                  <a:gd name="T55" fmla="*/ 1339 h 2085"/>
                  <a:gd name="T56" fmla="*/ 2551 w 3007"/>
                  <a:gd name="T57" fmla="*/ 1263 h 2085"/>
                  <a:gd name="T58" fmla="*/ 2730 w 3007"/>
                  <a:gd name="T59" fmla="*/ 1214 h 2085"/>
                  <a:gd name="T60" fmla="*/ 2876 w 3007"/>
                  <a:gd name="T61" fmla="*/ 1170 h 2085"/>
                  <a:gd name="T62" fmla="*/ 2974 w 3007"/>
                  <a:gd name="T63" fmla="*/ 1132 h 2085"/>
                  <a:gd name="T64" fmla="*/ 3007 w 3007"/>
                  <a:gd name="T65" fmla="*/ 871 h 2085"/>
                  <a:gd name="T66" fmla="*/ 2860 w 3007"/>
                  <a:gd name="T67" fmla="*/ 844 h 2085"/>
                  <a:gd name="T68" fmla="*/ 2670 w 3007"/>
                  <a:gd name="T69" fmla="*/ 806 h 2085"/>
                  <a:gd name="T70" fmla="*/ 2458 w 3007"/>
                  <a:gd name="T71" fmla="*/ 757 h 2085"/>
                  <a:gd name="T72" fmla="*/ 2138 w 3007"/>
                  <a:gd name="T73" fmla="*/ 670 h 2085"/>
                  <a:gd name="T74" fmla="*/ 1959 w 3007"/>
                  <a:gd name="T75" fmla="*/ 604 h 2085"/>
                  <a:gd name="T76" fmla="*/ 1824 w 3007"/>
                  <a:gd name="T77" fmla="*/ 534 h 2085"/>
                  <a:gd name="T78" fmla="*/ 1769 w 3007"/>
                  <a:gd name="T79" fmla="*/ 474 h 2085"/>
                  <a:gd name="T80" fmla="*/ 1753 w 3007"/>
                  <a:gd name="T81" fmla="*/ 436 h 2085"/>
                  <a:gd name="T82" fmla="*/ 1780 w 3007"/>
                  <a:gd name="T83" fmla="*/ 381 h 2085"/>
                  <a:gd name="T84" fmla="*/ 1862 w 3007"/>
                  <a:gd name="T85" fmla="*/ 316 h 2085"/>
                  <a:gd name="T86" fmla="*/ 1986 w 3007"/>
                  <a:gd name="T87" fmla="*/ 267 h 2085"/>
                  <a:gd name="T88" fmla="*/ 2149 w 3007"/>
                  <a:gd name="T89" fmla="*/ 229 h 2085"/>
                  <a:gd name="T90" fmla="*/ 2431 w 3007"/>
                  <a:gd name="T91" fmla="*/ 180 h 2085"/>
                  <a:gd name="T92" fmla="*/ 2827 w 3007"/>
                  <a:gd name="T93" fmla="*/ 125 h 2085"/>
                  <a:gd name="T94" fmla="*/ 3007 w 3007"/>
                  <a:gd name="T95" fmla="*/ 87 h 2085"/>
                  <a:gd name="T96" fmla="*/ 2909 w 3007"/>
                  <a:gd name="T97" fmla="*/ 22 h 2085"/>
                  <a:gd name="T98" fmla="*/ 2676 w 3007"/>
                  <a:gd name="T99" fmla="*/ 66 h 2085"/>
                  <a:gd name="T100" fmla="*/ 2285 w 3007"/>
                  <a:gd name="T101" fmla="*/ 120 h 2085"/>
                  <a:gd name="T102" fmla="*/ 2030 w 3007"/>
                  <a:gd name="T103" fmla="*/ 158 h 2085"/>
                  <a:gd name="T104" fmla="*/ 1791 w 3007"/>
                  <a:gd name="T105" fmla="*/ 202 h 2085"/>
                  <a:gd name="T106" fmla="*/ 1601 w 3007"/>
                  <a:gd name="T107" fmla="*/ 261 h 2085"/>
                  <a:gd name="T108" fmla="*/ 1471 w 3007"/>
                  <a:gd name="T109" fmla="*/ 338 h 2085"/>
                  <a:gd name="T110" fmla="*/ 1438 w 3007"/>
                  <a:gd name="T111" fmla="*/ 387 h 2085"/>
                  <a:gd name="T112" fmla="*/ 1427 w 3007"/>
                  <a:gd name="T113" fmla="*/ 441 h 2085"/>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3007" h="2085">
                    <a:moveTo>
                      <a:pt x="1427" y="441"/>
                    </a:moveTo>
                    <a:lnTo>
                      <a:pt x="1433" y="474"/>
                    </a:lnTo>
                    <a:lnTo>
                      <a:pt x="1444" y="501"/>
                    </a:lnTo>
                    <a:lnTo>
                      <a:pt x="1460" y="528"/>
                    </a:lnTo>
                    <a:lnTo>
                      <a:pt x="1482" y="550"/>
                    </a:lnTo>
                    <a:lnTo>
                      <a:pt x="1541" y="593"/>
                    </a:lnTo>
                    <a:lnTo>
                      <a:pt x="1623" y="637"/>
                    </a:lnTo>
                    <a:lnTo>
                      <a:pt x="1715" y="670"/>
                    </a:lnTo>
                    <a:lnTo>
                      <a:pt x="1818" y="702"/>
                    </a:lnTo>
                    <a:lnTo>
                      <a:pt x="1927" y="735"/>
                    </a:lnTo>
                    <a:lnTo>
                      <a:pt x="2041" y="762"/>
                    </a:lnTo>
                    <a:lnTo>
                      <a:pt x="2155" y="789"/>
                    </a:lnTo>
                    <a:lnTo>
                      <a:pt x="2269" y="822"/>
                    </a:lnTo>
                    <a:lnTo>
                      <a:pt x="2372" y="849"/>
                    </a:lnTo>
                    <a:lnTo>
                      <a:pt x="2464" y="882"/>
                    </a:lnTo>
                    <a:lnTo>
                      <a:pt x="2551" y="920"/>
                    </a:lnTo>
                    <a:lnTo>
                      <a:pt x="2616" y="958"/>
                    </a:lnTo>
                    <a:lnTo>
                      <a:pt x="2638" y="980"/>
                    </a:lnTo>
                    <a:lnTo>
                      <a:pt x="2659" y="1007"/>
                    </a:lnTo>
                    <a:lnTo>
                      <a:pt x="2676" y="1029"/>
                    </a:lnTo>
                    <a:lnTo>
                      <a:pt x="2681" y="1056"/>
                    </a:lnTo>
                    <a:lnTo>
                      <a:pt x="2681" y="1083"/>
                    </a:lnTo>
                    <a:lnTo>
                      <a:pt x="2676" y="1105"/>
                    </a:lnTo>
                    <a:lnTo>
                      <a:pt x="2665" y="1127"/>
                    </a:lnTo>
                    <a:lnTo>
                      <a:pt x="2643" y="1149"/>
                    </a:lnTo>
                    <a:lnTo>
                      <a:pt x="2616" y="1170"/>
                    </a:lnTo>
                    <a:lnTo>
                      <a:pt x="2583" y="1187"/>
                    </a:lnTo>
                    <a:lnTo>
                      <a:pt x="2545" y="1208"/>
                    </a:lnTo>
                    <a:lnTo>
                      <a:pt x="2502" y="1225"/>
                    </a:lnTo>
                    <a:lnTo>
                      <a:pt x="2448" y="1241"/>
                    </a:lnTo>
                    <a:lnTo>
                      <a:pt x="2388" y="1257"/>
                    </a:lnTo>
                    <a:lnTo>
                      <a:pt x="2328" y="1274"/>
                    </a:lnTo>
                    <a:lnTo>
                      <a:pt x="2258" y="1290"/>
                    </a:lnTo>
                    <a:lnTo>
                      <a:pt x="2106" y="1328"/>
                    </a:lnTo>
                    <a:lnTo>
                      <a:pt x="1932" y="1372"/>
                    </a:lnTo>
                    <a:lnTo>
                      <a:pt x="1742" y="1421"/>
                    </a:lnTo>
                    <a:lnTo>
                      <a:pt x="1531" y="1475"/>
                    </a:lnTo>
                    <a:lnTo>
                      <a:pt x="1308" y="1540"/>
                    </a:lnTo>
                    <a:lnTo>
                      <a:pt x="1069" y="1617"/>
                    </a:lnTo>
                    <a:lnTo>
                      <a:pt x="820" y="1709"/>
                    </a:lnTo>
                    <a:lnTo>
                      <a:pt x="554" y="1818"/>
                    </a:lnTo>
                    <a:lnTo>
                      <a:pt x="282" y="1943"/>
                    </a:lnTo>
                    <a:lnTo>
                      <a:pt x="0" y="2085"/>
                    </a:lnTo>
                    <a:lnTo>
                      <a:pt x="152" y="2085"/>
                    </a:lnTo>
                    <a:lnTo>
                      <a:pt x="244" y="2074"/>
                    </a:lnTo>
                    <a:lnTo>
                      <a:pt x="386" y="1992"/>
                    </a:lnTo>
                    <a:lnTo>
                      <a:pt x="537" y="1910"/>
                    </a:lnTo>
                    <a:lnTo>
                      <a:pt x="700" y="1834"/>
                    </a:lnTo>
                    <a:lnTo>
                      <a:pt x="879" y="1763"/>
                    </a:lnTo>
                    <a:lnTo>
                      <a:pt x="1064" y="1693"/>
                    </a:lnTo>
                    <a:lnTo>
                      <a:pt x="1259" y="1622"/>
                    </a:lnTo>
                    <a:lnTo>
                      <a:pt x="1661" y="1497"/>
                    </a:lnTo>
                    <a:lnTo>
                      <a:pt x="1748" y="1470"/>
                    </a:lnTo>
                    <a:lnTo>
                      <a:pt x="1845" y="1442"/>
                    </a:lnTo>
                    <a:lnTo>
                      <a:pt x="2046" y="1393"/>
                    </a:lnTo>
                    <a:lnTo>
                      <a:pt x="2252" y="1339"/>
                    </a:lnTo>
                    <a:lnTo>
                      <a:pt x="2458" y="1285"/>
                    </a:lnTo>
                    <a:lnTo>
                      <a:pt x="2551" y="1263"/>
                    </a:lnTo>
                    <a:lnTo>
                      <a:pt x="2643" y="1236"/>
                    </a:lnTo>
                    <a:lnTo>
                      <a:pt x="2730" y="1214"/>
                    </a:lnTo>
                    <a:lnTo>
                      <a:pt x="2806" y="1192"/>
                    </a:lnTo>
                    <a:lnTo>
                      <a:pt x="2876" y="1170"/>
                    </a:lnTo>
                    <a:lnTo>
                      <a:pt x="2931" y="1149"/>
                    </a:lnTo>
                    <a:lnTo>
                      <a:pt x="2974" y="1132"/>
                    </a:lnTo>
                    <a:lnTo>
                      <a:pt x="3007" y="1116"/>
                    </a:lnTo>
                    <a:lnTo>
                      <a:pt x="3007" y="871"/>
                    </a:lnTo>
                    <a:lnTo>
                      <a:pt x="2941" y="860"/>
                    </a:lnTo>
                    <a:lnTo>
                      <a:pt x="2860" y="844"/>
                    </a:lnTo>
                    <a:lnTo>
                      <a:pt x="2773" y="827"/>
                    </a:lnTo>
                    <a:lnTo>
                      <a:pt x="2670" y="806"/>
                    </a:lnTo>
                    <a:lnTo>
                      <a:pt x="2567" y="784"/>
                    </a:lnTo>
                    <a:lnTo>
                      <a:pt x="2458" y="757"/>
                    </a:lnTo>
                    <a:lnTo>
                      <a:pt x="2241" y="702"/>
                    </a:lnTo>
                    <a:lnTo>
                      <a:pt x="2138" y="670"/>
                    </a:lnTo>
                    <a:lnTo>
                      <a:pt x="2046" y="637"/>
                    </a:lnTo>
                    <a:lnTo>
                      <a:pt x="1959" y="604"/>
                    </a:lnTo>
                    <a:lnTo>
                      <a:pt x="1883" y="566"/>
                    </a:lnTo>
                    <a:lnTo>
                      <a:pt x="1824" y="534"/>
                    </a:lnTo>
                    <a:lnTo>
                      <a:pt x="1780" y="495"/>
                    </a:lnTo>
                    <a:lnTo>
                      <a:pt x="1769" y="474"/>
                    </a:lnTo>
                    <a:lnTo>
                      <a:pt x="1758" y="457"/>
                    </a:lnTo>
                    <a:lnTo>
                      <a:pt x="1753" y="436"/>
                    </a:lnTo>
                    <a:lnTo>
                      <a:pt x="1758" y="419"/>
                    </a:lnTo>
                    <a:lnTo>
                      <a:pt x="1780" y="381"/>
                    </a:lnTo>
                    <a:lnTo>
                      <a:pt x="1813" y="343"/>
                    </a:lnTo>
                    <a:lnTo>
                      <a:pt x="1862" y="316"/>
                    </a:lnTo>
                    <a:lnTo>
                      <a:pt x="1921" y="289"/>
                    </a:lnTo>
                    <a:lnTo>
                      <a:pt x="1986" y="267"/>
                    </a:lnTo>
                    <a:lnTo>
                      <a:pt x="2062" y="245"/>
                    </a:lnTo>
                    <a:lnTo>
                      <a:pt x="2149" y="229"/>
                    </a:lnTo>
                    <a:lnTo>
                      <a:pt x="2236" y="213"/>
                    </a:lnTo>
                    <a:lnTo>
                      <a:pt x="2431" y="180"/>
                    </a:lnTo>
                    <a:lnTo>
                      <a:pt x="2627" y="158"/>
                    </a:lnTo>
                    <a:lnTo>
                      <a:pt x="2827" y="125"/>
                    </a:lnTo>
                    <a:lnTo>
                      <a:pt x="2920" y="109"/>
                    </a:lnTo>
                    <a:lnTo>
                      <a:pt x="3007" y="87"/>
                    </a:lnTo>
                    <a:lnTo>
                      <a:pt x="3007" y="0"/>
                    </a:lnTo>
                    <a:lnTo>
                      <a:pt x="2909" y="22"/>
                    </a:lnTo>
                    <a:lnTo>
                      <a:pt x="2795" y="44"/>
                    </a:lnTo>
                    <a:lnTo>
                      <a:pt x="2676" y="66"/>
                    </a:lnTo>
                    <a:lnTo>
                      <a:pt x="2551" y="82"/>
                    </a:lnTo>
                    <a:lnTo>
                      <a:pt x="2285" y="120"/>
                    </a:lnTo>
                    <a:lnTo>
                      <a:pt x="2155" y="136"/>
                    </a:lnTo>
                    <a:lnTo>
                      <a:pt x="2030" y="158"/>
                    </a:lnTo>
                    <a:lnTo>
                      <a:pt x="1905" y="174"/>
                    </a:lnTo>
                    <a:lnTo>
                      <a:pt x="1791" y="202"/>
                    </a:lnTo>
                    <a:lnTo>
                      <a:pt x="1688" y="229"/>
                    </a:lnTo>
                    <a:lnTo>
                      <a:pt x="1601" y="261"/>
                    </a:lnTo>
                    <a:lnTo>
                      <a:pt x="1525" y="300"/>
                    </a:lnTo>
                    <a:lnTo>
                      <a:pt x="1471" y="338"/>
                    </a:lnTo>
                    <a:lnTo>
                      <a:pt x="1455" y="359"/>
                    </a:lnTo>
                    <a:lnTo>
                      <a:pt x="1438" y="387"/>
                    </a:lnTo>
                    <a:lnTo>
                      <a:pt x="1427" y="414"/>
                    </a:lnTo>
                    <a:lnTo>
                      <a:pt x="1427" y="44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800"/>
              </a:p>
            </p:txBody>
          </p:sp>
          <p:sp>
            <p:nvSpPr>
              <p:cNvPr id="12" name="Freeform 8">
                <a:extLst>
                  <a:ext uri="{FF2B5EF4-FFF2-40B4-BE49-F238E27FC236}">
                    <a16:creationId xmlns:a16="http://schemas.microsoft.com/office/drawing/2014/main" id="{A489CFBC-92B0-4B91-B5A6-CFC77BC1E36D}"/>
                  </a:ext>
                </a:extLst>
              </p:cNvPr>
              <p:cNvSpPr>
                <a:spLocks/>
              </p:cNvSpPr>
              <p:nvPr/>
            </p:nvSpPr>
            <p:spPr bwMode="hidden">
              <a:xfrm>
                <a:off x="4501" y="2317"/>
                <a:ext cx="1248" cy="539"/>
              </a:xfrm>
              <a:custGeom>
                <a:avLst/>
                <a:gdLst/>
                <a:ahLst/>
                <a:cxnLst>
                  <a:cxn ang="0">
                    <a:pos x="0" y="332"/>
                  </a:cxn>
                  <a:cxn ang="0">
                    <a:pos x="0" y="360"/>
                  </a:cxn>
                  <a:cxn ang="0">
                    <a:pos x="5" y="387"/>
                  </a:cxn>
                  <a:cxn ang="0">
                    <a:pos x="27" y="414"/>
                  </a:cxn>
                  <a:cxn ang="0">
                    <a:pos x="54" y="436"/>
                  </a:cxn>
                  <a:cxn ang="0">
                    <a:pos x="92" y="463"/>
                  </a:cxn>
                  <a:cxn ang="0">
                    <a:pos x="141" y="490"/>
                  </a:cxn>
                  <a:cxn ang="0">
                    <a:pos x="195" y="512"/>
                  </a:cxn>
                  <a:cxn ang="0">
                    <a:pos x="255" y="539"/>
                  </a:cxn>
                  <a:cxn ang="0">
                    <a:pos x="212" y="517"/>
                  </a:cxn>
                  <a:cxn ang="0">
                    <a:pos x="179" y="490"/>
                  </a:cxn>
                  <a:cxn ang="0">
                    <a:pos x="157" y="468"/>
                  </a:cxn>
                  <a:cxn ang="0">
                    <a:pos x="141" y="447"/>
                  </a:cxn>
                  <a:cxn ang="0">
                    <a:pos x="136" y="425"/>
                  </a:cxn>
                  <a:cxn ang="0">
                    <a:pos x="136" y="403"/>
                  </a:cxn>
                  <a:cxn ang="0">
                    <a:pos x="141" y="381"/>
                  </a:cxn>
                  <a:cxn ang="0">
                    <a:pos x="157" y="365"/>
                  </a:cxn>
                  <a:cxn ang="0">
                    <a:pos x="179" y="343"/>
                  </a:cxn>
                  <a:cxn ang="0">
                    <a:pos x="201" y="327"/>
                  </a:cxn>
                  <a:cxn ang="0">
                    <a:pos x="266" y="294"/>
                  </a:cxn>
                  <a:cxn ang="0">
                    <a:pos x="353" y="262"/>
                  </a:cxn>
                  <a:cxn ang="0">
                    <a:pos x="445" y="234"/>
                  </a:cxn>
                  <a:cxn ang="0">
                    <a:pos x="554" y="213"/>
                  </a:cxn>
                  <a:cxn ang="0">
                    <a:pos x="662" y="191"/>
                  </a:cxn>
                  <a:cxn ang="0">
                    <a:pos x="890" y="153"/>
                  </a:cxn>
                  <a:cxn ang="0">
                    <a:pos x="993" y="136"/>
                  </a:cxn>
                  <a:cxn ang="0">
                    <a:pos x="1091" y="120"/>
                  </a:cxn>
                  <a:cxn ang="0">
                    <a:pos x="1178" y="115"/>
                  </a:cxn>
                  <a:cxn ang="0">
                    <a:pos x="1248" y="104"/>
                  </a:cxn>
                  <a:cxn ang="0">
                    <a:pos x="1248" y="0"/>
                  </a:cxn>
                  <a:cxn ang="0">
                    <a:pos x="1161" y="22"/>
                  </a:cxn>
                  <a:cxn ang="0">
                    <a:pos x="1069" y="38"/>
                  </a:cxn>
                  <a:cxn ang="0">
                    <a:pos x="874" y="71"/>
                  </a:cxn>
                  <a:cxn ang="0">
                    <a:pos x="673" y="93"/>
                  </a:cxn>
                  <a:cxn ang="0">
                    <a:pos x="483" y="126"/>
                  </a:cxn>
                  <a:cxn ang="0">
                    <a:pos x="391" y="142"/>
                  </a:cxn>
                  <a:cxn ang="0">
                    <a:pos x="309" y="158"/>
                  </a:cxn>
                  <a:cxn ang="0">
                    <a:pos x="228" y="180"/>
                  </a:cxn>
                  <a:cxn ang="0">
                    <a:pos x="163" y="202"/>
                  </a:cxn>
                  <a:cxn ang="0">
                    <a:pos x="103" y="229"/>
                  </a:cxn>
                  <a:cxn ang="0">
                    <a:pos x="54" y="256"/>
                  </a:cxn>
                  <a:cxn ang="0">
                    <a:pos x="22" y="294"/>
                  </a:cxn>
                  <a:cxn ang="0">
                    <a:pos x="0" y="332"/>
                  </a:cxn>
                  <a:cxn ang="0">
                    <a:pos x="0" y="332"/>
                  </a:cxn>
                </a:cxnLst>
                <a:rect l="0" t="0" r="r" b="b"/>
                <a:pathLst>
                  <a:path w="1248" h="539">
                    <a:moveTo>
                      <a:pt x="0" y="332"/>
                    </a:moveTo>
                    <a:lnTo>
                      <a:pt x="0" y="360"/>
                    </a:lnTo>
                    <a:lnTo>
                      <a:pt x="5" y="387"/>
                    </a:lnTo>
                    <a:lnTo>
                      <a:pt x="27" y="414"/>
                    </a:lnTo>
                    <a:lnTo>
                      <a:pt x="54" y="436"/>
                    </a:lnTo>
                    <a:lnTo>
                      <a:pt x="92" y="463"/>
                    </a:lnTo>
                    <a:lnTo>
                      <a:pt x="141" y="490"/>
                    </a:lnTo>
                    <a:lnTo>
                      <a:pt x="195" y="512"/>
                    </a:lnTo>
                    <a:lnTo>
                      <a:pt x="255" y="539"/>
                    </a:lnTo>
                    <a:lnTo>
                      <a:pt x="212" y="517"/>
                    </a:lnTo>
                    <a:lnTo>
                      <a:pt x="179" y="490"/>
                    </a:lnTo>
                    <a:lnTo>
                      <a:pt x="157" y="468"/>
                    </a:lnTo>
                    <a:lnTo>
                      <a:pt x="141" y="447"/>
                    </a:lnTo>
                    <a:lnTo>
                      <a:pt x="136" y="425"/>
                    </a:lnTo>
                    <a:lnTo>
                      <a:pt x="136" y="403"/>
                    </a:lnTo>
                    <a:lnTo>
                      <a:pt x="141" y="381"/>
                    </a:lnTo>
                    <a:lnTo>
                      <a:pt x="157" y="365"/>
                    </a:lnTo>
                    <a:lnTo>
                      <a:pt x="179" y="343"/>
                    </a:lnTo>
                    <a:lnTo>
                      <a:pt x="201" y="327"/>
                    </a:lnTo>
                    <a:lnTo>
                      <a:pt x="266" y="294"/>
                    </a:lnTo>
                    <a:lnTo>
                      <a:pt x="353" y="262"/>
                    </a:lnTo>
                    <a:lnTo>
                      <a:pt x="445" y="234"/>
                    </a:lnTo>
                    <a:lnTo>
                      <a:pt x="554" y="213"/>
                    </a:lnTo>
                    <a:lnTo>
                      <a:pt x="662" y="191"/>
                    </a:lnTo>
                    <a:lnTo>
                      <a:pt x="890" y="153"/>
                    </a:lnTo>
                    <a:lnTo>
                      <a:pt x="993" y="136"/>
                    </a:lnTo>
                    <a:lnTo>
                      <a:pt x="1091" y="120"/>
                    </a:lnTo>
                    <a:lnTo>
                      <a:pt x="1178" y="115"/>
                    </a:lnTo>
                    <a:lnTo>
                      <a:pt x="1248" y="104"/>
                    </a:lnTo>
                    <a:lnTo>
                      <a:pt x="1248" y="0"/>
                    </a:lnTo>
                    <a:lnTo>
                      <a:pt x="1161" y="22"/>
                    </a:lnTo>
                    <a:lnTo>
                      <a:pt x="1069" y="38"/>
                    </a:lnTo>
                    <a:lnTo>
                      <a:pt x="874" y="71"/>
                    </a:lnTo>
                    <a:lnTo>
                      <a:pt x="673" y="93"/>
                    </a:lnTo>
                    <a:lnTo>
                      <a:pt x="483" y="126"/>
                    </a:lnTo>
                    <a:lnTo>
                      <a:pt x="391" y="142"/>
                    </a:lnTo>
                    <a:lnTo>
                      <a:pt x="309" y="158"/>
                    </a:lnTo>
                    <a:lnTo>
                      <a:pt x="228" y="180"/>
                    </a:lnTo>
                    <a:lnTo>
                      <a:pt x="163" y="202"/>
                    </a:lnTo>
                    <a:lnTo>
                      <a:pt x="103" y="229"/>
                    </a:lnTo>
                    <a:lnTo>
                      <a:pt x="54" y="256"/>
                    </a:lnTo>
                    <a:lnTo>
                      <a:pt x="22" y="294"/>
                    </a:lnTo>
                    <a:lnTo>
                      <a:pt x="0" y="332"/>
                    </a:lnTo>
                    <a:lnTo>
                      <a:pt x="0" y="332"/>
                    </a:lnTo>
                    <a:close/>
                  </a:path>
                </a:pathLst>
              </a:custGeom>
              <a:gradFill rotWithShape="0">
                <a:gsLst>
                  <a:gs pos="0">
                    <a:schemeClr val="bg1">
                      <a:gamma/>
                      <a:shade val="87843"/>
                      <a:invGamma/>
                    </a:schemeClr>
                  </a:gs>
                  <a:gs pos="100000">
                    <a:schemeClr val="bg1"/>
                  </a:gs>
                </a:gsLst>
                <a:lin ang="2700000" scaled="1"/>
              </a:gradFill>
              <a:ln w="9525">
                <a:noFill/>
                <a:round/>
                <a:headEnd/>
                <a:tailEnd/>
              </a:ln>
            </p:spPr>
            <p:txBody>
              <a:bodyPr/>
              <a:lstStyle/>
              <a:p>
                <a:pPr eaLnBrk="0" hangingPunct="0">
                  <a:defRPr/>
                </a:pPr>
                <a:endParaRPr lang="en-US" sz="1800">
                  <a:solidFill>
                    <a:srgbClr val="FFFFFF"/>
                  </a:solidFill>
                  <a:latin typeface="+mn-lt"/>
                  <a:cs typeface="Arial" charset="0"/>
                </a:endParaRPr>
              </a:p>
            </p:txBody>
          </p:sp>
        </p:grpSp>
        <p:sp>
          <p:nvSpPr>
            <p:cNvPr id="6" name="Freeform 9">
              <a:extLst>
                <a:ext uri="{FF2B5EF4-FFF2-40B4-BE49-F238E27FC236}">
                  <a16:creationId xmlns:a16="http://schemas.microsoft.com/office/drawing/2014/main" id="{8C2DE4A7-0E7D-4962-87C9-17B65B63EEB4}"/>
                </a:ext>
              </a:extLst>
            </p:cNvPr>
            <p:cNvSpPr>
              <a:spLocks/>
            </p:cNvSpPr>
            <p:nvPr/>
          </p:nvSpPr>
          <p:spPr bwMode="hidden">
            <a:xfrm>
              <a:off x="3322" y="1341"/>
              <a:ext cx="1825" cy="1537"/>
            </a:xfrm>
            <a:custGeom>
              <a:avLst/>
              <a:gdLst/>
              <a:ahLst/>
              <a:cxnLst>
                <a:cxn ang="0">
                  <a:pos x="982" y="1061"/>
                </a:cxn>
                <a:cxn ang="0">
                  <a:pos x="1357" y="1012"/>
                </a:cxn>
                <a:cxn ang="0">
                  <a:pos x="1666" y="957"/>
                </a:cxn>
                <a:cxn ang="0">
                  <a:pos x="1916" y="897"/>
                </a:cxn>
                <a:cxn ang="0">
                  <a:pos x="2100" y="832"/>
                </a:cxn>
                <a:cxn ang="0">
                  <a:pos x="2220" y="756"/>
                </a:cxn>
                <a:cxn ang="0">
                  <a:pos x="2285" y="669"/>
                </a:cxn>
                <a:cxn ang="0">
                  <a:pos x="2290" y="560"/>
                </a:cxn>
                <a:cxn ang="0">
                  <a:pos x="2241" y="457"/>
                </a:cxn>
                <a:cxn ang="0">
                  <a:pos x="2144" y="364"/>
                </a:cxn>
                <a:cxn ang="0">
                  <a:pos x="2008" y="277"/>
                </a:cxn>
                <a:cxn ang="0">
                  <a:pos x="1769" y="157"/>
                </a:cxn>
                <a:cxn ang="0">
                  <a:pos x="1612" y="92"/>
                </a:cxn>
                <a:cxn ang="0">
                  <a:pos x="1476" y="43"/>
                </a:cxn>
                <a:cxn ang="0">
                  <a:pos x="1384" y="10"/>
                </a:cxn>
                <a:cxn ang="0">
                  <a:pos x="1346" y="0"/>
                </a:cxn>
                <a:cxn ang="0">
                  <a:pos x="1655" y="119"/>
                </a:cxn>
                <a:cxn ang="0">
                  <a:pos x="1948" y="255"/>
                </a:cxn>
                <a:cxn ang="0">
                  <a:pos x="2068" y="326"/>
                </a:cxn>
                <a:cxn ang="0">
                  <a:pos x="2171" y="402"/>
                </a:cxn>
                <a:cxn ang="0">
                  <a:pos x="2236" y="478"/>
                </a:cxn>
                <a:cxn ang="0">
                  <a:pos x="2263" y="560"/>
                </a:cxn>
                <a:cxn ang="0">
                  <a:pos x="2241" y="636"/>
                </a:cxn>
                <a:cxn ang="0">
                  <a:pos x="2171" y="702"/>
                </a:cxn>
                <a:cxn ang="0">
                  <a:pos x="2062" y="756"/>
                </a:cxn>
                <a:cxn ang="0">
                  <a:pos x="1921" y="800"/>
                </a:cxn>
                <a:cxn ang="0">
                  <a:pos x="1748" y="843"/>
                </a:cxn>
                <a:cxn ang="0">
                  <a:pos x="1351" y="908"/>
                </a:cxn>
                <a:cxn ang="0">
                  <a:pos x="923" y="968"/>
                </a:cxn>
                <a:cxn ang="0">
                  <a:pos x="521" y="1028"/>
                </a:cxn>
                <a:cxn ang="0">
                  <a:pos x="353" y="1066"/>
                </a:cxn>
                <a:cxn ang="0">
                  <a:pos x="206" y="1104"/>
                </a:cxn>
                <a:cxn ang="0">
                  <a:pos x="92" y="1148"/>
                </a:cxn>
                <a:cxn ang="0">
                  <a:pos x="22" y="1202"/>
                </a:cxn>
                <a:cxn ang="0">
                  <a:pos x="0" y="1262"/>
                </a:cxn>
                <a:cxn ang="0">
                  <a:pos x="27" y="1327"/>
                </a:cxn>
                <a:cxn ang="0">
                  <a:pos x="98" y="1382"/>
                </a:cxn>
                <a:cxn ang="0">
                  <a:pos x="196" y="1425"/>
                </a:cxn>
                <a:cxn ang="0">
                  <a:pos x="326" y="1469"/>
                </a:cxn>
                <a:cxn ang="0">
                  <a:pos x="217" y="1414"/>
                </a:cxn>
                <a:cxn ang="0">
                  <a:pos x="147" y="1360"/>
                </a:cxn>
                <a:cxn ang="0">
                  <a:pos x="120" y="1306"/>
                </a:cxn>
                <a:cxn ang="0">
                  <a:pos x="141" y="1257"/>
                </a:cxn>
                <a:cxn ang="0">
                  <a:pos x="212" y="1208"/>
                </a:cxn>
                <a:cxn ang="0">
                  <a:pos x="342" y="1164"/>
                </a:cxn>
                <a:cxn ang="0">
                  <a:pos x="527" y="1121"/>
                </a:cxn>
                <a:cxn ang="0">
                  <a:pos x="771" y="1088"/>
                </a:cxn>
              </a:cxnLst>
              <a:rect l="0" t="0" r="r" b="b"/>
              <a:pathLst>
                <a:path w="2296" h="1469">
                  <a:moveTo>
                    <a:pt x="771" y="1088"/>
                  </a:moveTo>
                  <a:lnTo>
                    <a:pt x="982" y="1061"/>
                  </a:lnTo>
                  <a:lnTo>
                    <a:pt x="1178" y="1034"/>
                  </a:lnTo>
                  <a:lnTo>
                    <a:pt x="1357" y="1012"/>
                  </a:lnTo>
                  <a:lnTo>
                    <a:pt x="1520" y="985"/>
                  </a:lnTo>
                  <a:lnTo>
                    <a:pt x="1666" y="957"/>
                  </a:lnTo>
                  <a:lnTo>
                    <a:pt x="1796" y="930"/>
                  </a:lnTo>
                  <a:lnTo>
                    <a:pt x="1916" y="897"/>
                  </a:lnTo>
                  <a:lnTo>
                    <a:pt x="2013" y="870"/>
                  </a:lnTo>
                  <a:lnTo>
                    <a:pt x="2100" y="832"/>
                  </a:lnTo>
                  <a:lnTo>
                    <a:pt x="2171" y="800"/>
                  </a:lnTo>
                  <a:lnTo>
                    <a:pt x="2220" y="756"/>
                  </a:lnTo>
                  <a:lnTo>
                    <a:pt x="2263" y="712"/>
                  </a:lnTo>
                  <a:lnTo>
                    <a:pt x="2285" y="669"/>
                  </a:lnTo>
                  <a:lnTo>
                    <a:pt x="2296" y="614"/>
                  </a:lnTo>
                  <a:lnTo>
                    <a:pt x="2290" y="560"/>
                  </a:lnTo>
                  <a:lnTo>
                    <a:pt x="2269" y="500"/>
                  </a:lnTo>
                  <a:lnTo>
                    <a:pt x="2241" y="457"/>
                  </a:lnTo>
                  <a:lnTo>
                    <a:pt x="2198" y="408"/>
                  </a:lnTo>
                  <a:lnTo>
                    <a:pt x="2144" y="364"/>
                  </a:lnTo>
                  <a:lnTo>
                    <a:pt x="2079" y="321"/>
                  </a:lnTo>
                  <a:lnTo>
                    <a:pt x="2008" y="277"/>
                  </a:lnTo>
                  <a:lnTo>
                    <a:pt x="1927" y="234"/>
                  </a:lnTo>
                  <a:lnTo>
                    <a:pt x="1769" y="157"/>
                  </a:lnTo>
                  <a:lnTo>
                    <a:pt x="1688" y="125"/>
                  </a:lnTo>
                  <a:lnTo>
                    <a:pt x="1612" y="92"/>
                  </a:lnTo>
                  <a:lnTo>
                    <a:pt x="1536" y="65"/>
                  </a:lnTo>
                  <a:lnTo>
                    <a:pt x="1476" y="43"/>
                  </a:lnTo>
                  <a:lnTo>
                    <a:pt x="1422" y="27"/>
                  </a:lnTo>
                  <a:lnTo>
                    <a:pt x="1384" y="10"/>
                  </a:lnTo>
                  <a:lnTo>
                    <a:pt x="1357" y="5"/>
                  </a:lnTo>
                  <a:lnTo>
                    <a:pt x="1346" y="0"/>
                  </a:lnTo>
                  <a:lnTo>
                    <a:pt x="1498" y="54"/>
                  </a:lnTo>
                  <a:lnTo>
                    <a:pt x="1655" y="119"/>
                  </a:lnTo>
                  <a:lnTo>
                    <a:pt x="1807" y="185"/>
                  </a:lnTo>
                  <a:lnTo>
                    <a:pt x="1948" y="255"/>
                  </a:lnTo>
                  <a:lnTo>
                    <a:pt x="2013" y="288"/>
                  </a:lnTo>
                  <a:lnTo>
                    <a:pt x="2068" y="326"/>
                  </a:lnTo>
                  <a:lnTo>
                    <a:pt x="2122" y="364"/>
                  </a:lnTo>
                  <a:lnTo>
                    <a:pt x="2171" y="402"/>
                  </a:lnTo>
                  <a:lnTo>
                    <a:pt x="2209" y="440"/>
                  </a:lnTo>
                  <a:lnTo>
                    <a:pt x="2236" y="478"/>
                  </a:lnTo>
                  <a:lnTo>
                    <a:pt x="2252" y="522"/>
                  </a:lnTo>
                  <a:lnTo>
                    <a:pt x="2263" y="560"/>
                  </a:lnTo>
                  <a:lnTo>
                    <a:pt x="2258" y="598"/>
                  </a:lnTo>
                  <a:lnTo>
                    <a:pt x="2241" y="636"/>
                  </a:lnTo>
                  <a:lnTo>
                    <a:pt x="2214" y="669"/>
                  </a:lnTo>
                  <a:lnTo>
                    <a:pt x="2171" y="702"/>
                  </a:lnTo>
                  <a:lnTo>
                    <a:pt x="2122" y="729"/>
                  </a:lnTo>
                  <a:lnTo>
                    <a:pt x="2062" y="756"/>
                  </a:lnTo>
                  <a:lnTo>
                    <a:pt x="1997" y="778"/>
                  </a:lnTo>
                  <a:lnTo>
                    <a:pt x="1921" y="800"/>
                  </a:lnTo>
                  <a:lnTo>
                    <a:pt x="1834" y="821"/>
                  </a:lnTo>
                  <a:lnTo>
                    <a:pt x="1748" y="843"/>
                  </a:lnTo>
                  <a:lnTo>
                    <a:pt x="1552" y="876"/>
                  </a:lnTo>
                  <a:lnTo>
                    <a:pt x="1351" y="908"/>
                  </a:lnTo>
                  <a:lnTo>
                    <a:pt x="1134" y="941"/>
                  </a:lnTo>
                  <a:lnTo>
                    <a:pt x="923" y="968"/>
                  </a:lnTo>
                  <a:lnTo>
                    <a:pt x="716" y="995"/>
                  </a:lnTo>
                  <a:lnTo>
                    <a:pt x="521" y="1028"/>
                  </a:lnTo>
                  <a:lnTo>
                    <a:pt x="434" y="1044"/>
                  </a:lnTo>
                  <a:lnTo>
                    <a:pt x="353" y="1066"/>
                  </a:lnTo>
                  <a:lnTo>
                    <a:pt x="277" y="1082"/>
                  </a:lnTo>
                  <a:lnTo>
                    <a:pt x="206" y="1104"/>
                  </a:lnTo>
                  <a:lnTo>
                    <a:pt x="147" y="1126"/>
                  </a:lnTo>
                  <a:lnTo>
                    <a:pt x="92" y="1148"/>
                  </a:lnTo>
                  <a:lnTo>
                    <a:pt x="54" y="1175"/>
                  </a:lnTo>
                  <a:lnTo>
                    <a:pt x="22" y="1202"/>
                  </a:lnTo>
                  <a:lnTo>
                    <a:pt x="6" y="1229"/>
                  </a:lnTo>
                  <a:lnTo>
                    <a:pt x="0" y="1262"/>
                  </a:lnTo>
                  <a:lnTo>
                    <a:pt x="11" y="1295"/>
                  </a:lnTo>
                  <a:lnTo>
                    <a:pt x="27" y="1327"/>
                  </a:lnTo>
                  <a:lnTo>
                    <a:pt x="54" y="1355"/>
                  </a:lnTo>
                  <a:lnTo>
                    <a:pt x="98" y="1382"/>
                  </a:lnTo>
                  <a:lnTo>
                    <a:pt x="141" y="1404"/>
                  </a:lnTo>
                  <a:lnTo>
                    <a:pt x="196" y="1425"/>
                  </a:lnTo>
                  <a:lnTo>
                    <a:pt x="261" y="1447"/>
                  </a:lnTo>
                  <a:lnTo>
                    <a:pt x="326" y="1469"/>
                  </a:lnTo>
                  <a:lnTo>
                    <a:pt x="266" y="1442"/>
                  </a:lnTo>
                  <a:lnTo>
                    <a:pt x="217" y="1414"/>
                  </a:lnTo>
                  <a:lnTo>
                    <a:pt x="174" y="1387"/>
                  </a:lnTo>
                  <a:lnTo>
                    <a:pt x="147" y="1360"/>
                  </a:lnTo>
                  <a:lnTo>
                    <a:pt x="125" y="1333"/>
                  </a:lnTo>
                  <a:lnTo>
                    <a:pt x="120" y="1306"/>
                  </a:lnTo>
                  <a:lnTo>
                    <a:pt x="125" y="1278"/>
                  </a:lnTo>
                  <a:lnTo>
                    <a:pt x="141" y="1257"/>
                  </a:lnTo>
                  <a:lnTo>
                    <a:pt x="174" y="1229"/>
                  </a:lnTo>
                  <a:lnTo>
                    <a:pt x="212" y="1208"/>
                  </a:lnTo>
                  <a:lnTo>
                    <a:pt x="272" y="1186"/>
                  </a:lnTo>
                  <a:lnTo>
                    <a:pt x="342" y="1164"/>
                  </a:lnTo>
                  <a:lnTo>
                    <a:pt x="423" y="1142"/>
                  </a:lnTo>
                  <a:lnTo>
                    <a:pt x="527" y="1121"/>
                  </a:lnTo>
                  <a:lnTo>
                    <a:pt x="641" y="1104"/>
                  </a:lnTo>
                  <a:lnTo>
                    <a:pt x="771" y="1088"/>
                  </a:lnTo>
                  <a:lnTo>
                    <a:pt x="771" y="1088"/>
                  </a:lnTo>
                  <a:close/>
                </a:path>
              </a:pathLst>
            </a:custGeom>
            <a:gradFill rotWithShape="0">
              <a:gsLst>
                <a:gs pos="0">
                  <a:schemeClr val="bg1">
                    <a:gamma/>
                    <a:shade val="84706"/>
                    <a:invGamma/>
                  </a:schemeClr>
                </a:gs>
                <a:gs pos="100000">
                  <a:schemeClr val="bg1"/>
                </a:gs>
              </a:gsLst>
              <a:lin ang="2700000" scaled="1"/>
            </a:gradFill>
            <a:ln w="9525">
              <a:noFill/>
              <a:round/>
              <a:headEnd/>
              <a:tailEnd/>
            </a:ln>
          </p:spPr>
          <p:txBody>
            <a:bodyPr/>
            <a:lstStyle/>
            <a:p>
              <a:pPr eaLnBrk="0" hangingPunct="0">
                <a:defRPr/>
              </a:pPr>
              <a:endParaRPr lang="en-US" sz="1800">
                <a:solidFill>
                  <a:srgbClr val="FFFFFF"/>
                </a:solidFill>
                <a:latin typeface="+mn-lt"/>
                <a:cs typeface="Arial" charset="0"/>
              </a:endParaRPr>
            </a:p>
          </p:txBody>
        </p:sp>
        <p:sp>
          <p:nvSpPr>
            <p:cNvPr id="7" name="Freeform 10">
              <a:extLst>
                <a:ext uri="{FF2B5EF4-FFF2-40B4-BE49-F238E27FC236}">
                  <a16:creationId xmlns:a16="http://schemas.microsoft.com/office/drawing/2014/main" id="{D25FA037-C834-4BB4-842F-11B6BC49AC8C}"/>
                </a:ext>
              </a:extLst>
            </p:cNvPr>
            <p:cNvSpPr>
              <a:spLocks/>
            </p:cNvSpPr>
            <p:nvPr/>
          </p:nvSpPr>
          <p:spPr bwMode="hidden">
            <a:xfrm>
              <a:off x="0" y="0"/>
              <a:ext cx="5758" cy="1776"/>
            </a:xfrm>
            <a:custGeom>
              <a:avLst/>
              <a:gdLst>
                <a:gd name="T0" fmla="*/ 0 w 5740"/>
                <a:gd name="T1" fmla="*/ 0 h 1906"/>
                <a:gd name="T2" fmla="*/ 0 w 5740"/>
                <a:gd name="T3" fmla="*/ 1437 h 1906"/>
                <a:gd name="T4" fmla="*/ 5812 w 5740"/>
                <a:gd name="T5" fmla="*/ 1437 h 1906"/>
                <a:gd name="T6" fmla="*/ 5812 w 5740"/>
                <a:gd name="T7" fmla="*/ 0 h 1906"/>
                <a:gd name="T8" fmla="*/ 0 w 5740"/>
                <a:gd name="T9" fmla="*/ 0 h 1906"/>
                <a:gd name="T10" fmla="*/ 0 w 5740"/>
                <a:gd name="T11" fmla="*/ 0 h 190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5740" h="1906">
                  <a:moveTo>
                    <a:pt x="0" y="0"/>
                  </a:moveTo>
                  <a:lnTo>
                    <a:pt x="0" y="1906"/>
                  </a:lnTo>
                  <a:lnTo>
                    <a:pt x="5740" y="1906"/>
                  </a:lnTo>
                  <a:lnTo>
                    <a:pt x="5740" y="0"/>
                  </a:lnTo>
                  <a:lnTo>
                    <a:pt x="0" y="0"/>
                  </a:lnTo>
                  <a:close/>
                </a:path>
              </a:pathLst>
            </a:custGeom>
            <a:gradFill rotWithShape="0">
              <a:gsLst>
                <a:gs pos="0">
                  <a:schemeClr val="bg2"/>
                </a:gs>
                <a:gs pos="100000">
                  <a:schemeClr val="bg1"/>
                </a:gs>
              </a:gsLst>
              <a:lin ang="54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800"/>
            </a:p>
          </p:txBody>
        </p:sp>
      </p:grpSp>
      <p:sp>
        <p:nvSpPr>
          <p:cNvPr id="207883" name="Rectangle 11"/>
          <p:cNvSpPr>
            <a:spLocks noGrp="1" noChangeArrowheads="1"/>
          </p:cNvSpPr>
          <p:nvPr>
            <p:ph type="ctrTitle" sz="quarter"/>
          </p:nvPr>
        </p:nvSpPr>
        <p:spPr>
          <a:xfrm>
            <a:off x="914400" y="1736726"/>
            <a:ext cx="10363200" cy="1920875"/>
          </a:xfrm>
        </p:spPr>
        <p:txBody>
          <a:bodyPr/>
          <a:lstStyle>
            <a:lvl1pPr>
              <a:defRPr sz="6000"/>
            </a:lvl1pPr>
          </a:lstStyle>
          <a:p>
            <a:r>
              <a:rPr lang="en-US"/>
              <a:t>Click to edit Master title style</a:t>
            </a:r>
          </a:p>
        </p:txBody>
      </p:sp>
      <p:sp>
        <p:nvSpPr>
          <p:cNvPr id="207884" name="Rectangle 12"/>
          <p:cNvSpPr>
            <a:spLocks noGrp="1" noChangeArrowheads="1"/>
          </p:cNvSpPr>
          <p:nvPr>
            <p:ph type="subTitle" sz="quarter" idx="1"/>
          </p:nvPr>
        </p:nvSpPr>
        <p:spPr>
          <a:xfrm>
            <a:off x="1828800" y="3886200"/>
            <a:ext cx="8534400" cy="1752600"/>
          </a:xfrm>
        </p:spPr>
        <p:txBody>
          <a:bodyPr/>
          <a:lstStyle>
            <a:lvl1pPr marL="0" indent="0" algn="ctr">
              <a:buFont typeface="Wingdings" pitchFamily="2" charset="2"/>
              <a:buNone/>
              <a:defRPr/>
            </a:lvl1pPr>
          </a:lstStyle>
          <a:p>
            <a:r>
              <a:rPr lang="en-US"/>
              <a:t>Click to edit Master subtitle style</a:t>
            </a:r>
          </a:p>
        </p:txBody>
      </p:sp>
      <p:sp>
        <p:nvSpPr>
          <p:cNvPr id="13" name="Rectangle 13">
            <a:extLst>
              <a:ext uri="{FF2B5EF4-FFF2-40B4-BE49-F238E27FC236}">
                <a16:creationId xmlns:a16="http://schemas.microsoft.com/office/drawing/2014/main" id="{CA431741-63F8-4001-A6BF-DF707E1BF8BF}"/>
              </a:ext>
            </a:extLst>
          </p:cNvPr>
          <p:cNvSpPr>
            <a:spLocks noGrp="1" noChangeArrowheads="1"/>
          </p:cNvSpPr>
          <p:nvPr>
            <p:ph type="dt" sz="quarter" idx="10"/>
          </p:nvPr>
        </p:nvSpPr>
        <p:spPr>
          <a:xfrm>
            <a:off x="609600" y="6248400"/>
            <a:ext cx="2844800" cy="476250"/>
          </a:xfrm>
        </p:spPr>
        <p:txBody>
          <a:bodyPr/>
          <a:lstStyle>
            <a:lvl1pPr fontAlgn="auto">
              <a:spcBef>
                <a:spcPts val="0"/>
              </a:spcBef>
              <a:spcAft>
                <a:spcPts val="0"/>
              </a:spcAft>
              <a:defRPr/>
            </a:lvl1pPr>
          </a:lstStyle>
          <a:p>
            <a:pPr>
              <a:defRPr/>
            </a:pPr>
            <a:endParaRPr lang="en-US"/>
          </a:p>
        </p:txBody>
      </p:sp>
      <p:sp>
        <p:nvSpPr>
          <p:cNvPr id="14" name="Rectangle 14">
            <a:extLst>
              <a:ext uri="{FF2B5EF4-FFF2-40B4-BE49-F238E27FC236}">
                <a16:creationId xmlns:a16="http://schemas.microsoft.com/office/drawing/2014/main" id="{0B04BA74-21B6-4C6C-9025-F56CF7F809D6}"/>
              </a:ext>
            </a:extLst>
          </p:cNvPr>
          <p:cNvSpPr>
            <a:spLocks noGrp="1" noChangeArrowheads="1"/>
          </p:cNvSpPr>
          <p:nvPr>
            <p:ph type="ftr" sz="quarter" idx="11"/>
          </p:nvPr>
        </p:nvSpPr>
        <p:spPr>
          <a:xfrm>
            <a:off x="4165600" y="6251575"/>
            <a:ext cx="3860800" cy="476250"/>
          </a:xfrm>
        </p:spPr>
        <p:txBody>
          <a:bodyPr/>
          <a:lstStyle>
            <a:lvl1pPr fontAlgn="auto">
              <a:spcBef>
                <a:spcPts val="0"/>
              </a:spcBef>
              <a:spcAft>
                <a:spcPts val="0"/>
              </a:spcAft>
              <a:defRPr/>
            </a:lvl1pPr>
          </a:lstStyle>
          <a:p>
            <a:pPr>
              <a:defRPr/>
            </a:pPr>
            <a:endParaRPr lang="en-US"/>
          </a:p>
        </p:txBody>
      </p:sp>
      <p:sp>
        <p:nvSpPr>
          <p:cNvPr id="15" name="Rectangle 15">
            <a:extLst>
              <a:ext uri="{FF2B5EF4-FFF2-40B4-BE49-F238E27FC236}">
                <a16:creationId xmlns:a16="http://schemas.microsoft.com/office/drawing/2014/main" id="{F024D372-A93F-44A5-BA6A-CCB9F20257EA}"/>
              </a:ext>
            </a:extLst>
          </p:cNvPr>
          <p:cNvSpPr>
            <a:spLocks noGrp="1" noChangeArrowheads="1"/>
          </p:cNvSpPr>
          <p:nvPr>
            <p:ph type="sldNum" sz="quarter" idx="12"/>
          </p:nvPr>
        </p:nvSpPr>
        <p:spPr>
          <a:xfrm>
            <a:off x="8737600" y="6254750"/>
            <a:ext cx="2844800" cy="476250"/>
          </a:xfrm>
        </p:spPr>
        <p:txBody>
          <a:bodyPr/>
          <a:lstStyle>
            <a:lvl1pPr>
              <a:defRPr/>
            </a:lvl1pPr>
          </a:lstStyle>
          <a:p>
            <a:fld id="{41953E79-57AF-4703-9FB0-27F3417DA020}" type="slidenum">
              <a:rPr lang="en-US" altLang="en-US"/>
              <a:pPr/>
              <a:t>‹#›</a:t>
            </a:fld>
            <a:endParaRPr lang="en-US" altLang="en-US"/>
          </a:p>
        </p:txBody>
      </p:sp>
    </p:spTree>
    <p:extLst>
      <p:ext uri="{BB962C8B-B14F-4D97-AF65-F5344CB8AC3E}">
        <p14:creationId xmlns:p14="http://schemas.microsoft.com/office/powerpoint/2010/main" val="205310844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2">
            <a:extLst>
              <a:ext uri="{FF2B5EF4-FFF2-40B4-BE49-F238E27FC236}">
                <a16:creationId xmlns:a16="http://schemas.microsoft.com/office/drawing/2014/main" id="{8478F1E2-4D8C-4ACD-9E16-2A458D52EDC6}"/>
              </a:ext>
            </a:extLst>
          </p:cNvPr>
          <p:cNvSpPr>
            <a:spLocks noGrp="1" noChangeArrowheads="1"/>
          </p:cNvSpPr>
          <p:nvPr>
            <p:ph type="dt" sz="half" idx="10"/>
          </p:nvPr>
        </p:nvSpPr>
        <p:spPr/>
        <p:txBody>
          <a:bodyPr/>
          <a:lstStyle>
            <a:lvl1pPr fontAlgn="auto">
              <a:spcBef>
                <a:spcPts val="0"/>
              </a:spcBef>
              <a:spcAft>
                <a:spcPts val="0"/>
              </a:spcAft>
              <a:defRPr/>
            </a:lvl1pPr>
          </a:lstStyle>
          <a:p>
            <a:pPr>
              <a:defRPr/>
            </a:pPr>
            <a:endParaRPr lang="en-US"/>
          </a:p>
        </p:txBody>
      </p:sp>
      <p:sp>
        <p:nvSpPr>
          <p:cNvPr id="5" name="Rectangle 3">
            <a:extLst>
              <a:ext uri="{FF2B5EF4-FFF2-40B4-BE49-F238E27FC236}">
                <a16:creationId xmlns:a16="http://schemas.microsoft.com/office/drawing/2014/main" id="{CD32025F-ADDA-487C-BA06-D965AC72ADC0}"/>
              </a:ext>
            </a:extLst>
          </p:cNvPr>
          <p:cNvSpPr>
            <a:spLocks noGrp="1" noChangeArrowheads="1"/>
          </p:cNvSpPr>
          <p:nvPr>
            <p:ph type="sldNum" sz="quarter" idx="11"/>
          </p:nvPr>
        </p:nvSpPr>
        <p:spPr/>
        <p:txBody>
          <a:bodyPr/>
          <a:lstStyle>
            <a:lvl1pPr>
              <a:defRPr/>
            </a:lvl1pPr>
          </a:lstStyle>
          <a:p>
            <a:fld id="{CFA5CD06-8702-4A77-94C2-90E8362D9B93}" type="slidenum">
              <a:rPr lang="en-US" altLang="en-US"/>
              <a:pPr/>
              <a:t>‹#›</a:t>
            </a:fld>
            <a:endParaRPr lang="en-US" altLang="en-US"/>
          </a:p>
        </p:txBody>
      </p:sp>
      <p:sp>
        <p:nvSpPr>
          <p:cNvPr id="6" name="Rectangle 14">
            <a:extLst>
              <a:ext uri="{FF2B5EF4-FFF2-40B4-BE49-F238E27FC236}">
                <a16:creationId xmlns:a16="http://schemas.microsoft.com/office/drawing/2014/main" id="{B06B806B-301D-4C0C-8BAE-533078D023FD}"/>
              </a:ext>
            </a:extLst>
          </p:cNvPr>
          <p:cNvSpPr>
            <a:spLocks noGrp="1" noChangeArrowheads="1"/>
          </p:cNvSpPr>
          <p:nvPr>
            <p:ph type="ftr" sz="quarter" idx="12"/>
          </p:nvPr>
        </p:nvSpPr>
        <p:spPr/>
        <p:txBody>
          <a:bodyPr/>
          <a:lstStyle>
            <a:lvl1pPr fontAlgn="auto">
              <a:spcBef>
                <a:spcPts val="0"/>
              </a:spcBef>
              <a:spcAft>
                <a:spcPts val="0"/>
              </a:spcAft>
              <a:defRPr/>
            </a:lvl1pPr>
          </a:lstStyle>
          <a:p>
            <a:pPr>
              <a:defRPr/>
            </a:pPr>
            <a:endParaRPr lang="en-US"/>
          </a:p>
        </p:txBody>
      </p:sp>
    </p:spTree>
    <p:extLst>
      <p:ext uri="{BB962C8B-B14F-4D97-AF65-F5344CB8AC3E}">
        <p14:creationId xmlns:p14="http://schemas.microsoft.com/office/powerpoint/2010/main" val="186159274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D5AED5-A90D-48C9-957C-337586EF285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8EEC936-58AB-47A1-A6D4-0D2B3B463144}"/>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152A8A1C-B341-4A99-877C-DE590A1635DF}"/>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1A4BF671-86D8-4CD1-B42A-54FA39474307}"/>
              </a:ext>
            </a:extLst>
          </p:cNvPr>
          <p:cNvSpPr>
            <a:spLocks noGrp="1"/>
          </p:cNvSpPr>
          <p:nvPr>
            <p:ph type="dt" sz="half" idx="10"/>
          </p:nvPr>
        </p:nvSpPr>
        <p:spPr/>
        <p:txBody>
          <a:bodyPr/>
          <a:lstStyle/>
          <a:p>
            <a:fld id="{0C08B2A5-1572-4DE8-941E-858EF0E10F23}" type="datetimeFigureOut">
              <a:rPr lang="en-US" smtClean="0"/>
              <a:t>12/6/2019</a:t>
            </a:fld>
            <a:endParaRPr lang="en-US"/>
          </a:p>
        </p:txBody>
      </p:sp>
      <p:sp>
        <p:nvSpPr>
          <p:cNvPr id="6" name="Footer Placeholder 5">
            <a:extLst>
              <a:ext uri="{FF2B5EF4-FFF2-40B4-BE49-F238E27FC236}">
                <a16:creationId xmlns:a16="http://schemas.microsoft.com/office/drawing/2014/main" id="{18D6E5AA-747F-4BF6-9C9B-E97B80F142C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4F1D70AF-4895-42F2-AA5E-BA72CAB94E76}"/>
              </a:ext>
            </a:extLst>
          </p:cNvPr>
          <p:cNvSpPr>
            <a:spLocks noGrp="1"/>
          </p:cNvSpPr>
          <p:nvPr>
            <p:ph type="sldNum" sz="quarter" idx="12"/>
          </p:nvPr>
        </p:nvSpPr>
        <p:spPr/>
        <p:txBody>
          <a:bodyPr/>
          <a:lstStyle/>
          <a:p>
            <a:fld id="{E5FAEECA-10E4-45EC-A9E1-A5331A7A6F2F}" type="slidenum">
              <a:rPr lang="en-US" smtClean="0"/>
              <a:t>‹#›</a:t>
            </a:fld>
            <a:endParaRPr lang="en-US"/>
          </a:p>
        </p:txBody>
      </p:sp>
    </p:spTree>
    <p:extLst>
      <p:ext uri="{BB962C8B-B14F-4D97-AF65-F5344CB8AC3E}">
        <p14:creationId xmlns:p14="http://schemas.microsoft.com/office/powerpoint/2010/main" val="385491747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Rectangle 2">
            <a:extLst>
              <a:ext uri="{FF2B5EF4-FFF2-40B4-BE49-F238E27FC236}">
                <a16:creationId xmlns:a16="http://schemas.microsoft.com/office/drawing/2014/main" id="{AA2C5F46-F8C4-4A4D-AB16-551675FAD677}"/>
              </a:ext>
            </a:extLst>
          </p:cNvPr>
          <p:cNvSpPr>
            <a:spLocks noGrp="1" noChangeArrowheads="1"/>
          </p:cNvSpPr>
          <p:nvPr>
            <p:ph type="dt" sz="half" idx="10"/>
          </p:nvPr>
        </p:nvSpPr>
        <p:spPr/>
        <p:txBody>
          <a:bodyPr/>
          <a:lstStyle>
            <a:lvl1pPr fontAlgn="auto">
              <a:spcBef>
                <a:spcPts val="0"/>
              </a:spcBef>
              <a:spcAft>
                <a:spcPts val="0"/>
              </a:spcAft>
              <a:defRPr/>
            </a:lvl1pPr>
          </a:lstStyle>
          <a:p>
            <a:pPr>
              <a:defRPr/>
            </a:pPr>
            <a:endParaRPr lang="en-US"/>
          </a:p>
        </p:txBody>
      </p:sp>
      <p:sp>
        <p:nvSpPr>
          <p:cNvPr id="5" name="Rectangle 3">
            <a:extLst>
              <a:ext uri="{FF2B5EF4-FFF2-40B4-BE49-F238E27FC236}">
                <a16:creationId xmlns:a16="http://schemas.microsoft.com/office/drawing/2014/main" id="{AAA5C647-EBAC-4CA0-BB8D-104983CE18B7}"/>
              </a:ext>
            </a:extLst>
          </p:cNvPr>
          <p:cNvSpPr>
            <a:spLocks noGrp="1" noChangeArrowheads="1"/>
          </p:cNvSpPr>
          <p:nvPr>
            <p:ph type="sldNum" sz="quarter" idx="11"/>
          </p:nvPr>
        </p:nvSpPr>
        <p:spPr/>
        <p:txBody>
          <a:bodyPr/>
          <a:lstStyle>
            <a:lvl1pPr>
              <a:defRPr/>
            </a:lvl1pPr>
          </a:lstStyle>
          <a:p>
            <a:fld id="{51284A80-97F8-4543-918C-BF2CF8E6CD88}" type="slidenum">
              <a:rPr lang="en-US" altLang="en-US"/>
              <a:pPr/>
              <a:t>‹#›</a:t>
            </a:fld>
            <a:endParaRPr lang="en-US" altLang="en-US"/>
          </a:p>
        </p:txBody>
      </p:sp>
      <p:sp>
        <p:nvSpPr>
          <p:cNvPr id="6" name="Rectangle 14">
            <a:extLst>
              <a:ext uri="{FF2B5EF4-FFF2-40B4-BE49-F238E27FC236}">
                <a16:creationId xmlns:a16="http://schemas.microsoft.com/office/drawing/2014/main" id="{161FBF54-27C1-4B87-9A25-28E277756B00}"/>
              </a:ext>
            </a:extLst>
          </p:cNvPr>
          <p:cNvSpPr>
            <a:spLocks noGrp="1" noChangeArrowheads="1"/>
          </p:cNvSpPr>
          <p:nvPr>
            <p:ph type="ftr" sz="quarter" idx="12"/>
          </p:nvPr>
        </p:nvSpPr>
        <p:spPr/>
        <p:txBody>
          <a:bodyPr/>
          <a:lstStyle>
            <a:lvl1pPr fontAlgn="auto">
              <a:spcBef>
                <a:spcPts val="0"/>
              </a:spcBef>
              <a:spcAft>
                <a:spcPts val="0"/>
              </a:spcAft>
              <a:defRPr/>
            </a:lvl1pPr>
          </a:lstStyle>
          <a:p>
            <a:pPr>
              <a:defRPr/>
            </a:pPr>
            <a:endParaRPr lang="en-US"/>
          </a:p>
        </p:txBody>
      </p:sp>
    </p:spTree>
    <p:extLst>
      <p:ext uri="{BB962C8B-B14F-4D97-AF65-F5344CB8AC3E}">
        <p14:creationId xmlns:p14="http://schemas.microsoft.com/office/powerpoint/2010/main" val="18724893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2">
            <a:extLst>
              <a:ext uri="{FF2B5EF4-FFF2-40B4-BE49-F238E27FC236}">
                <a16:creationId xmlns:a16="http://schemas.microsoft.com/office/drawing/2014/main" id="{DD8E9FFC-61A4-4E60-BB0C-20CDCC2B2981}"/>
              </a:ext>
            </a:extLst>
          </p:cNvPr>
          <p:cNvSpPr>
            <a:spLocks noGrp="1" noChangeArrowheads="1"/>
          </p:cNvSpPr>
          <p:nvPr>
            <p:ph type="dt" sz="half" idx="10"/>
          </p:nvPr>
        </p:nvSpPr>
        <p:spPr/>
        <p:txBody>
          <a:bodyPr/>
          <a:lstStyle>
            <a:lvl1pPr fontAlgn="auto">
              <a:spcBef>
                <a:spcPts val="0"/>
              </a:spcBef>
              <a:spcAft>
                <a:spcPts val="0"/>
              </a:spcAft>
              <a:defRPr/>
            </a:lvl1pPr>
          </a:lstStyle>
          <a:p>
            <a:pPr>
              <a:defRPr/>
            </a:pPr>
            <a:endParaRPr lang="en-US"/>
          </a:p>
        </p:txBody>
      </p:sp>
      <p:sp>
        <p:nvSpPr>
          <p:cNvPr id="6" name="Rectangle 3">
            <a:extLst>
              <a:ext uri="{FF2B5EF4-FFF2-40B4-BE49-F238E27FC236}">
                <a16:creationId xmlns:a16="http://schemas.microsoft.com/office/drawing/2014/main" id="{215C305D-8181-4EBE-BB19-4D3B645B91C8}"/>
              </a:ext>
            </a:extLst>
          </p:cNvPr>
          <p:cNvSpPr>
            <a:spLocks noGrp="1" noChangeArrowheads="1"/>
          </p:cNvSpPr>
          <p:nvPr>
            <p:ph type="sldNum" sz="quarter" idx="11"/>
          </p:nvPr>
        </p:nvSpPr>
        <p:spPr/>
        <p:txBody>
          <a:bodyPr/>
          <a:lstStyle>
            <a:lvl1pPr>
              <a:defRPr/>
            </a:lvl1pPr>
          </a:lstStyle>
          <a:p>
            <a:fld id="{CA465CBB-36D1-4AE0-8FB3-84CF1ED7CC74}" type="slidenum">
              <a:rPr lang="en-US" altLang="en-US"/>
              <a:pPr/>
              <a:t>‹#›</a:t>
            </a:fld>
            <a:endParaRPr lang="en-US" altLang="en-US"/>
          </a:p>
        </p:txBody>
      </p:sp>
      <p:sp>
        <p:nvSpPr>
          <p:cNvPr id="7" name="Rectangle 14">
            <a:extLst>
              <a:ext uri="{FF2B5EF4-FFF2-40B4-BE49-F238E27FC236}">
                <a16:creationId xmlns:a16="http://schemas.microsoft.com/office/drawing/2014/main" id="{10A3FCA3-3D55-4F91-8EBB-FD60AED6EAC0}"/>
              </a:ext>
            </a:extLst>
          </p:cNvPr>
          <p:cNvSpPr>
            <a:spLocks noGrp="1" noChangeArrowheads="1"/>
          </p:cNvSpPr>
          <p:nvPr>
            <p:ph type="ftr" sz="quarter" idx="12"/>
          </p:nvPr>
        </p:nvSpPr>
        <p:spPr/>
        <p:txBody>
          <a:bodyPr/>
          <a:lstStyle>
            <a:lvl1pPr fontAlgn="auto">
              <a:spcBef>
                <a:spcPts val="0"/>
              </a:spcBef>
              <a:spcAft>
                <a:spcPts val="0"/>
              </a:spcAft>
              <a:defRPr/>
            </a:lvl1pPr>
          </a:lstStyle>
          <a:p>
            <a:pPr>
              <a:defRPr/>
            </a:pPr>
            <a:endParaRPr lang="en-US"/>
          </a:p>
        </p:txBody>
      </p:sp>
    </p:spTree>
    <p:extLst>
      <p:ext uri="{BB962C8B-B14F-4D97-AF65-F5344CB8AC3E}">
        <p14:creationId xmlns:p14="http://schemas.microsoft.com/office/powerpoint/2010/main" val="328302251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2">
            <a:extLst>
              <a:ext uri="{FF2B5EF4-FFF2-40B4-BE49-F238E27FC236}">
                <a16:creationId xmlns:a16="http://schemas.microsoft.com/office/drawing/2014/main" id="{BF007E92-4B8C-44F3-B088-B5B9CB7833E7}"/>
              </a:ext>
            </a:extLst>
          </p:cNvPr>
          <p:cNvSpPr>
            <a:spLocks noGrp="1" noChangeArrowheads="1"/>
          </p:cNvSpPr>
          <p:nvPr>
            <p:ph type="dt" sz="half" idx="10"/>
          </p:nvPr>
        </p:nvSpPr>
        <p:spPr/>
        <p:txBody>
          <a:bodyPr/>
          <a:lstStyle>
            <a:lvl1pPr fontAlgn="auto">
              <a:spcBef>
                <a:spcPts val="0"/>
              </a:spcBef>
              <a:spcAft>
                <a:spcPts val="0"/>
              </a:spcAft>
              <a:defRPr/>
            </a:lvl1pPr>
          </a:lstStyle>
          <a:p>
            <a:pPr>
              <a:defRPr/>
            </a:pPr>
            <a:endParaRPr lang="en-US"/>
          </a:p>
        </p:txBody>
      </p:sp>
      <p:sp>
        <p:nvSpPr>
          <p:cNvPr id="8" name="Rectangle 3">
            <a:extLst>
              <a:ext uri="{FF2B5EF4-FFF2-40B4-BE49-F238E27FC236}">
                <a16:creationId xmlns:a16="http://schemas.microsoft.com/office/drawing/2014/main" id="{5557833A-354E-4A44-A416-D1EDE042855E}"/>
              </a:ext>
            </a:extLst>
          </p:cNvPr>
          <p:cNvSpPr>
            <a:spLocks noGrp="1" noChangeArrowheads="1"/>
          </p:cNvSpPr>
          <p:nvPr>
            <p:ph type="sldNum" sz="quarter" idx="11"/>
          </p:nvPr>
        </p:nvSpPr>
        <p:spPr/>
        <p:txBody>
          <a:bodyPr/>
          <a:lstStyle>
            <a:lvl1pPr>
              <a:defRPr/>
            </a:lvl1pPr>
          </a:lstStyle>
          <a:p>
            <a:fld id="{5442CF2A-0CE0-4FBC-B2B8-15BE1CB2F6AA}" type="slidenum">
              <a:rPr lang="en-US" altLang="en-US"/>
              <a:pPr/>
              <a:t>‹#›</a:t>
            </a:fld>
            <a:endParaRPr lang="en-US" altLang="en-US"/>
          </a:p>
        </p:txBody>
      </p:sp>
      <p:sp>
        <p:nvSpPr>
          <p:cNvPr id="9" name="Rectangle 14">
            <a:extLst>
              <a:ext uri="{FF2B5EF4-FFF2-40B4-BE49-F238E27FC236}">
                <a16:creationId xmlns:a16="http://schemas.microsoft.com/office/drawing/2014/main" id="{7372E540-F63F-44CA-983C-1CAA48781A98}"/>
              </a:ext>
            </a:extLst>
          </p:cNvPr>
          <p:cNvSpPr>
            <a:spLocks noGrp="1" noChangeArrowheads="1"/>
          </p:cNvSpPr>
          <p:nvPr>
            <p:ph type="ftr" sz="quarter" idx="12"/>
          </p:nvPr>
        </p:nvSpPr>
        <p:spPr/>
        <p:txBody>
          <a:bodyPr/>
          <a:lstStyle>
            <a:lvl1pPr fontAlgn="auto">
              <a:spcBef>
                <a:spcPts val="0"/>
              </a:spcBef>
              <a:spcAft>
                <a:spcPts val="0"/>
              </a:spcAft>
              <a:defRPr/>
            </a:lvl1pPr>
          </a:lstStyle>
          <a:p>
            <a:pPr>
              <a:defRPr/>
            </a:pPr>
            <a:endParaRPr lang="en-US"/>
          </a:p>
        </p:txBody>
      </p:sp>
    </p:spTree>
    <p:extLst>
      <p:ext uri="{BB962C8B-B14F-4D97-AF65-F5344CB8AC3E}">
        <p14:creationId xmlns:p14="http://schemas.microsoft.com/office/powerpoint/2010/main" val="45137455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2750F99F-37FD-4BF4-8B07-CB2FF506C896}"/>
              </a:ext>
            </a:extLst>
          </p:cNvPr>
          <p:cNvSpPr>
            <a:spLocks noGrp="1" noChangeArrowheads="1"/>
          </p:cNvSpPr>
          <p:nvPr>
            <p:ph type="dt" sz="half" idx="10"/>
          </p:nvPr>
        </p:nvSpPr>
        <p:spPr/>
        <p:txBody>
          <a:bodyPr/>
          <a:lstStyle>
            <a:lvl1pPr fontAlgn="auto">
              <a:spcBef>
                <a:spcPts val="0"/>
              </a:spcBef>
              <a:spcAft>
                <a:spcPts val="0"/>
              </a:spcAft>
              <a:defRPr/>
            </a:lvl1pPr>
          </a:lstStyle>
          <a:p>
            <a:pPr>
              <a:defRPr/>
            </a:pPr>
            <a:endParaRPr lang="en-US"/>
          </a:p>
        </p:txBody>
      </p:sp>
      <p:sp>
        <p:nvSpPr>
          <p:cNvPr id="4" name="Slide Number Placeholder 3">
            <a:extLst>
              <a:ext uri="{FF2B5EF4-FFF2-40B4-BE49-F238E27FC236}">
                <a16:creationId xmlns:a16="http://schemas.microsoft.com/office/drawing/2014/main" id="{E36609E2-3998-4617-AE36-17EDBBC43A4D}"/>
              </a:ext>
            </a:extLst>
          </p:cNvPr>
          <p:cNvSpPr>
            <a:spLocks noGrp="1" noChangeArrowheads="1"/>
          </p:cNvSpPr>
          <p:nvPr>
            <p:ph type="sldNum" sz="quarter" idx="11"/>
          </p:nvPr>
        </p:nvSpPr>
        <p:spPr/>
        <p:txBody>
          <a:bodyPr/>
          <a:lstStyle>
            <a:lvl1pPr>
              <a:defRPr/>
            </a:lvl1pPr>
          </a:lstStyle>
          <a:p>
            <a:fld id="{4A7CF21F-44A8-4555-81A6-5BF2B700D0F8}" type="slidenum">
              <a:rPr lang="en-US" altLang="en-US"/>
              <a:pPr/>
              <a:t>‹#›</a:t>
            </a:fld>
            <a:endParaRPr lang="en-US" altLang="en-US"/>
          </a:p>
        </p:txBody>
      </p:sp>
      <p:sp>
        <p:nvSpPr>
          <p:cNvPr id="5" name="Rectangle 14">
            <a:extLst>
              <a:ext uri="{FF2B5EF4-FFF2-40B4-BE49-F238E27FC236}">
                <a16:creationId xmlns:a16="http://schemas.microsoft.com/office/drawing/2014/main" id="{FE81A242-A109-4C8B-9F54-9680FF81F6BB}"/>
              </a:ext>
            </a:extLst>
          </p:cNvPr>
          <p:cNvSpPr>
            <a:spLocks noGrp="1" noChangeArrowheads="1"/>
          </p:cNvSpPr>
          <p:nvPr>
            <p:ph type="ftr" sz="quarter" idx="12"/>
          </p:nvPr>
        </p:nvSpPr>
        <p:spPr/>
        <p:txBody>
          <a:bodyPr/>
          <a:lstStyle>
            <a:lvl1pPr fontAlgn="auto">
              <a:spcBef>
                <a:spcPts val="0"/>
              </a:spcBef>
              <a:spcAft>
                <a:spcPts val="0"/>
              </a:spcAft>
              <a:defRPr/>
            </a:lvl1pPr>
          </a:lstStyle>
          <a:p>
            <a:pPr>
              <a:defRPr/>
            </a:pPr>
            <a:endParaRPr lang="en-US"/>
          </a:p>
        </p:txBody>
      </p:sp>
    </p:spTree>
    <p:extLst>
      <p:ext uri="{BB962C8B-B14F-4D97-AF65-F5344CB8AC3E}">
        <p14:creationId xmlns:p14="http://schemas.microsoft.com/office/powerpoint/2010/main" val="71713237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2">
            <a:extLst>
              <a:ext uri="{FF2B5EF4-FFF2-40B4-BE49-F238E27FC236}">
                <a16:creationId xmlns:a16="http://schemas.microsoft.com/office/drawing/2014/main" id="{CB64E7C1-0574-4905-A47F-6197275037B1}"/>
              </a:ext>
            </a:extLst>
          </p:cNvPr>
          <p:cNvSpPr>
            <a:spLocks noGrp="1" noChangeArrowheads="1"/>
          </p:cNvSpPr>
          <p:nvPr>
            <p:ph type="dt" sz="half" idx="10"/>
          </p:nvPr>
        </p:nvSpPr>
        <p:spPr/>
        <p:txBody>
          <a:bodyPr/>
          <a:lstStyle>
            <a:lvl1pPr fontAlgn="auto">
              <a:spcBef>
                <a:spcPts val="0"/>
              </a:spcBef>
              <a:spcAft>
                <a:spcPts val="0"/>
              </a:spcAft>
              <a:defRPr/>
            </a:lvl1pPr>
          </a:lstStyle>
          <a:p>
            <a:pPr>
              <a:defRPr/>
            </a:pPr>
            <a:endParaRPr lang="en-US"/>
          </a:p>
        </p:txBody>
      </p:sp>
      <p:sp>
        <p:nvSpPr>
          <p:cNvPr id="3" name="Rectangle 3">
            <a:extLst>
              <a:ext uri="{FF2B5EF4-FFF2-40B4-BE49-F238E27FC236}">
                <a16:creationId xmlns:a16="http://schemas.microsoft.com/office/drawing/2014/main" id="{C1D078A8-BEBE-4C49-869B-F71517D6832E}"/>
              </a:ext>
            </a:extLst>
          </p:cNvPr>
          <p:cNvSpPr>
            <a:spLocks noGrp="1" noChangeArrowheads="1"/>
          </p:cNvSpPr>
          <p:nvPr>
            <p:ph type="sldNum" sz="quarter" idx="11"/>
          </p:nvPr>
        </p:nvSpPr>
        <p:spPr/>
        <p:txBody>
          <a:bodyPr/>
          <a:lstStyle>
            <a:lvl1pPr>
              <a:defRPr/>
            </a:lvl1pPr>
          </a:lstStyle>
          <a:p>
            <a:fld id="{29C0AEE3-6D40-4BFD-81CD-DE9AD7BB12CB}" type="slidenum">
              <a:rPr lang="en-US" altLang="en-US"/>
              <a:pPr/>
              <a:t>‹#›</a:t>
            </a:fld>
            <a:endParaRPr lang="en-US" altLang="en-US"/>
          </a:p>
        </p:txBody>
      </p:sp>
      <p:sp>
        <p:nvSpPr>
          <p:cNvPr id="4" name="Rectangle 14">
            <a:extLst>
              <a:ext uri="{FF2B5EF4-FFF2-40B4-BE49-F238E27FC236}">
                <a16:creationId xmlns:a16="http://schemas.microsoft.com/office/drawing/2014/main" id="{B4C62381-4078-430D-A132-BA9D89E1A91D}"/>
              </a:ext>
            </a:extLst>
          </p:cNvPr>
          <p:cNvSpPr>
            <a:spLocks noGrp="1" noChangeArrowheads="1"/>
          </p:cNvSpPr>
          <p:nvPr>
            <p:ph type="ftr" sz="quarter" idx="12"/>
          </p:nvPr>
        </p:nvSpPr>
        <p:spPr/>
        <p:txBody>
          <a:bodyPr/>
          <a:lstStyle>
            <a:lvl1pPr fontAlgn="auto">
              <a:spcBef>
                <a:spcPts val="0"/>
              </a:spcBef>
              <a:spcAft>
                <a:spcPts val="0"/>
              </a:spcAft>
              <a:defRPr/>
            </a:lvl1pPr>
          </a:lstStyle>
          <a:p>
            <a:pPr>
              <a:defRPr/>
            </a:pPr>
            <a:endParaRPr lang="en-US"/>
          </a:p>
        </p:txBody>
      </p:sp>
    </p:spTree>
    <p:extLst>
      <p:ext uri="{BB962C8B-B14F-4D97-AF65-F5344CB8AC3E}">
        <p14:creationId xmlns:p14="http://schemas.microsoft.com/office/powerpoint/2010/main" val="166869075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2">
            <a:extLst>
              <a:ext uri="{FF2B5EF4-FFF2-40B4-BE49-F238E27FC236}">
                <a16:creationId xmlns:a16="http://schemas.microsoft.com/office/drawing/2014/main" id="{1DFC4DCB-909D-4A4A-A85D-44B047A4EBAB}"/>
              </a:ext>
            </a:extLst>
          </p:cNvPr>
          <p:cNvSpPr>
            <a:spLocks noGrp="1" noChangeArrowheads="1"/>
          </p:cNvSpPr>
          <p:nvPr>
            <p:ph type="dt" sz="half" idx="10"/>
          </p:nvPr>
        </p:nvSpPr>
        <p:spPr/>
        <p:txBody>
          <a:bodyPr/>
          <a:lstStyle>
            <a:lvl1pPr fontAlgn="auto">
              <a:spcBef>
                <a:spcPts val="0"/>
              </a:spcBef>
              <a:spcAft>
                <a:spcPts val="0"/>
              </a:spcAft>
              <a:defRPr/>
            </a:lvl1pPr>
          </a:lstStyle>
          <a:p>
            <a:pPr>
              <a:defRPr/>
            </a:pPr>
            <a:endParaRPr lang="en-US"/>
          </a:p>
        </p:txBody>
      </p:sp>
      <p:sp>
        <p:nvSpPr>
          <p:cNvPr id="6" name="Rectangle 3">
            <a:extLst>
              <a:ext uri="{FF2B5EF4-FFF2-40B4-BE49-F238E27FC236}">
                <a16:creationId xmlns:a16="http://schemas.microsoft.com/office/drawing/2014/main" id="{E743CCC4-A707-4E52-89D6-575FB4A32580}"/>
              </a:ext>
            </a:extLst>
          </p:cNvPr>
          <p:cNvSpPr>
            <a:spLocks noGrp="1" noChangeArrowheads="1"/>
          </p:cNvSpPr>
          <p:nvPr>
            <p:ph type="sldNum" sz="quarter" idx="11"/>
          </p:nvPr>
        </p:nvSpPr>
        <p:spPr/>
        <p:txBody>
          <a:bodyPr/>
          <a:lstStyle>
            <a:lvl1pPr>
              <a:defRPr/>
            </a:lvl1pPr>
          </a:lstStyle>
          <a:p>
            <a:fld id="{BD8373EB-E671-4EF5-8289-FABBD2230521}" type="slidenum">
              <a:rPr lang="en-US" altLang="en-US"/>
              <a:pPr/>
              <a:t>‹#›</a:t>
            </a:fld>
            <a:endParaRPr lang="en-US" altLang="en-US"/>
          </a:p>
        </p:txBody>
      </p:sp>
      <p:sp>
        <p:nvSpPr>
          <p:cNvPr id="7" name="Rectangle 14">
            <a:extLst>
              <a:ext uri="{FF2B5EF4-FFF2-40B4-BE49-F238E27FC236}">
                <a16:creationId xmlns:a16="http://schemas.microsoft.com/office/drawing/2014/main" id="{22C55A6C-2CB8-400F-9784-D4BB0DAFBCCE}"/>
              </a:ext>
            </a:extLst>
          </p:cNvPr>
          <p:cNvSpPr>
            <a:spLocks noGrp="1" noChangeArrowheads="1"/>
          </p:cNvSpPr>
          <p:nvPr>
            <p:ph type="ftr" sz="quarter" idx="12"/>
          </p:nvPr>
        </p:nvSpPr>
        <p:spPr/>
        <p:txBody>
          <a:bodyPr/>
          <a:lstStyle>
            <a:lvl1pPr fontAlgn="auto">
              <a:spcBef>
                <a:spcPts val="0"/>
              </a:spcBef>
              <a:spcAft>
                <a:spcPts val="0"/>
              </a:spcAft>
              <a:defRPr/>
            </a:lvl1pPr>
          </a:lstStyle>
          <a:p>
            <a:pPr>
              <a:defRPr/>
            </a:pPr>
            <a:endParaRPr lang="en-US"/>
          </a:p>
        </p:txBody>
      </p:sp>
    </p:spTree>
    <p:extLst>
      <p:ext uri="{BB962C8B-B14F-4D97-AF65-F5344CB8AC3E}">
        <p14:creationId xmlns:p14="http://schemas.microsoft.com/office/powerpoint/2010/main" val="15304868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2">
            <a:extLst>
              <a:ext uri="{FF2B5EF4-FFF2-40B4-BE49-F238E27FC236}">
                <a16:creationId xmlns:a16="http://schemas.microsoft.com/office/drawing/2014/main" id="{67FF0DB3-699F-4D28-A6A8-2CEFF9A22821}"/>
              </a:ext>
            </a:extLst>
          </p:cNvPr>
          <p:cNvSpPr>
            <a:spLocks noGrp="1" noChangeArrowheads="1"/>
          </p:cNvSpPr>
          <p:nvPr>
            <p:ph type="dt" sz="half" idx="10"/>
          </p:nvPr>
        </p:nvSpPr>
        <p:spPr/>
        <p:txBody>
          <a:bodyPr/>
          <a:lstStyle>
            <a:lvl1pPr fontAlgn="auto">
              <a:spcBef>
                <a:spcPts val="0"/>
              </a:spcBef>
              <a:spcAft>
                <a:spcPts val="0"/>
              </a:spcAft>
              <a:defRPr/>
            </a:lvl1pPr>
          </a:lstStyle>
          <a:p>
            <a:pPr>
              <a:defRPr/>
            </a:pPr>
            <a:endParaRPr lang="en-US"/>
          </a:p>
        </p:txBody>
      </p:sp>
      <p:sp>
        <p:nvSpPr>
          <p:cNvPr id="6" name="Rectangle 3">
            <a:extLst>
              <a:ext uri="{FF2B5EF4-FFF2-40B4-BE49-F238E27FC236}">
                <a16:creationId xmlns:a16="http://schemas.microsoft.com/office/drawing/2014/main" id="{4F5BC15A-C237-4E59-B3F5-F177F4397623}"/>
              </a:ext>
            </a:extLst>
          </p:cNvPr>
          <p:cNvSpPr>
            <a:spLocks noGrp="1" noChangeArrowheads="1"/>
          </p:cNvSpPr>
          <p:nvPr>
            <p:ph type="sldNum" sz="quarter" idx="11"/>
          </p:nvPr>
        </p:nvSpPr>
        <p:spPr/>
        <p:txBody>
          <a:bodyPr/>
          <a:lstStyle>
            <a:lvl1pPr>
              <a:defRPr/>
            </a:lvl1pPr>
          </a:lstStyle>
          <a:p>
            <a:fld id="{25C52D42-D528-4715-8C80-B524DDEF3B7C}" type="slidenum">
              <a:rPr lang="en-US" altLang="en-US"/>
              <a:pPr/>
              <a:t>‹#›</a:t>
            </a:fld>
            <a:endParaRPr lang="en-US" altLang="en-US"/>
          </a:p>
        </p:txBody>
      </p:sp>
      <p:sp>
        <p:nvSpPr>
          <p:cNvPr id="7" name="Rectangle 14">
            <a:extLst>
              <a:ext uri="{FF2B5EF4-FFF2-40B4-BE49-F238E27FC236}">
                <a16:creationId xmlns:a16="http://schemas.microsoft.com/office/drawing/2014/main" id="{88B24716-7966-4449-A6F1-BDD02EDD33F4}"/>
              </a:ext>
            </a:extLst>
          </p:cNvPr>
          <p:cNvSpPr>
            <a:spLocks noGrp="1" noChangeArrowheads="1"/>
          </p:cNvSpPr>
          <p:nvPr>
            <p:ph type="ftr" sz="quarter" idx="12"/>
          </p:nvPr>
        </p:nvSpPr>
        <p:spPr/>
        <p:txBody>
          <a:bodyPr/>
          <a:lstStyle>
            <a:lvl1pPr fontAlgn="auto">
              <a:spcBef>
                <a:spcPts val="0"/>
              </a:spcBef>
              <a:spcAft>
                <a:spcPts val="0"/>
              </a:spcAft>
              <a:defRPr/>
            </a:lvl1pPr>
          </a:lstStyle>
          <a:p>
            <a:pPr>
              <a:defRPr/>
            </a:pPr>
            <a:endParaRPr lang="en-US"/>
          </a:p>
        </p:txBody>
      </p:sp>
    </p:spTree>
    <p:extLst>
      <p:ext uri="{BB962C8B-B14F-4D97-AF65-F5344CB8AC3E}">
        <p14:creationId xmlns:p14="http://schemas.microsoft.com/office/powerpoint/2010/main" val="225874568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2">
            <a:extLst>
              <a:ext uri="{FF2B5EF4-FFF2-40B4-BE49-F238E27FC236}">
                <a16:creationId xmlns:a16="http://schemas.microsoft.com/office/drawing/2014/main" id="{2C012ED1-1355-4F3A-BF3C-2DDABAA5EB06}"/>
              </a:ext>
            </a:extLst>
          </p:cNvPr>
          <p:cNvSpPr>
            <a:spLocks noGrp="1" noChangeArrowheads="1"/>
          </p:cNvSpPr>
          <p:nvPr>
            <p:ph type="dt" sz="half" idx="10"/>
          </p:nvPr>
        </p:nvSpPr>
        <p:spPr/>
        <p:txBody>
          <a:bodyPr/>
          <a:lstStyle>
            <a:lvl1pPr fontAlgn="auto">
              <a:spcBef>
                <a:spcPts val="0"/>
              </a:spcBef>
              <a:spcAft>
                <a:spcPts val="0"/>
              </a:spcAft>
              <a:defRPr/>
            </a:lvl1pPr>
          </a:lstStyle>
          <a:p>
            <a:pPr>
              <a:defRPr/>
            </a:pPr>
            <a:endParaRPr lang="en-US"/>
          </a:p>
        </p:txBody>
      </p:sp>
      <p:sp>
        <p:nvSpPr>
          <p:cNvPr id="5" name="Rectangle 3">
            <a:extLst>
              <a:ext uri="{FF2B5EF4-FFF2-40B4-BE49-F238E27FC236}">
                <a16:creationId xmlns:a16="http://schemas.microsoft.com/office/drawing/2014/main" id="{119407FD-3AF4-4BAE-8141-3B4CBBDBB675}"/>
              </a:ext>
            </a:extLst>
          </p:cNvPr>
          <p:cNvSpPr>
            <a:spLocks noGrp="1" noChangeArrowheads="1"/>
          </p:cNvSpPr>
          <p:nvPr>
            <p:ph type="sldNum" sz="quarter" idx="11"/>
          </p:nvPr>
        </p:nvSpPr>
        <p:spPr/>
        <p:txBody>
          <a:bodyPr/>
          <a:lstStyle>
            <a:lvl1pPr>
              <a:defRPr/>
            </a:lvl1pPr>
          </a:lstStyle>
          <a:p>
            <a:fld id="{D109BA00-E454-406D-87F6-EA56A529BC50}" type="slidenum">
              <a:rPr lang="en-US" altLang="en-US"/>
              <a:pPr/>
              <a:t>‹#›</a:t>
            </a:fld>
            <a:endParaRPr lang="en-US" altLang="en-US"/>
          </a:p>
        </p:txBody>
      </p:sp>
      <p:sp>
        <p:nvSpPr>
          <p:cNvPr id="6" name="Rectangle 14">
            <a:extLst>
              <a:ext uri="{FF2B5EF4-FFF2-40B4-BE49-F238E27FC236}">
                <a16:creationId xmlns:a16="http://schemas.microsoft.com/office/drawing/2014/main" id="{EB5B5096-FFC3-45FD-995B-198C358B14D6}"/>
              </a:ext>
            </a:extLst>
          </p:cNvPr>
          <p:cNvSpPr>
            <a:spLocks noGrp="1" noChangeArrowheads="1"/>
          </p:cNvSpPr>
          <p:nvPr>
            <p:ph type="ftr" sz="quarter" idx="12"/>
          </p:nvPr>
        </p:nvSpPr>
        <p:spPr/>
        <p:txBody>
          <a:bodyPr/>
          <a:lstStyle>
            <a:lvl1pPr fontAlgn="auto">
              <a:spcBef>
                <a:spcPts val="0"/>
              </a:spcBef>
              <a:spcAft>
                <a:spcPts val="0"/>
              </a:spcAft>
              <a:defRPr/>
            </a:lvl1pPr>
          </a:lstStyle>
          <a:p>
            <a:pPr>
              <a:defRPr/>
            </a:pPr>
            <a:endParaRPr lang="en-US"/>
          </a:p>
        </p:txBody>
      </p:sp>
    </p:spTree>
    <p:extLst>
      <p:ext uri="{BB962C8B-B14F-4D97-AF65-F5344CB8AC3E}">
        <p14:creationId xmlns:p14="http://schemas.microsoft.com/office/powerpoint/2010/main" val="425298832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39"/>
            <a:ext cx="27432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9600" y="274639"/>
            <a:ext cx="80264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2">
            <a:extLst>
              <a:ext uri="{FF2B5EF4-FFF2-40B4-BE49-F238E27FC236}">
                <a16:creationId xmlns:a16="http://schemas.microsoft.com/office/drawing/2014/main" id="{FB3B0537-E322-482A-A5EA-28A574CD8CC2}"/>
              </a:ext>
            </a:extLst>
          </p:cNvPr>
          <p:cNvSpPr>
            <a:spLocks noGrp="1" noChangeArrowheads="1"/>
          </p:cNvSpPr>
          <p:nvPr>
            <p:ph type="dt" sz="half" idx="10"/>
          </p:nvPr>
        </p:nvSpPr>
        <p:spPr/>
        <p:txBody>
          <a:bodyPr/>
          <a:lstStyle>
            <a:lvl1pPr fontAlgn="auto">
              <a:spcBef>
                <a:spcPts val="0"/>
              </a:spcBef>
              <a:spcAft>
                <a:spcPts val="0"/>
              </a:spcAft>
              <a:defRPr/>
            </a:lvl1pPr>
          </a:lstStyle>
          <a:p>
            <a:pPr>
              <a:defRPr/>
            </a:pPr>
            <a:endParaRPr lang="en-US"/>
          </a:p>
        </p:txBody>
      </p:sp>
      <p:sp>
        <p:nvSpPr>
          <p:cNvPr id="5" name="Rectangle 3">
            <a:extLst>
              <a:ext uri="{FF2B5EF4-FFF2-40B4-BE49-F238E27FC236}">
                <a16:creationId xmlns:a16="http://schemas.microsoft.com/office/drawing/2014/main" id="{B67907A1-E75C-4A7E-BB4F-4047C85D0412}"/>
              </a:ext>
            </a:extLst>
          </p:cNvPr>
          <p:cNvSpPr>
            <a:spLocks noGrp="1" noChangeArrowheads="1"/>
          </p:cNvSpPr>
          <p:nvPr>
            <p:ph type="sldNum" sz="quarter" idx="11"/>
          </p:nvPr>
        </p:nvSpPr>
        <p:spPr/>
        <p:txBody>
          <a:bodyPr/>
          <a:lstStyle>
            <a:lvl1pPr>
              <a:defRPr/>
            </a:lvl1pPr>
          </a:lstStyle>
          <a:p>
            <a:fld id="{122F0607-79AF-42F9-B1FC-8C8C5FDF54AB}" type="slidenum">
              <a:rPr lang="en-US" altLang="en-US"/>
              <a:pPr/>
              <a:t>‹#›</a:t>
            </a:fld>
            <a:endParaRPr lang="en-US" altLang="en-US"/>
          </a:p>
        </p:txBody>
      </p:sp>
      <p:sp>
        <p:nvSpPr>
          <p:cNvPr id="6" name="Rectangle 14">
            <a:extLst>
              <a:ext uri="{FF2B5EF4-FFF2-40B4-BE49-F238E27FC236}">
                <a16:creationId xmlns:a16="http://schemas.microsoft.com/office/drawing/2014/main" id="{B8903B15-393A-4BBF-9477-AFB360CE4C59}"/>
              </a:ext>
            </a:extLst>
          </p:cNvPr>
          <p:cNvSpPr>
            <a:spLocks noGrp="1" noChangeArrowheads="1"/>
          </p:cNvSpPr>
          <p:nvPr>
            <p:ph type="ftr" sz="quarter" idx="12"/>
          </p:nvPr>
        </p:nvSpPr>
        <p:spPr/>
        <p:txBody>
          <a:bodyPr/>
          <a:lstStyle>
            <a:lvl1pPr fontAlgn="auto">
              <a:spcBef>
                <a:spcPts val="0"/>
              </a:spcBef>
              <a:spcAft>
                <a:spcPts val="0"/>
              </a:spcAft>
              <a:defRPr/>
            </a:lvl1pPr>
          </a:lstStyle>
          <a:p>
            <a:pPr>
              <a:defRPr/>
            </a:pPr>
            <a:endParaRPr lang="en-US"/>
          </a:p>
        </p:txBody>
      </p:sp>
    </p:spTree>
    <p:extLst>
      <p:ext uri="{BB962C8B-B14F-4D97-AF65-F5344CB8AC3E}">
        <p14:creationId xmlns:p14="http://schemas.microsoft.com/office/powerpoint/2010/main" val="154882661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xAndTwoObj" preserve="1">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p:spPr>
        <p:txBody>
          <a:bodyPr/>
          <a:lstStyle/>
          <a:p>
            <a:r>
              <a:rPr lang="en-US"/>
              <a:t>Click to edit Master title style</a:t>
            </a:r>
          </a:p>
        </p:txBody>
      </p:sp>
      <p:sp>
        <p:nvSpPr>
          <p:cNvPr id="3" name="Text Placeholder 2"/>
          <p:cNvSpPr>
            <a:spLocks noGrp="1"/>
          </p:cNvSpPr>
          <p:nvPr>
            <p:ph type="body" sz="half" idx="1"/>
          </p:nvPr>
        </p:nvSpPr>
        <p:spPr>
          <a:xfrm>
            <a:off x="609600" y="1600201"/>
            <a:ext cx="5384800" cy="45259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quarter" idx="2"/>
          </p:nvPr>
        </p:nvSpPr>
        <p:spPr>
          <a:xfrm>
            <a:off x="6197600" y="1600200"/>
            <a:ext cx="5384800" cy="21859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4"/>
          <p:cNvSpPr>
            <a:spLocks noGrp="1"/>
          </p:cNvSpPr>
          <p:nvPr>
            <p:ph sz="quarter" idx="3"/>
          </p:nvPr>
        </p:nvSpPr>
        <p:spPr>
          <a:xfrm>
            <a:off x="6197600" y="3938589"/>
            <a:ext cx="5384800" cy="21875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Rectangle 2">
            <a:extLst>
              <a:ext uri="{FF2B5EF4-FFF2-40B4-BE49-F238E27FC236}">
                <a16:creationId xmlns:a16="http://schemas.microsoft.com/office/drawing/2014/main" id="{B15722DC-A9BD-449D-AD84-B7D85691CAB2}"/>
              </a:ext>
            </a:extLst>
          </p:cNvPr>
          <p:cNvSpPr>
            <a:spLocks noGrp="1" noChangeArrowheads="1"/>
          </p:cNvSpPr>
          <p:nvPr>
            <p:ph type="dt" sz="half" idx="10"/>
          </p:nvPr>
        </p:nvSpPr>
        <p:spPr/>
        <p:txBody>
          <a:bodyPr/>
          <a:lstStyle>
            <a:lvl1pPr fontAlgn="auto">
              <a:spcBef>
                <a:spcPts val="0"/>
              </a:spcBef>
              <a:spcAft>
                <a:spcPts val="0"/>
              </a:spcAft>
              <a:defRPr/>
            </a:lvl1pPr>
          </a:lstStyle>
          <a:p>
            <a:pPr>
              <a:defRPr/>
            </a:pPr>
            <a:endParaRPr lang="en-US"/>
          </a:p>
        </p:txBody>
      </p:sp>
      <p:sp>
        <p:nvSpPr>
          <p:cNvPr id="7" name="Rectangle 3">
            <a:extLst>
              <a:ext uri="{FF2B5EF4-FFF2-40B4-BE49-F238E27FC236}">
                <a16:creationId xmlns:a16="http://schemas.microsoft.com/office/drawing/2014/main" id="{F8347FB9-4127-4896-8BD6-21E0B6A9E9F2}"/>
              </a:ext>
            </a:extLst>
          </p:cNvPr>
          <p:cNvSpPr>
            <a:spLocks noGrp="1" noChangeArrowheads="1"/>
          </p:cNvSpPr>
          <p:nvPr>
            <p:ph type="sldNum" sz="quarter" idx="11"/>
          </p:nvPr>
        </p:nvSpPr>
        <p:spPr/>
        <p:txBody>
          <a:bodyPr/>
          <a:lstStyle>
            <a:lvl1pPr>
              <a:defRPr/>
            </a:lvl1pPr>
          </a:lstStyle>
          <a:p>
            <a:fld id="{2070912D-03F1-4EB4-9EF5-D54FA2083E38}" type="slidenum">
              <a:rPr lang="en-US" altLang="en-US"/>
              <a:pPr/>
              <a:t>‹#›</a:t>
            </a:fld>
            <a:endParaRPr lang="en-US" altLang="en-US"/>
          </a:p>
        </p:txBody>
      </p:sp>
      <p:sp>
        <p:nvSpPr>
          <p:cNvPr id="8" name="Rectangle 14">
            <a:extLst>
              <a:ext uri="{FF2B5EF4-FFF2-40B4-BE49-F238E27FC236}">
                <a16:creationId xmlns:a16="http://schemas.microsoft.com/office/drawing/2014/main" id="{34096010-31B3-4C75-A5FE-774361887E04}"/>
              </a:ext>
            </a:extLst>
          </p:cNvPr>
          <p:cNvSpPr>
            <a:spLocks noGrp="1" noChangeArrowheads="1"/>
          </p:cNvSpPr>
          <p:nvPr>
            <p:ph type="ftr" sz="quarter" idx="12"/>
          </p:nvPr>
        </p:nvSpPr>
        <p:spPr/>
        <p:txBody>
          <a:bodyPr/>
          <a:lstStyle>
            <a:lvl1pPr fontAlgn="auto">
              <a:spcBef>
                <a:spcPts val="0"/>
              </a:spcBef>
              <a:spcAft>
                <a:spcPts val="0"/>
              </a:spcAft>
              <a:defRPr/>
            </a:lvl1pPr>
          </a:lstStyle>
          <a:p>
            <a:pPr>
              <a:defRPr/>
            </a:pPr>
            <a:endParaRPr lang="en-US"/>
          </a:p>
        </p:txBody>
      </p:sp>
    </p:spTree>
    <p:extLst>
      <p:ext uri="{BB962C8B-B14F-4D97-AF65-F5344CB8AC3E}">
        <p14:creationId xmlns:p14="http://schemas.microsoft.com/office/powerpoint/2010/main" val="249542658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E6BDBA-DFD8-4DB6-A205-04FFFEF2D413}"/>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DEBF4206-5CFF-4E21-94C6-88BBC54BABCB}"/>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E767B148-0A9C-47A4-BF1D-B7CB917C9C15}"/>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3229AFCF-8055-4CE7-9A1D-854ED12AEFFC}"/>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ED773260-9A61-4ADE-8B06-8A48FD547BA4}"/>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D9628468-D5D2-464A-A2C5-9F93A0D0773B}"/>
              </a:ext>
            </a:extLst>
          </p:cNvPr>
          <p:cNvSpPr>
            <a:spLocks noGrp="1"/>
          </p:cNvSpPr>
          <p:nvPr>
            <p:ph type="dt" sz="half" idx="10"/>
          </p:nvPr>
        </p:nvSpPr>
        <p:spPr/>
        <p:txBody>
          <a:bodyPr/>
          <a:lstStyle/>
          <a:p>
            <a:fld id="{0C08B2A5-1572-4DE8-941E-858EF0E10F23}" type="datetimeFigureOut">
              <a:rPr lang="en-US" smtClean="0"/>
              <a:t>12/6/2019</a:t>
            </a:fld>
            <a:endParaRPr lang="en-US"/>
          </a:p>
        </p:txBody>
      </p:sp>
      <p:sp>
        <p:nvSpPr>
          <p:cNvPr id="8" name="Footer Placeholder 7">
            <a:extLst>
              <a:ext uri="{FF2B5EF4-FFF2-40B4-BE49-F238E27FC236}">
                <a16:creationId xmlns:a16="http://schemas.microsoft.com/office/drawing/2014/main" id="{769604CB-F6DE-4A50-A621-C2FBE770EC3B}"/>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9FEC02C8-B3E9-4256-B195-43597C11B99D}"/>
              </a:ext>
            </a:extLst>
          </p:cNvPr>
          <p:cNvSpPr>
            <a:spLocks noGrp="1"/>
          </p:cNvSpPr>
          <p:nvPr>
            <p:ph type="sldNum" sz="quarter" idx="12"/>
          </p:nvPr>
        </p:nvSpPr>
        <p:spPr/>
        <p:txBody>
          <a:bodyPr/>
          <a:lstStyle/>
          <a:p>
            <a:fld id="{E5FAEECA-10E4-45EC-A9E1-A5331A7A6F2F}" type="slidenum">
              <a:rPr lang="en-US" smtClean="0"/>
              <a:t>‹#›</a:t>
            </a:fld>
            <a:endParaRPr lang="en-US"/>
          </a:p>
        </p:txBody>
      </p:sp>
    </p:spTree>
    <p:extLst>
      <p:ext uri="{BB962C8B-B14F-4D97-AF65-F5344CB8AC3E}">
        <p14:creationId xmlns:p14="http://schemas.microsoft.com/office/powerpoint/2010/main" val="312114632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pSp>
        <p:nvGrpSpPr>
          <p:cNvPr id="4" name="Group 2">
            <a:extLst>
              <a:ext uri="{FF2B5EF4-FFF2-40B4-BE49-F238E27FC236}">
                <a16:creationId xmlns:a16="http://schemas.microsoft.com/office/drawing/2014/main" id="{01863B8F-B607-4A54-A899-0D9B8691F544}"/>
              </a:ext>
            </a:extLst>
          </p:cNvPr>
          <p:cNvGrpSpPr>
            <a:grpSpLocks/>
          </p:cNvGrpSpPr>
          <p:nvPr/>
        </p:nvGrpSpPr>
        <p:grpSpPr bwMode="auto">
          <a:xfrm>
            <a:off x="1" y="1"/>
            <a:ext cx="12187767" cy="6850063"/>
            <a:chOff x="0" y="0"/>
            <a:chExt cx="5758" cy="4315"/>
          </a:xfrm>
        </p:grpSpPr>
        <p:grpSp>
          <p:nvGrpSpPr>
            <p:cNvPr id="5" name="Group 3">
              <a:extLst>
                <a:ext uri="{FF2B5EF4-FFF2-40B4-BE49-F238E27FC236}">
                  <a16:creationId xmlns:a16="http://schemas.microsoft.com/office/drawing/2014/main" id="{739256F7-3DB1-478A-ABE3-1E1E7764F192}"/>
                </a:ext>
              </a:extLst>
            </p:cNvPr>
            <p:cNvGrpSpPr>
              <a:grpSpLocks/>
            </p:cNvGrpSpPr>
            <p:nvPr userDrawn="1"/>
          </p:nvGrpSpPr>
          <p:grpSpPr bwMode="auto">
            <a:xfrm>
              <a:off x="1728" y="2230"/>
              <a:ext cx="4027" cy="2085"/>
              <a:chOff x="1728" y="2230"/>
              <a:chExt cx="4027" cy="2085"/>
            </a:xfrm>
          </p:grpSpPr>
          <p:sp>
            <p:nvSpPr>
              <p:cNvPr id="8" name="Freeform 4">
                <a:extLst>
                  <a:ext uri="{FF2B5EF4-FFF2-40B4-BE49-F238E27FC236}">
                    <a16:creationId xmlns:a16="http://schemas.microsoft.com/office/drawing/2014/main" id="{0ABFA755-3F58-49B1-A807-9EF9D3DFC0B4}"/>
                  </a:ext>
                </a:extLst>
              </p:cNvPr>
              <p:cNvSpPr>
                <a:spLocks/>
              </p:cNvSpPr>
              <p:nvPr/>
            </p:nvSpPr>
            <p:spPr bwMode="hidden">
              <a:xfrm>
                <a:off x="1728" y="2644"/>
                <a:ext cx="2882" cy="1671"/>
              </a:xfrm>
              <a:custGeom>
                <a:avLst/>
                <a:gdLst/>
                <a:ahLst/>
                <a:cxnLst>
                  <a:cxn ang="0">
                    <a:pos x="2740" y="528"/>
                  </a:cxn>
                  <a:cxn ang="0">
                    <a:pos x="2632" y="484"/>
                  </a:cxn>
                  <a:cxn ang="0">
                    <a:pos x="2480" y="424"/>
                  </a:cxn>
                  <a:cxn ang="0">
                    <a:pos x="2203" y="343"/>
                  </a:cxn>
                  <a:cxn ang="0">
                    <a:pos x="1970" y="277"/>
                  </a:cxn>
                  <a:cxn ang="0">
                    <a:pos x="1807" y="212"/>
                  </a:cxn>
                  <a:cxn ang="0">
                    <a:pos x="1693" y="152"/>
                  </a:cxn>
                  <a:cxn ang="0">
                    <a:pos x="1628" y="103"/>
                  </a:cxn>
                  <a:cxn ang="0">
                    <a:pos x="1590" y="60"/>
                  </a:cxn>
                  <a:cxn ang="0">
                    <a:pos x="1579" y="27"/>
                  </a:cxn>
                  <a:cxn ang="0">
                    <a:pos x="1585" y="0"/>
                  </a:cxn>
                  <a:cxn ang="0">
                    <a:pos x="1557" y="49"/>
                  </a:cxn>
                  <a:cxn ang="0">
                    <a:pos x="1568" y="98"/>
                  </a:cxn>
                  <a:cxn ang="0">
                    <a:pos x="1617" y="141"/>
                  </a:cxn>
                  <a:cxn ang="0">
                    <a:pos x="1688" y="185"/>
                  </a:cxn>
                  <a:cxn ang="0">
                    <a:pos x="1791" y="228"/>
                  </a:cxn>
                  <a:cxn ang="0">
                    <a:pos x="2040" y="310"/>
                  </a:cxn>
                  <a:cxn ang="0">
                    <a:pos x="2285" y="381"/>
                  </a:cxn>
                  <a:cxn ang="0">
                    <a:pos x="2464" y="435"/>
                  </a:cxn>
                  <a:cxn ang="0">
                    <a:pos x="2605" y="484"/>
                  </a:cxn>
                  <a:cxn ang="0">
                    <a:pos x="2708" y="528"/>
                  </a:cxn>
                  <a:cxn ang="0">
                    <a:pos x="2768" y="560"/>
                  </a:cxn>
                  <a:cxn ang="0">
                    <a:pos x="2795" y="593"/>
                  </a:cxn>
                  <a:cxn ang="0">
                    <a:pos x="2795" y="642"/>
                  </a:cxn>
                  <a:cxn ang="0">
                    <a:pos x="2762" y="691"/>
                  </a:cxn>
                  <a:cxn ang="0">
                    <a:pos x="2692" y="735"/>
                  </a:cxn>
                  <a:cxn ang="0">
                    <a:pos x="2589" y="778"/>
                  </a:cxn>
                  <a:cxn ang="0">
                    <a:pos x="2458" y="822"/>
                  </a:cxn>
                  <a:cxn ang="0">
                    <a:pos x="2301" y="865"/>
                  </a:cxn>
                  <a:cxn ang="0">
                    <a:pos x="2030" y="930"/>
                  </a:cxn>
                  <a:cxn ang="0">
                    <a:pos x="1606" y="1034"/>
                  </a:cxn>
                  <a:cxn ang="0">
                    <a:pos x="1145" y="1164"/>
                  </a:cxn>
                  <a:cxn ang="0">
                    <a:pos x="673" y="1328"/>
                  </a:cxn>
                  <a:cxn ang="0">
                    <a:pos x="217" y="1545"/>
                  </a:cxn>
                  <a:cxn ang="0">
                    <a:pos x="353" y="1671"/>
                  </a:cxn>
                  <a:cxn ang="0">
                    <a:pos x="754" y="1469"/>
                  </a:cxn>
                  <a:cxn ang="0">
                    <a:pos x="1145" y="1311"/>
                  </a:cxn>
                  <a:cxn ang="0">
                    <a:pos x="1519" y="1186"/>
                  </a:cxn>
                  <a:cxn ang="0">
                    <a:pos x="1861" y="1083"/>
                  </a:cxn>
                  <a:cxn ang="0">
                    <a:pos x="2165" y="1007"/>
                  </a:cxn>
                  <a:cxn ang="0">
                    <a:pos x="2426" y="947"/>
                  </a:cxn>
                  <a:cxn ang="0">
                    <a:pos x="2626" y="892"/>
                  </a:cxn>
                  <a:cxn ang="0">
                    <a:pos x="2762" y="838"/>
                  </a:cxn>
                  <a:cxn ang="0">
                    <a:pos x="2827" y="794"/>
                  </a:cxn>
                  <a:cxn ang="0">
                    <a:pos x="2865" y="745"/>
                  </a:cxn>
                  <a:cxn ang="0">
                    <a:pos x="2882" y="702"/>
                  </a:cxn>
                  <a:cxn ang="0">
                    <a:pos x="2854" y="620"/>
                  </a:cxn>
                  <a:cxn ang="0">
                    <a:pos x="2800" y="560"/>
                  </a:cxn>
                  <a:cxn ang="0">
                    <a:pos x="2773" y="544"/>
                  </a:cxn>
                </a:cxnLst>
                <a:rect l="0" t="0" r="r" b="b"/>
                <a:pathLst>
                  <a:path w="2882" h="1671">
                    <a:moveTo>
                      <a:pt x="2773" y="544"/>
                    </a:moveTo>
                    <a:lnTo>
                      <a:pt x="2740" y="528"/>
                    </a:lnTo>
                    <a:lnTo>
                      <a:pt x="2692" y="506"/>
                    </a:lnTo>
                    <a:lnTo>
                      <a:pt x="2632" y="484"/>
                    </a:lnTo>
                    <a:lnTo>
                      <a:pt x="2561" y="457"/>
                    </a:lnTo>
                    <a:lnTo>
                      <a:pt x="2480" y="424"/>
                    </a:lnTo>
                    <a:lnTo>
                      <a:pt x="2388" y="397"/>
                    </a:lnTo>
                    <a:lnTo>
                      <a:pt x="2203" y="343"/>
                    </a:lnTo>
                    <a:lnTo>
                      <a:pt x="2078" y="310"/>
                    </a:lnTo>
                    <a:lnTo>
                      <a:pt x="1970" y="277"/>
                    </a:lnTo>
                    <a:lnTo>
                      <a:pt x="1878" y="245"/>
                    </a:lnTo>
                    <a:lnTo>
                      <a:pt x="1807" y="212"/>
                    </a:lnTo>
                    <a:lnTo>
                      <a:pt x="1742" y="179"/>
                    </a:lnTo>
                    <a:lnTo>
                      <a:pt x="1693" y="152"/>
                    </a:lnTo>
                    <a:lnTo>
                      <a:pt x="1655" y="125"/>
                    </a:lnTo>
                    <a:lnTo>
                      <a:pt x="1628" y="103"/>
                    </a:lnTo>
                    <a:lnTo>
                      <a:pt x="1606" y="81"/>
                    </a:lnTo>
                    <a:lnTo>
                      <a:pt x="1590" y="60"/>
                    </a:lnTo>
                    <a:lnTo>
                      <a:pt x="1585" y="43"/>
                    </a:lnTo>
                    <a:lnTo>
                      <a:pt x="1579" y="27"/>
                    </a:lnTo>
                    <a:lnTo>
                      <a:pt x="1585" y="5"/>
                    </a:lnTo>
                    <a:lnTo>
                      <a:pt x="1585" y="0"/>
                    </a:lnTo>
                    <a:lnTo>
                      <a:pt x="1568" y="27"/>
                    </a:lnTo>
                    <a:lnTo>
                      <a:pt x="1557" y="49"/>
                    </a:lnTo>
                    <a:lnTo>
                      <a:pt x="1557" y="76"/>
                    </a:lnTo>
                    <a:lnTo>
                      <a:pt x="1568" y="98"/>
                    </a:lnTo>
                    <a:lnTo>
                      <a:pt x="1590" y="120"/>
                    </a:lnTo>
                    <a:lnTo>
                      <a:pt x="1617" y="141"/>
                    </a:lnTo>
                    <a:lnTo>
                      <a:pt x="1650" y="163"/>
                    </a:lnTo>
                    <a:lnTo>
                      <a:pt x="1688" y="185"/>
                    </a:lnTo>
                    <a:lnTo>
                      <a:pt x="1737" y="207"/>
                    </a:lnTo>
                    <a:lnTo>
                      <a:pt x="1791" y="228"/>
                    </a:lnTo>
                    <a:lnTo>
                      <a:pt x="1905" y="267"/>
                    </a:lnTo>
                    <a:lnTo>
                      <a:pt x="2040" y="310"/>
                    </a:lnTo>
                    <a:lnTo>
                      <a:pt x="2182" y="348"/>
                    </a:lnTo>
                    <a:lnTo>
                      <a:pt x="2285" y="381"/>
                    </a:lnTo>
                    <a:lnTo>
                      <a:pt x="2382" y="408"/>
                    </a:lnTo>
                    <a:lnTo>
                      <a:pt x="2464" y="435"/>
                    </a:lnTo>
                    <a:lnTo>
                      <a:pt x="2540" y="462"/>
                    </a:lnTo>
                    <a:lnTo>
                      <a:pt x="2605" y="484"/>
                    </a:lnTo>
                    <a:lnTo>
                      <a:pt x="2659" y="506"/>
                    </a:lnTo>
                    <a:lnTo>
                      <a:pt x="2708" y="528"/>
                    </a:lnTo>
                    <a:lnTo>
                      <a:pt x="2740" y="544"/>
                    </a:lnTo>
                    <a:lnTo>
                      <a:pt x="2768" y="560"/>
                    </a:lnTo>
                    <a:lnTo>
                      <a:pt x="2784" y="577"/>
                    </a:lnTo>
                    <a:lnTo>
                      <a:pt x="2795" y="593"/>
                    </a:lnTo>
                    <a:lnTo>
                      <a:pt x="2800" y="615"/>
                    </a:lnTo>
                    <a:lnTo>
                      <a:pt x="2795" y="642"/>
                    </a:lnTo>
                    <a:lnTo>
                      <a:pt x="2784" y="664"/>
                    </a:lnTo>
                    <a:lnTo>
                      <a:pt x="2762" y="691"/>
                    </a:lnTo>
                    <a:lnTo>
                      <a:pt x="2730" y="713"/>
                    </a:lnTo>
                    <a:lnTo>
                      <a:pt x="2692" y="735"/>
                    </a:lnTo>
                    <a:lnTo>
                      <a:pt x="2643" y="756"/>
                    </a:lnTo>
                    <a:lnTo>
                      <a:pt x="2589" y="778"/>
                    </a:lnTo>
                    <a:lnTo>
                      <a:pt x="2529" y="800"/>
                    </a:lnTo>
                    <a:lnTo>
                      <a:pt x="2458" y="822"/>
                    </a:lnTo>
                    <a:lnTo>
                      <a:pt x="2382" y="843"/>
                    </a:lnTo>
                    <a:lnTo>
                      <a:pt x="2301" y="865"/>
                    </a:lnTo>
                    <a:lnTo>
                      <a:pt x="2214" y="887"/>
                    </a:lnTo>
                    <a:lnTo>
                      <a:pt x="2030" y="930"/>
                    </a:lnTo>
                    <a:lnTo>
                      <a:pt x="1823" y="979"/>
                    </a:lnTo>
                    <a:lnTo>
                      <a:pt x="1606" y="1034"/>
                    </a:lnTo>
                    <a:lnTo>
                      <a:pt x="1378" y="1094"/>
                    </a:lnTo>
                    <a:lnTo>
                      <a:pt x="1145" y="1164"/>
                    </a:lnTo>
                    <a:lnTo>
                      <a:pt x="912" y="1241"/>
                    </a:lnTo>
                    <a:lnTo>
                      <a:pt x="673" y="1328"/>
                    </a:lnTo>
                    <a:lnTo>
                      <a:pt x="440" y="1431"/>
                    </a:lnTo>
                    <a:lnTo>
                      <a:pt x="217" y="1545"/>
                    </a:lnTo>
                    <a:lnTo>
                      <a:pt x="0" y="1671"/>
                    </a:lnTo>
                    <a:lnTo>
                      <a:pt x="353" y="1671"/>
                    </a:lnTo>
                    <a:lnTo>
                      <a:pt x="554" y="1567"/>
                    </a:lnTo>
                    <a:lnTo>
                      <a:pt x="754" y="1469"/>
                    </a:lnTo>
                    <a:lnTo>
                      <a:pt x="955" y="1388"/>
                    </a:lnTo>
                    <a:lnTo>
                      <a:pt x="1145" y="1311"/>
                    </a:lnTo>
                    <a:lnTo>
                      <a:pt x="1335" y="1241"/>
                    </a:lnTo>
                    <a:lnTo>
                      <a:pt x="1519" y="1186"/>
                    </a:lnTo>
                    <a:lnTo>
                      <a:pt x="1693" y="1132"/>
                    </a:lnTo>
                    <a:lnTo>
                      <a:pt x="1861" y="1083"/>
                    </a:lnTo>
                    <a:lnTo>
                      <a:pt x="2019" y="1045"/>
                    </a:lnTo>
                    <a:lnTo>
                      <a:pt x="2165" y="1007"/>
                    </a:lnTo>
                    <a:lnTo>
                      <a:pt x="2301" y="974"/>
                    </a:lnTo>
                    <a:lnTo>
                      <a:pt x="2426" y="947"/>
                    </a:lnTo>
                    <a:lnTo>
                      <a:pt x="2534" y="914"/>
                    </a:lnTo>
                    <a:lnTo>
                      <a:pt x="2626" y="892"/>
                    </a:lnTo>
                    <a:lnTo>
                      <a:pt x="2702" y="865"/>
                    </a:lnTo>
                    <a:lnTo>
                      <a:pt x="2762" y="838"/>
                    </a:lnTo>
                    <a:lnTo>
                      <a:pt x="2800" y="816"/>
                    </a:lnTo>
                    <a:lnTo>
                      <a:pt x="2827" y="794"/>
                    </a:lnTo>
                    <a:lnTo>
                      <a:pt x="2849" y="767"/>
                    </a:lnTo>
                    <a:lnTo>
                      <a:pt x="2865" y="745"/>
                    </a:lnTo>
                    <a:lnTo>
                      <a:pt x="2876" y="724"/>
                    </a:lnTo>
                    <a:lnTo>
                      <a:pt x="2882" y="702"/>
                    </a:lnTo>
                    <a:lnTo>
                      <a:pt x="2876" y="658"/>
                    </a:lnTo>
                    <a:lnTo>
                      <a:pt x="2854" y="620"/>
                    </a:lnTo>
                    <a:lnTo>
                      <a:pt x="2833" y="588"/>
                    </a:lnTo>
                    <a:lnTo>
                      <a:pt x="2800" y="560"/>
                    </a:lnTo>
                    <a:lnTo>
                      <a:pt x="2773" y="544"/>
                    </a:lnTo>
                    <a:lnTo>
                      <a:pt x="2773" y="544"/>
                    </a:lnTo>
                    <a:close/>
                  </a:path>
                </a:pathLst>
              </a:custGeom>
              <a:gradFill rotWithShape="0">
                <a:gsLst>
                  <a:gs pos="0">
                    <a:schemeClr val="bg1"/>
                  </a:gs>
                  <a:gs pos="100000">
                    <a:schemeClr val="bg1">
                      <a:gamma/>
                      <a:shade val="90980"/>
                      <a:invGamma/>
                    </a:schemeClr>
                  </a:gs>
                </a:gsLst>
                <a:lin ang="0" scaled="1"/>
              </a:gradFill>
              <a:ln w="9525">
                <a:noFill/>
                <a:round/>
                <a:headEnd/>
                <a:tailEnd/>
              </a:ln>
            </p:spPr>
            <p:txBody>
              <a:bodyPr/>
              <a:lstStyle/>
              <a:p>
                <a:pPr eaLnBrk="0" hangingPunct="0">
                  <a:defRPr/>
                </a:pPr>
                <a:endParaRPr lang="en-US" sz="1800">
                  <a:solidFill>
                    <a:srgbClr val="FFFFFF"/>
                  </a:solidFill>
                  <a:latin typeface="+mn-lt"/>
                  <a:cs typeface="+mn-cs"/>
                </a:endParaRPr>
              </a:p>
            </p:txBody>
          </p:sp>
          <p:sp>
            <p:nvSpPr>
              <p:cNvPr id="9" name="Freeform 5">
                <a:extLst>
                  <a:ext uri="{FF2B5EF4-FFF2-40B4-BE49-F238E27FC236}">
                    <a16:creationId xmlns:a16="http://schemas.microsoft.com/office/drawing/2014/main" id="{1E70602E-2126-42A3-8605-7519724960F8}"/>
                  </a:ext>
                </a:extLst>
              </p:cNvPr>
              <p:cNvSpPr>
                <a:spLocks/>
              </p:cNvSpPr>
              <p:nvPr/>
            </p:nvSpPr>
            <p:spPr bwMode="hidden">
              <a:xfrm>
                <a:off x="4170" y="2671"/>
                <a:ext cx="1259" cy="811"/>
              </a:xfrm>
              <a:custGeom>
                <a:avLst/>
                <a:gdLst/>
                <a:ahLst/>
                <a:cxnLst>
                  <a:cxn ang="0">
                    <a:pos x="1259" y="615"/>
                  </a:cxn>
                  <a:cxn ang="0">
                    <a:pos x="1248" y="588"/>
                  </a:cxn>
                  <a:cxn ang="0">
                    <a:pos x="1237" y="566"/>
                  </a:cxn>
                  <a:cxn ang="0">
                    <a:pos x="1216" y="539"/>
                  </a:cxn>
                  <a:cxn ang="0">
                    <a:pos x="1188" y="517"/>
                  </a:cxn>
                  <a:cxn ang="0">
                    <a:pos x="1123" y="479"/>
                  </a:cxn>
                  <a:cxn ang="0">
                    <a:pos x="1042" y="441"/>
                  </a:cxn>
                  <a:cxn ang="0">
                    <a:pos x="944" y="408"/>
                  </a:cxn>
                  <a:cxn ang="0">
                    <a:pos x="841" y="381"/>
                  </a:cxn>
                  <a:cxn ang="0">
                    <a:pos x="727" y="348"/>
                  </a:cxn>
                  <a:cxn ang="0">
                    <a:pos x="613" y="321"/>
                  </a:cxn>
                  <a:cxn ang="0">
                    <a:pos x="499" y="294"/>
                  </a:cxn>
                  <a:cxn ang="0">
                    <a:pos x="391" y="261"/>
                  </a:cxn>
                  <a:cxn ang="0">
                    <a:pos x="288" y="229"/>
                  </a:cxn>
                  <a:cxn ang="0">
                    <a:pos x="195" y="196"/>
                  </a:cxn>
                  <a:cxn ang="0">
                    <a:pos x="119" y="152"/>
                  </a:cxn>
                  <a:cxn ang="0">
                    <a:pos x="54" y="109"/>
                  </a:cxn>
                  <a:cxn ang="0">
                    <a:pos x="33" y="87"/>
                  </a:cxn>
                  <a:cxn ang="0">
                    <a:pos x="16" y="60"/>
                  </a:cxn>
                  <a:cxn ang="0">
                    <a:pos x="5" y="33"/>
                  </a:cxn>
                  <a:cxn ang="0">
                    <a:pos x="0" y="0"/>
                  </a:cxn>
                  <a:cxn ang="0">
                    <a:pos x="0" y="6"/>
                  </a:cxn>
                  <a:cxn ang="0">
                    <a:pos x="0" y="11"/>
                  </a:cxn>
                  <a:cxn ang="0">
                    <a:pos x="0" y="38"/>
                  </a:cxn>
                  <a:cxn ang="0">
                    <a:pos x="5" y="60"/>
                  </a:cxn>
                  <a:cxn ang="0">
                    <a:pos x="16" y="87"/>
                  </a:cxn>
                  <a:cxn ang="0">
                    <a:pos x="33" y="114"/>
                  </a:cxn>
                  <a:cxn ang="0">
                    <a:pos x="54" y="142"/>
                  </a:cxn>
                  <a:cxn ang="0">
                    <a:pos x="87" y="174"/>
                  </a:cxn>
                  <a:cxn ang="0">
                    <a:pos x="125" y="207"/>
                  </a:cxn>
                  <a:cxn ang="0">
                    <a:pos x="179" y="240"/>
                  </a:cxn>
                  <a:cxn ang="0">
                    <a:pos x="244" y="278"/>
                  </a:cxn>
                  <a:cxn ang="0">
                    <a:pos x="326" y="310"/>
                  </a:cxn>
                  <a:cxn ang="0">
                    <a:pos x="418" y="348"/>
                  </a:cxn>
                  <a:cxn ang="0">
                    <a:pos x="526" y="381"/>
                  </a:cxn>
                  <a:cxn ang="0">
                    <a:pos x="657" y="414"/>
                  </a:cxn>
                  <a:cxn ang="0">
                    <a:pos x="749" y="435"/>
                  </a:cxn>
                  <a:cxn ang="0">
                    <a:pos x="830" y="463"/>
                  </a:cxn>
                  <a:cxn ang="0">
                    <a:pos x="901" y="490"/>
                  </a:cxn>
                  <a:cxn ang="0">
                    <a:pos x="966" y="512"/>
                  </a:cxn>
                  <a:cxn ang="0">
                    <a:pos x="1015" y="539"/>
                  </a:cxn>
                  <a:cxn ang="0">
                    <a:pos x="1053" y="566"/>
                  </a:cxn>
                  <a:cxn ang="0">
                    <a:pos x="1080" y="593"/>
                  </a:cxn>
                  <a:cxn ang="0">
                    <a:pos x="1102" y="620"/>
                  </a:cxn>
                  <a:cxn ang="0">
                    <a:pos x="1112" y="648"/>
                  </a:cxn>
                  <a:cxn ang="0">
                    <a:pos x="1118" y="675"/>
                  </a:cxn>
                  <a:cxn ang="0">
                    <a:pos x="1112" y="697"/>
                  </a:cxn>
                  <a:cxn ang="0">
                    <a:pos x="1096" y="724"/>
                  </a:cxn>
                  <a:cxn ang="0">
                    <a:pos x="1080" y="746"/>
                  </a:cxn>
                  <a:cxn ang="0">
                    <a:pos x="1053" y="767"/>
                  </a:cxn>
                  <a:cxn ang="0">
                    <a:pos x="1015" y="789"/>
                  </a:cxn>
                  <a:cxn ang="0">
                    <a:pos x="977" y="811"/>
                  </a:cxn>
                  <a:cxn ang="0">
                    <a:pos x="1047" y="789"/>
                  </a:cxn>
                  <a:cxn ang="0">
                    <a:pos x="1107" y="767"/>
                  </a:cxn>
                  <a:cxn ang="0">
                    <a:pos x="1156" y="746"/>
                  </a:cxn>
                  <a:cxn ang="0">
                    <a:pos x="1199" y="724"/>
                  </a:cxn>
                  <a:cxn ang="0">
                    <a:pos x="1226" y="702"/>
                  </a:cxn>
                  <a:cxn ang="0">
                    <a:pos x="1248" y="675"/>
                  </a:cxn>
                  <a:cxn ang="0">
                    <a:pos x="1259" y="648"/>
                  </a:cxn>
                  <a:cxn ang="0">
                    <a:pos x="1259" y="615"/>
                  </a:cxn>
                  <a:cxn ang="0">
                    <a:pos x="1259" y="615"/>
                  </a:cxn>
                </a:cxnLst>
                <a:rect l="0" t="0" r="r" b="b"/>
                <a:pathLst>
                  <a:path w="1259" h="811">
                    <a:moveTo>
                      <a:pt x="1259" y="615"/>
                    </a:moveTo>
                    <a:lnTo>
                      <a:pt x="1248" y="588"/>
                    </a:lnTo>
                    <a:lnTo>
                      <a:pt x="1237" y="566"/>
                    </a:lnTo>
                    <a:lnTo>
                      <a:pt x="1216" y="539"/>
                    </a:lnTo>
                    <a:lnTo>
                      <a:pt x="1188" y="517"/>
                    </a:lnTo>
                    <a:lnTo>
                      <a:pt x="1123" y="479"/>
                    </a:lnTo>
                    <a:lnTo>
                      <a:pt x="1042" y="441"/>
                    </a:lnTo>
                    <a:lnTo>
                      <a:pt x="944" y="408"/>
                    </a:lnTo>
                    <a:lnTo>
                      <a:pt x="841" y="381"/>
                    </a:lnTo>
                    <a:lnTo>
                      <a:pt x="727" y="348"/>
                    </a:lnTo>
                    <a:lnTo>
                      <a:pt x="613" y="321"/>
                    </a:lnTo>
                    <a:lnTo>
                      <a:pt x="499" y="294"/>
                    </a:lnTo>
                    <a:lnTo>
                      <a:pt x="391" y="261"/>
                    </a:lnTo>
                    <a:lnTo>
                      <a:pt x="288" y="229"/>
                    </a:lnTo>
                    <a:lnTo>
                      <a:pt x="195" y="196"/>
                    </a:lnTo>
                    <a:lnTo>
                      <a:pt x="119" y="152"/>
                    </a:lnTo>
                    <a:lnTo>
                      <a:pt x="54" y="109"/>
                    </a:lnTo>
                    <a:lnTo>
                      <a:pt x="33" y="87"/>
                    </a:lnTo>
                    <a:lnTo>
                      <a:pt x="16" y="60"/>
                    </a:lnTo>
                    <a:lnTo>
                      <a:pt x="5" y="33"/>
                    </a:lnTo>
                    <a:lnTo>
                      <a:pt x="0" y="0"/>
                    </a:lnTo>
                    <a:lnTo>
                      <a:pt x="0" y="6"/>
                    </a:lnTo>
                    <a:lnTo>
                      <a:pt x="0" y="11"/>
                    </a:lnTo>
                    <a:lnTo>
                      <a:pt x="0" y="38"/>
                    </a:lnTo>
                    <a:lnTo>
                      <a:pt x="5" y="60"/>
                    </a:lnTo>
                    <a:lnTo>
                      <a:pt x="16" y="87"/>
                    </a:lnTo>
                    <a:lnTo>
                      <a:pt x="33" y="114"/>
                    </a:lnTo>
                    <a:lnTo>
                      <a:pt x="54" y="142"/>
                    </a:lnTo>
                    <a:lnTo>
                      <a:pt x="87" y="174"/>
                    </a:lnTo>
                    <a:lnTo>
                      <a:pt x="125" y="207"/>
                    </a:lnTo>
                    <a:lnTo>
                      <a:pt x="179" y="240"/>
                    </a:lnTo>
                    <a:lnTo>
                      <a:pt x="244" y="278"/>
                    </a:lnTo>
                    <a:lnTo>
                      <a:pt x="326" y="310"/>
                    </a:lnTo>
                    <a:lnTo>
                      <a:pt x="418" y="348"/>
                    </a:lnTo>
                    <a:lnTo>
                      <a:pt x="526" y="381"/>
                    </a:lnTo>
                    <a:lnTo>
                      <a:pt x="657" y="414"/>
                    </a:lnTo>
                    <a:lnTo>
                      <a:pt x="749" y="435"/>
                    </a:lnTo>
                    <a:lnTo>
                      <a:pt x="830" y="463"/>
                    </a:lnTo>
                    <a:lnTo>
                      <a:pt x="901" y="490"/>
                    </a:lnTo>
                    <a:lnTo>
                      <a:pt x="966" y="512"/>
                    </a:lnTo>
                    <a:lnTo>
                      <a:pt x="1015" y="539"/>
                    </a:lnTo>
                    <a:lnTo>
                      <a:pt x="1053" y="566"/>
                    </a:lnTo>
                    <a:lnTo>
                      <a:pt x="1080" y="593"/>
                    </a:lnTo>
                    <a:lnTo>
                      <a:pt x="1102" y="620"/>
                    </a:lnTo>
                    <a:lnTo>
                      <a:pt x="1112" y="648"/>
                    </a:lnTo>
                    <a:lnTo>
                      <a:pt x="1118" y="675"/>
                    </a:lnTo>
                    <a:lnTo>
                      <a:pt x="1112" y="697"/>
                    </a:lnTo>
                    <a:lnTo>
                      <a:pt x="1096" y="724"/>
                    </a:lnTo>
                    <a:lnTo>
                      <a:pt x="1080" y="746"/>
                    </a:lnTo>
                    <a:lnTo>
                      <a:pt x="1053" y="767"/>
                    </a:lnTo>
                    <a:lnTo>
                      <a:pt x="1015" y="789"/>
                    </a:lnTo>
                    <a:lnTo>
                      <a:pt x="977" y="811"/>
                    </a:lnTo>
                    <a:lnTo>
                      <a:pt x="1047" y="789"/>
                    </a:lnTo>
                    <a:lnTo>
                      <a:pt x="1107" y="767"/>
                    </a:lnTo>
                    <a:lnTo>
                      <a:pt x="1156" y="746"/>
                    </a:lnTo>
                    <a:lnTo>
                      <a:pt x="1199" y="724"/>
                    </a:lnTo>
                    <a:lnTo>
                      <a:pt x="1226" y="702"/>
                    </a:lnTo>
                    <a:lnTo>
                      <a:pt x="1248" y="675"/>
                    </a:lnTo>
                    <a:lnTo>
                      <a:pt x="1259" y="648"/>
                    </a:lnTo>
                    <a:lnTo>
                      <a:pt x="1259" y="615"/>
                    </a:lnTo>
                    <a:lnTo>
                      <a:pt x="1259" y="615"/>
                    </a:lnTo>
                    <a:close/>
                  </a:path>
                </a:pathLst>
              </a:custGeom>
              <a:gradFill rotWithShape="0">
                <a:gsLst>
                  <a:gs pos="0">
                    <a:schemeClr val="bg1"/>
                  </a:gs>
                  <a:gs pos="100000">
                    <a:schemeClr val="bg1">
                      <a:gamma/>
                      <a:shade val="90980"/>
                      <a:invGamma/>
                    </a:schemeClr>
                  </a:gs>
                </a:gsLst>
                <a:lin ang="2700000" scaled="1"/>
              </a:gradFill>
              <a:ln w="9525">
                <a:noFill/>
                <a:round/>
                <a:headEnd/>
                <a:tailEnd/>
              </a:ln>
            </p:spPr>
            <p:txBody>
              <a:bodyPr/>
              <a:lstStyle/>
              <a:p>
                <a:pPr eaLnBrk="0" hangingPunct="0">
                  <a:defRPr/>
                </a:pPr>
                <a:endParaRPr lang="en-US" sz="1800">
                  <a:solidFill>
                    <a:srgbClr val="FFFFFF"/>
                  </a:solidFill>
                  <a:latin typeface="+mn-lt"/>
                  <a:cs typeface="+mn-cs"/>
                </a:endParaRPr>
              </a:p>
            </p:txBody>
          </p:sp>
          <p:sp>
            <p:nvSpPr>
              <p:cNvPr id="10" name="Freeform 6">
                <a:extLst>
                  <a:ext uri="{FF2B5EF4-FFF2-40B4-BE49-F238E27FC236}">
                    <a16:creationId xmlns:a16="http://schemas.microsoft.com/office/drawing/2014/main" id="{195ED6DB-F8A3-4DA5-9831-57F9DB773889}"/>
                  </a:ext>
                </a:extLst>
              </p:cNvPr>
              <p:cNvSpPr>
                <a:spLocks/>
              </p:cNvSpPr>
              <p:nvPr/>
            </p:nvSpPr>
            <p:spPr bwMode="hidden">
              <a:xfrm>
                <a:off x="2900" y="3346"/>
                <a:ext cx="2849" cy="969"/>
              </a:xfrm>
              <a:custGeom>
                <a:avLst/>
                <a:gdLst/>
                <a:ahLst/>
                <a:cxnLst>
                  <a:cxn ang="0">
                    <a:pos x="92" y="958"/>
                  </a:cxn>
                  <a:cxn ang="0">
                    <a:pos x="0" y="969"/>
                  </a:cxn>
                  <a:cxn ang="0">
                    <a:pos x="391" y="969"/>
                  </a:cxn>
                  <a:cxn ang="0">
                    <a:pos x="434" y="947"/>
                  </a:cxn>
                  <a:cxn ang="0">
                    <a:pos x="483" y="914"/>
                  </a:cxn>
                  <a:cxn ang="0">
                    <a:pos x="554" y="876"/>
                  </a:cxn>
                  <a:cxn ang="0">
                    <a:pos x="635" y="838"/>
                  </a:cxn>
                  <a:cxn ang="0">
                    <a:pos x="727" y="794"/>
                  </a:cxn>
                  <a:cxn ang="0">
                    <a:pos x="836" y="745"/>
                  </a:cxn>
                  <a:cxn ang="0">
                    <a:pos x="961" y="696"/>
                  </a:cxn>
                  <a:cxn ang="0">
                    <a:pos x="1102" y="642"/>
                  </a:cxn>
                  <a:cxn ang="0">
                    <a:pos x="1259" y="582"/>
                  </a:cxn>
                  <a:cxn ang="0">
                    <a:pos x="1433" y="522"/>
                  </a:cxn>
                  <a:cxn ang="0">
                    <a:pos x="1623" y="462"/>
                  </a:cxn>
                  <a:cxn ang="0">
                    <a:pos x="1829" y="403"/>
                  </a:cxn>
                  <a:cxn ang="0">
                    <a:pos x="2057" y="343"/>
                  </a:cxn>
                  <a:cxn ang="0">
                    <a:pos x="2301" y="283"/>
                  </a:cxn>
                  <a:cxn ang="0">
                    <a:pos x="2567" y="223"/>
                  </a:cxn>
                  <a:cxn ang="0">
                    <a:pos x="2849" y="163"/>
                  </a:cxn>
                  <a:cxn ang="0">
                    <a:pos x="2849" y="0"/>
                  </a:cxn>
                  <a:cxn ang="0">
                    <a:pos x="2817" y="16"/>
                  </a:cxn>
                  <a:cxn ang="0">
                    <a:pos x="2773" y="33"/>
                  </a:cxn>
                  <a:cxn ang="0">
                    <a:pos x="2719" y="54"/>
                  </a:cxn>
                  <a:cxn ang="0">
                    <a:pos x="2648" y="76"/>
                  </a:cxn>
                  <a:cxn ang="0">
                    <a:pos x="2572" y="98"/>
                  </a:cxn>
                  <a:cxn ang="0">
                    <a:pos x="2491" y="120"/>
                  </a:cxn>
                  <a:cxn ang="0">
                    <a:pos x="2399" y="147"/>
                  </a:cxn>
                  <a:cxn ang="0">
                    <a:pos x="2301" y="169"/>
                  </a:cxn>
                  <a:cxn ang="0">
                    <a:pos x="2095" y="223"/>
                  </a:cxn>
                  <a:cxn ang="0">
                    <a:pos x="1889" y="277"/>
                  </a:cxn>
                  <a:cxn ang="0">
                    <a:pos x="1688" y="326"/>
                  </a:cxn>
                  <a:cxn ang="0">
                    <a:pos x="1590" y="354"/>
                  </a:cxn>
                  <a:cxn ang="0">
                    <a:pos x="1503" y="381"/>
                  </a:cxn>
                  <a:cxn ang="0">
                    <a:pos x="1107" y="506"/>
                  </a:cxn>
                  <a:cxn ang="0">
                    <a:pos x="912" y="577"/>
                  </a:cxn>
                  <a:cxn ang="0">
                    <a:pos x="727" y="647"/>
                  </a:cxn>
                  <a:cxn ang="0">
                    <a:pos x="548" y="718"/>
                  </a:cxn>
                  <a:cxn ang="0">
                    <a:pos x="380" y="794"/>
                  </a:cxn>
                  <a:cxn ang="0">
                    <a:pos x="228" y="876"/>
                  </a:cxn>
                  <a:cxn ang="0">
                    <a:pos x="92" y="958"/>
                  </a:cxn>
                  <a:cxn ang="0">
                    <a:pos x="92" y="958"/>
                  </a:cxn>
                </a:cxnLst>
                <a:rect l="0" t="0" r="r" b="b"/>
                <a:pathLst>
                  <a:path w="2849" h="969">
                    <a:moveTo>
                      <a:pt x="92" y="958"/>
                    </a:moveTo>
                    <a:lnTo>
                      <a:pt x="0" y="969"/>
                    </a:lnTo>
                    <a:lnTo>
                      <a:pt x="391" y="969"/>
                    </a:lnTo>
                    <a:lnTo>
                      <a:pt x="434" y="947"/>
                    </a:lnTo>
                    <a:lnTo>
                      <a:pt x="483" y="914"/>
                    </a:lnTo>
                    <a:lnTo>
                      <a:pt x="554" y="876"/>
                    </a:lnTo>
                    <a:lnTo>
                      <a:pt x="635" y="838"/>
                    </a:lnTo>
                    <a:lnTo>
                      <a:pt x="727" y="794"/>
                    </a:lnTo>
                    <a:lnTo>
                      <a:pt x="836" y="745"/>
                    </a:lnTo>
                    <a:lnTo>
                      <a:pt x="961" y="696"/>
                    </a:lnTo>
                    <a:lnTo>
                      <a:pt x="1102" y="642"/>
                    </a:lnTo>
                    <a:lnTo>
                      <a:pt x="1259" y="582"/>
                    </a:lnTo>
                    <a:lnTo>
                      <a:pt x="1433" y="522"/>
                    </a:lnTo>
                    <a:lnTo>
                      <a:pt x="1623" y="462"/>
                    </a:lnTo>
                    <a:lnTo>
                      <a:pt x="1829" y="403"/>
                    </a:lnTo>
                    <a:lnTo>
                      <a:pt x="2057" y="343"/>
                    </a:lnTo>
                    <a:lnTo>
                      <a:pt x="2301" y="283"/>
                    </a:lnTo>
                    <a:lnTo>
                      <a:pt x="2567" y="223"/>
                    </a:lnTo>
                    <a:lnTo>
                      <a:pt x="2849" y="163"/>
                    </a:lnTo>
                    <a:lnTo>
                      <a:pt x="2849" y="0"/>
                    </a:lnTo>
                    <a:lnTo>
                      <a:pt x="2817" y="16"/>
                    </a:lnTo>
                    <a:lnTo>
                      <a:pt x="2773" y="33"/>
                    </a:lnTo>
                    <a:lnTo>
                      <a:pt x="2719" y="54"/>
                    </a:lnTo>
                    <a:lnTo>
                      <a:pt x="2648" y="76"/>
                    </a:lnTo>
                    <a:lnTo>
                      <a:pt x="2572" y="98"/>
                    </a:lnTo>
                    <a:lnTo>
                      <a:pt x="2491" y="120"/>
                    </a:lnTo>
                    <a:lnTo>
                      <a:pt x="2399" y="147"/>
                    </a:lnTo>
                    <a:lnTo>
                      <a:pt x="2301" y="169"/>
                    </a:lnTo>
                    <a:lnTo>
                      <a:pt x="2095" y="223"/>
                    </a:lnTo>
                    <a:lnTo>
                      <a:pt x="1889" y="277"/>
                    </a:lnTo>
                    <a:lnTo>
                      <a:pt x="1688" y="326"/>
                    </a:lnTo>
                    <a:lnTo>
                      <a:pt x="1590" y="354"/>
                    </a:lnTo>
                    <a:lnTo>
                      <a:pt x="1503" y="381"/>
                    </a:lnTo>
                    <a:lnTo>
                      <a:pt x="1107" y="506"/>
                    </a:lnTo>
                    <a:lnTo>
                      <a:pt x="912" y="577"/>
                    </a:lnTo>
                    <a:lnTo>
                      <a:pt x="727" y="647"/>
                    </a:lnTo>
                    <a:lnTo>
                      <a:pt x="548" y="718"/>
                    </a:lnTo>
                    <a:lnTo>
                      <a:pt x="380" y="794"/>
                    </a:lnTo>
                    <a:lnTo>
                      <a:pt x="228" y="876"/>
                    </a:lnTo>
                    <a:lnTo>
                      <a:pt x="92" y="958"/>
                    </a:lnTo>
                    <a:lnTo>
                      <a:pt x="92" y="958"/>
                    </a:lnTo>
                    <a:close/>
                  </a:path>
                </a:pathLst>
              </a:custGeom>
              <a:gradFill rotWithShape="0">
                <a:gsLst>
                  <a:gs pos="0">
                    <a:schemeClr val="bg1">
                      <a:gamma/>
                      <a:shade val="81961"/>
                      <a:invGamma/>
                    </a:schemeClr>
                  </a:gs>
                  <a:gs pos="100000">
                    <a:schemeClr val="bg1"/>
                  </a:gs>
                </a:gsLst>
                <a:lin ang="5400000" scaled="1"/>
              </a:gradFill>
              <a:ln w="9525">
                <a:noFill/>
                <a:round/>
                <a:headEnd/>
                <a:tailEnd/>
              </a:ln>
            </p:spPr>
            <p:txBody>
              <a:bodyPr/>
              <a:lstStyle/>
              <a:p>
                <a:pPr eaLnBrk="0" hangingPunct="0">
                  <a:defRPr/>
                </a:pPr>
                <a:endParaRPr lang="en-US" sz="1800">
                  <a:solidFill>
                    <a:srgbClr val="FFFFFF"/>
                  </a:solidFill>
                  <a:latin typeface="+mn-lt"/>
                  <a:cs typeface="+mn-cs"/>
                </a:endParaRPr>
              </a:p>
            </p:txBody>
          </p:sp>
          <p:sp>
            <p:nvSpPr>
              <p:cNvPr id="11" name="Freeform 7">
                <a:extLst>
                  <a:ext uri="{FF2B5EF4-FFF2-40B4-BE49-F238E27FC236}">
                    <a16:creationId xmlns:a16="http://schemas.microsoft.com/office/drawing/2014/main" id="{C2F44215-2EE9-4CE6-A06E-88B85DB31C33}"/>
                  </a:ext>
                </a:extLst>
              </p:cNvPr>
              <p:cNvSpPr>
                <a:spLocks/>
              </p:cNvSpPr>
              <p:nvPr/>
            </p:nvSpPr>
            <p:spPr bwMode="hidden">
              <a:xfrm>
                <a:off x="2748" y="2230"/>
                <a:ext cx="3007" cy="2085"/>
              </a:xfrm>
              <a:custGeom>
                <a:avLst/>
                <a:gdLst>
                  <a:gd name="T0" fmla="*/ 1433 w 3007"/>
                  <a:gd name="T1" fmla="*/ 474 h 2085"/>
                  <a:gd name="T2" fmla="*/ 1460 w 3007"/>
                  <a:gd name="T3" fmla="*/ 528 h 2085"/>
                  <a:gd name="T4" fmla="*/ 1541 w 3007"/>
                  <a:gd name="T5" fmla="*/ 593 h 2085"/>
                  <a:gd name="T6" fmla="*/ 1715 w 3007"/>
                  <a:gd name="T7" fmla="*/ 670 h 2085"/>
                  <a:gd name="T8" fmla="*/ 1927 w 3007"/>
                  <a:gd name="T9" fmla="*/ 735 h 2085"/>
                  <a:gd name="T10" fmla="*/ 2155 w 3007"/>
                  <a:gd name="T11" fmla="*/ 789 h 2085"/>
                  <a:gd name="T12" fmla="*/ 2372 w 3007"/>
                  <a:gd name="T13" fmla="*/ 849 h 2085"/>
                  <a:gd name="T14" fmla="*/ 2551 w 3007"/>
                  <a:gd name="T15" fmla="*/ 920 h 2085"/>
                  <a:gd name="T16" fmla="*/ 2638 w 3007"/>
                  <a:gd name="T17" fmla="*/ 980 h 2085"/>
                  <a:gd name="T18" fmla="*/ 2676 w 3007"/>
                  <a:gd name="T19" fmla="*/ 1029 h 2085"/>
                  <a:gd name="T20" fmla="*/ 2681 w 3007"/>
                  <a:gd name="T21" fmla="*/ 1083 h 2085"/>
                  <a:gd name="T22" fmla="*/ 2665 w 3007"/>
                  <a:gd name="T23" fmla="*/ 1127 h 2085"/>
                  <a:gd name="T24" fmla="*/ 2616 w 3007"/>
                  <a:gd name="T25" fmla="*/ 1170 h 2085"/>
                  <a:gd name="T26" fmla="*/ 2545 w 3007"/>
                  <a:gd name="T27" fmla="*/ 1208 h 2085"/>
                  <a:gd name="T28" fmla="*/ 2448 w 3007"/>
                  <a:gd name="T29" fmla="*/ 1241 h 2085"/>
                  <a:gd name="T30" fmla="*/ 2328 w 3007"/>
                  <a:gd name="T31" fmla="*/ 1274 h 2085"/>
                  <a:gd name="T32" fmla="*/ 2106 w 3007"/>
                  <a:gd name="T33" fmla="*/ 1328 h 2085"/>
                  <a:gd name="T34" fmla="*/ 1742 w 3007"/>
                  <a:gd name="T35" fmla="*/ 1421 h 2085"/>
                  <a:gd name="T36" fmla="*/ 1308 w 3007"/>
                  <a:gd name="T37" fmla="*/ 1540 h 2085"/>
                  <a:gd name="T38" fmla="*/ 820 w 3007"/>
                  <a:gd name="T39" fmla="*/ 1709 h 2085"/>
                  <a:gd name="T40" fmla="*/ 282 w 3007"/>
                  <a:gd name="T41" fmla="*/ 1943 h 2085"/>
                  <a:gd name="T42" fmla="*/ 152 w 3007"/>
                  <a:gd name="T43" fmla="*/ 2085 h 2085"/>
                  <a:gd name="T44" fmla="*/ 386 w 3007"/>
                  <a:gd name="T45" fmla="*/ 1992 h 2085"/>
                  <a:gd name="T46" fmla="*/ 700 w 3007"/>
                  <a:gd name="T47" fmla="*/ 1834 h 2085"/>
                  <a:gd name="T48" fmla="*/ 1064 w 3007"/>
                  <a:gd name="T49" fmla="*/ 1693 h 2085"/>
                  <a:gd name="T50" fmla="*/ 1661 w 3007"/>
                  <a:gd name="T51" fmla="*/ 1497 h 2085"/>
                  <a:gd name="T52" fmla="*/ 1845 w 3007"/>
                  <a:gd name="T53" fmla="*/ 1442 h 2085"/>
                  <a:gd name="T54" fmla="*/ 2252 w 3007"/>
                  <a:gd name="T55" fmla="*/ 1339 h 2085"/>
                  <a:gd name="T56" fmla="*/ 2551 w 3007"/>
                  <a:gd name="T57" fmla="*/ 1263 h 2085"/>
                  <a:gd name="T58" fmla="*/ 2730 w 3007"/>
                  <a:gd name="T59" fmla="*/ 1214 h 2085"/>
                  <a:gd name="T60" fmla="*/ 2876 w 3007"/>
                  <a:gd name="T61" fmla="*/ 1170 h 2085"/>
                  <a:gd name="T62" fmla="*/ 2974 w 3007"/>
                  <a:gd name="T63" fmla="*/ 1132 h 2085"/>
                  <a:gd name="T64" fmla="*/ 3007 w 3007"/>
                  <a:gd name="T65" fmla="*/ 871 h 2085"/>
                  <a:gd name="T66" fmla="*/ 2860 w 3007"/>
                  <a:gd name="T67" fmla="*/ 844 h 2085"/>
                  <a:gd name="T68" fmla="*/ 2670 w 3007"/>
                  <a:gd name="T69" fmla="*/ 806 h 2085"/>
                  <a:gd name="T70" fmla="*/ 2458 w 3007"/>
                  <a:gd name="T71" fmla="*/ 757 h 2085"/>
                  <a:gd name="T72" fmla="*/ 2138 w 3007"/>
                  <a:gd name="T73" fmla="*/ 670 h 2085"/>
                  <a:gd name="T74" fmla="*/ 1959 w 3007"/>
                  <a:gd name="T75" fmla="*/ 604 h 2085"/>
                  <a:gd name="T76" fmla="*/ 1824 w 3007"/>
                  <a:gd name="T77" fmla="*/ 534 h 2085"/>
                  <a:gd name="T78" fmla="*/ 1769 w 3007"/>
                  <a:gd name="T79" fmla="*/ 474 h 2085"/>
                  <a:gd name="T80" fmla="*/ 1753 w 3007"/>
                  <a:gd name="T81" fmla="*/ 436 h 2085"/>
                  <a:gd name="T82" fmla="*/ 1780 w 3007"/>
                  <a:gd name="T83" fmla="*/ 381 h 2085"/>
                  <a:gd name="T84" fmla="*/ 1862 w 3007"/>
                  <a:gd name="T85" fmla="*/ 316 h 2085"/>
                  <a:gd name="T86" fmla="*/ 1986 w 3007"/>
                  <a:gd name="T87" fmla="*/ 267 h 2085"/>
                  <a:gd name="T88" fmla="*/ 2149 w 3007"/>
                  <a:gd name="T89" fmla="*/ 229 h 2085"/>
                  <a:gd name="T90" fmla="*/ 2431 w 3007"/>
                  <a:gd name="T91" fmla="*/ 180 h 2085"/>
                  <a:gd name="T92" fmla="*/ 2827 w 3007"/>
                  <a:gd name="T93" fmla="*/ 125 h 2085"/>
                  <a:gd name="T94" fmla="*/ 3007 w 3007"/>
                  <a:gd name="T95" fmla="*/ 87 h 2085"/>
                  <a:gd name="T96" fmla="*/ 2909 w 3007"/>
                  <a:gd name="T97" fmla="*/ 22 h 2085"/>
                  <a:gd name="T98" fmla="*/ 2676 w 3007"/>
                  <a:gd name="T99" fmla="*/ 66 h 2085"/>
                  <a:gd name="T100" fmla="*/ 2285 w 3007"/>
                  <a:gd name="T101" fmla="*/ 120 h 2085"/>
                  <a:gd name="T102" fmla="*/ 2030 w 3007"/>
                  <a:gd name="T103" fmla="*/ 158 h 2085"/>
                  <a:gd name="T104" fmla="*/ 1791 w 3007"/>
                  <a:gd name="T105" fmla="*/ 202 h 2085"/>
                  <a:gd name="T106" fmla="*/ 1601 w 3007"/>
                  <a:gd name="T107" fmla="*/ 261 h 2085"/>
                  <a:gd name="T108" fmla="*/ 1471 w 3007"/>
                  <a:gd name="T109" fmla="*/ 338 h 2085"/>
                  <a:gd name="T110" fmla="*/ 1438 w 3007"/>
                  <a:gd name="T111" fmla="*/ 387 h 2085"/>
                  <a:gd name="T112" fmla="*/ 1427 w 3007"/>
                  <a:gd name="T113" fmla="*/ 441 h 2085"/>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3007" h="2085">
                    <a:moveTo>
                      <a:pt x="1427" y="441"/>
                    </a:moveTo>
                    <a:lnTo>
                      <a:pt x="1433" y="474"/>
                    </a:lnTo>
                    <a:lnTo>
                      <a:pt x="1444" y="501"/>
                    </a:lnTo>
                    <a:lnTo>
                      <a:pt x="1460" y="528"/>
                    </a:lnTo>
                    <a:lnTo>
                      <a:pt x="1482" y="550"/>
                    </a:lnTo>
                    <a:lnTo>
                      <a:pt x="1541" y="593"/>
                    </a:lnTo>
                    <a:lnTo>
                      <a:pt x="1623" y="637"/>
                    </a:lnTo>
                    <a:lnTo>
                      <a:pt x="1715" y="670"/>
                    </a:lnTo>
                    <a:lnTo>
                      <a:pt x="1818" y="702"/>
                    </a:lnTo>
                    <a:lnTo>
                      <a:pt x="1927" y="735"/>
                    </a:lnTo>
                    <a:lnTo>
                      <a:pt x="2041" y="762"/>
                    </a:lnTo>
                    <a:lnTo>
                      <a:pt x="2155" y="789"/>
                    </a:lnTo>
                    <a:lnTo>
                      <a:pt x="2269" y="822"/>
                    </a:lnTo>
                    <a:lnTo>
                      <a:pt x="2372" y="849"/>
                    </a:lnTo>
                    <a:lnTo>
                      <a:pt x="2464" y="882"/>
                    </a:lnTo>
                    <a:lnTo>
                      <a:pt x="2551" y="920"/>
                    </a:lnTo>
                    <a:lnTo>
                      <a:pt x="2616" y="958"/>
                    </a:lnTo>
                    <a:lnTo>
                      <a:pt x="2638" y="980"/>
                    </a:lnTo>
                    <a:lnTo>
                      <a:pt x="2659" y="1007"/>
                    </a:lnTo>
                    <a:lnTo>
                      <a:pt x="2676" y="1029"/>
                    </a:lnTo>
                    <a:lnTo>
                      <a:pt x="2681" y="1056"/>
                    </a:lnTo>
                    <a:lnTo>
                      <a:pt x="2681" y="1083"/>
                    </a:lnTo>
                    <a:lnTo>
                      <a:pt x="2676" y="1105"/>
                    </a:lnTo>
                    <a:lnTo>
                      <a:pt x="2665" y="1127"/>
                    </a:lnTo>
                    <a:lnTo>
                      <a:pt x="2643" y="1149"/>
                    </a:lnTo>
                    <a:lnTo>
                      <a:pt x="2616" y="1170"/>
                    </a:lnTo>
                    <a:lnTo>
                      <a:pt x="2583" y="1187"/>
                    </a:lnTo>
                    <a:lnTo>
                      <a:pt x="2545" y="1208"/>
                    </a:lnTo>
                    <a:lnTo>
                      <a:pt x="2502" y="1225"/>
                    </a:lnTo>
                    <a:lnTo>
                      <a:pt x="2448" y="1241"/>
                    </a:lnTo>
                    <a:lnTo>
                      <a:pt x="2388" y="1257"/>
                    </a:lnTo>
                    <a:lnTo>
                      <a:pt x="2328" y="1274"/>
                    </a:lnTo>
                    <a:lnTo>
                      <a:pt x="2258" y="1290"/>
                    </a:lnTo>
                    <a:lnTo>
                      <a:pt x="2106" y="1328"/>
                    </a:lnTo>
                    <a:lnTo>
                      <a:pt x="1932" y="1372"/>
                    </a:lnTo>
                    <a:lnTo>
                      <a:pt x="1742" y="1421"/>
                    </a:lnTo>
                    <a:lnTo>
                      <a:pt x="1531" y="1475"/>
                    </a:lnTo>
                    <a:lnTo>
                      <a:pt x="1308" y="1540"/>
                    </a:lnTo>
                    <a:lnTo>
                      <a:pt x="1069" y="1617"/>
                    </a:lnTo>
                    <a:lnTo>
                      <a:pt x="820" y="1709"/>
                    </a:lnTo>
                    <a:lnTo>
                      <a:pt x="554" y="1818"/>
                    </a:lnTo>
                    <a:lnTo>
                      <a:pt x="282" y="1943"/>
                    </a:lnTo>
                    <a:lnTo>
                      <a:pt x="0" y="2085"/>
                    </a:lnTo>
                    <a:lnTo>
                      <a:pt x="152" y="2085"/>
                    </a:lnTo>
                    <a:lnTo>
                      <a:pt x="244" y="2074"/>
                    </a:lnTo>
                    <a:lnTo>
                      <a:pt x="386" y="1992"/>
                    </a:lnTo>
                    <a:lnTo>
                      <a:pt x="537" y="1910"/>
                    </a:lnTo>
                    <a:lnTo>
                      <a:pt x="700" y="1834"/>
                    </a:lnTo>
                    <a:lnTo>
                      <a:pt x="879" y="1763"/>
                    </a:lnTo>
                    <a:lnTo>
                      <a:pt x="1064" y="1693"/>
                    </a:lnTo>
                    <a:lnTo>
                      <a:pt x="1259" y="1622"/>
                    </a:lnTo>
                    <a:lnTo>
                      <a:pt x="1661" y="1497"/>
                    </a:lnTo>
                    <a:lnTo>
                      <a:pt x="1748" y="1470"/>
                    </a:lnTo>
                    <a:lnTo>
                      <a:pt x="1845" y="1442"/>
                    </a:lnTo>
                    <a:lnTo>
                      <a:pt x="2046" y="1393"/>
                    </a:lnTo>
                    <a:lnTo>
                      <a:pt x="2252" y="1339"/>
                    </a:lnTo>
                    <a:lnTo>
                      <a:pt x="2458" y="1285"/>
                    </a:lnTo>
                    <a:lnTo>
                      <a:pt x="2551" y="1263"/>
                    </a:lnTo>
                    <a:lnTo>
                      <a:pt x="2643" y="1236"/>
                    </a:lnTo>
                    <a:lnTo>
                      <a:pt x="2730" y="1214"/>
                    </a:lnTo>
                    <a:lnTo>
                      <a:pt x="2806" y="1192"/>
                    </a:lnTo>
                    <a:lnTo>
                      <a:pt x="2876" y="1170"/>
                    </a:lnTo>
                    <a:lnTo>
                      <a:pt x="2931" y="1149"/>
                    </a:lnTo>
                    <a:lnTo>
                      <a:pt x="2974" y="1132"/>
                    </a:lnTo>
                    <a:lnTo>
                      <a:pt x="3007" y="1116"/>
                    </a:lnTo>
                    <a:lnTo>
                      <a:pt x="3007" y="871"/>
                    </a:lnTo>
                    <a:lnTo>
                      <a:pt x="2941" y="860"/>
                    </a:lnTo>
                    <a:lnTo>
                      <a:pt x="2860" y="844"/>
                    </a:lnTo>
                    <a:lnTo>
                      <a:pt x="2773" y="827"/>
                    </a:lnTo>
                    <a:lnTo>
                      <a:pt x="2670" y="806"/>
                    </a:lnTo>
                    <a:lnTo>
                      <a:pt x="2567" y="784"/>
                    </a:lnTo>
                    <a:lnTo>
                      <a:pt x="2458" y="757"/>
                    </a:lnTo>
                    <a:lnTo>
                      <a:pt x="2241" y="702"/>
                    </a:lnTo>
                    <a:lnTo>
                      <a:pt x="2138" y="670"/>
                    </a:lnTo>
                    <a:lnTo>
                      <a:pt x="2046" y="637"/>
                    </a:lnTo>
                    <a:lnTo>
                      <a:pt x="1959" y="604"/>
                    </a:lnTo>
                    <a:lnTo>
                      <a:pt x="1883" y="566"/>
                    </a:lnTo>
                    <a:lnTo>
                      <a:pt x="1824" y="534"/>
                    </a:lnTo>
                    <a:lnTo>
                      <a:pt x="1780" y="495"/>
                    </a:lnTo>
                    <a:lnTo>
                      <a:pt x="1769" y="474"/>
                    </a:lnTo>
                    <a:lnTo>
                      <a:pt x="1758" y="457"/>
                    </a:lnTo>
                    <a:lnTo>
                      <a:pt x="1753" y="436"/>
                    </a:lnTo>
                    <a:lnTo>
                      <a:pt x="1758" y="419"/>
                    </a:lnTo>
                    <a:lnTo>
                      <a:pt x="1780" y="381"/>
                    </a:lnTo>
                    <a:lnTo>
                      <a:pt x="1813" y="343"/>
                    </a:lnTo>
                    <a:lnTo>
                      <a:pt x="1862" y="316"/>
                    </a:lnTo>
                    <a:lnTo>
                      <a:pt x="1921" y="289"/>
                    </a:lnTo>
                    <a:lnTo>
                      <a:pt x="1986" y="267"/>
                    </a:lnTo>
                    <a:lnTo>
                      <a:pt x="2062" y="245"/>
                    </a:lnTo>
                    <a:lnTo>
                      <a:pt x="2149" y="229"/>
                    </a:lnTo>
                    <a:lnTo>
                      <a:pt x="2236" y="213"/>
                    </a:lnTo>
                    <a:lnTo>
                      <a:pt x="2431" y="180"/>
                    </a:lnTo>
                    <a:lnTo>
                      <a:pt x="2627" y="158"/>
                    </a:lnTo>
                    <a:lnTo>
                      <a:pt x="2827" y="125"/>
                    </a:lnTo>
                    <a:lnTo>
                      <a:pt x="2920" y="109"/>
                    </a:lnTo>
                    <a:lnTo>
                      <a:pt x="3007" y="87"/>
                    </a:lnTo>
                    <a:lnTo>
                      <a:pt x="3007" y="0"/>
                    </a:lnTo>
                    <a:lnTo>
                      <a:pt x="2909" y="22"/>
                    </a:lnTo>
                    <a:lnTo>
                      <a:pt x="2795" y="44"/>
                    </a:lnTo>
                    <a:lnTo>
                      <a:pt x="2676" y="66"/>
                    </a:lnTo>
                    <a:lnTo>
                      <a:pt x="2551" y="82"/>
                    </a:lnTo>
                    <a:lnTo>
                      <a:pt x="2285" y="120"/>
                    </a:lnTo>
                    <a:lnTo>
                      <a:pt x="2155" y="136"/>
                    </a:lnTo>
                    <a:lnTo>
                      <a:pt x="2030" y="158"/>
                    </a:lnTo>
                    <a:lnTo>
                      <a:pt x="1905" y="174"/>
                    </a:lnTo>
                    <a:lnTo>
                      <a:pt x="1791" y="202"/>
                    </a:lnTo>
                    <a:lnTo>
                      <a:pt x="1688" y="229"/>
                    </a:lnTo>
                    <a:lnTo>
                      <a:pt x="1601" y="261"/>
                    </a:lnTo>
                    <a:lnTo>
                      <a:pt x="1525" y="300"/>
                    </a:lnTo>
                    <a:lnTo>
                      <a:pt x="1471" y="338"/>
                    </a:lnTo>
                    <a:lnTo>
                      <a:pt x="1455" y="359"/>
                    </a:lnTo>
                    <a:lnTo>
                      <a:pt x="1438" y="387"/>
                    </a:lnTo>
                    <a:lnTo>
                      <a:pt x="1427" y="414"/>
                    </a:lnTo>
                    <a:lnTo>
                      <a:pt x="1427" y="44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800"/>
              </a:p>
            </p:txBody>
          </p:sp>
          <p:sp>
            <p:nvSpPr>
              <p:cNvPr id="12" name="Freeform 8">
                <a:extLst>
                  <a:ext uri="{FF2B5EF4-FFF2-40B4-BE49-F238E27FC236}">
                    <a16:creationId xmlns:a16="http://schemas.microsoft.com/office/drawing/2014/main" id="{33B98703-E468-4BF4-B86A-DCE8CDC87314}"/>
                  </a:ext>
                </a:extLst>
              </p:cNvPr>
              <p:cNvSpPr>
                <a:spLocks/>
              </p:cNvSpPr>
              <p:nvPr/>
            </p:nvSpPr>
            <p:spPr bwMode="hidden">
              <a:xfrm>
                <a:off x="4501" y="2317"/>
                <a:ext cx="1248" cy="539"/>
              </a:xfrm>
              <a:custGeom>
                <a:avLst/>
                <a:gdLst/>
                <a:ahLst/>
                <a:cxnLst>
                  <a:cxn ang="0">
                    <a:pos x="0" y="332"/>
                  </a:cxn>
                  <a:cxn ang="0">
                    <a:pos x="0" y="360"/>
                  </a:cxn>
                  <a:cxn ang="0">
                    <a:pos x="5" y="387"/>
                  </a:cxn>
                  <a:cxn ang="0">
                    <a:pos x="27" y="414"/>
                  </a:cxn>
                  <a:cxn ang="0">
                    <a:pos x="54" y="436"/>
                  </a:cxn>
                  <a:cxn ang="0">
                    <a:pos x="92" y="463"/>
                  </a:cxn>
                  <a:cxn ang="0">
                    <a:pos x="141" y="490"/>
                  </a:cxn>
                  <a:cxn ang="0">
                    <a:pos x="195" y="512"/>
                  </a:cxn>
                  <a:cxn ang="0">
                    <a:pos x="255" y="539"/>
                  </a:cxn>
                  <a:cxn ang="0">
                    <a:pos x="212" y="517"/>
                  </a:cxn>
                  <a:cxn ang="0">
                    <a:pos x="179" y="490"/>
                  </a:cxn>
                  <a:cxn ang="0">
                    <a:pos x="157" y="468"/>
                  </a:cxn>
                  <a:cxn ang="0">
                    <a:pos x="141" y="447"/>
                  </a:cxn>
                  <a:cxn ang="0">
                    <a:pos x="136" y="425"/>
                  </a:cxn>
                  <a:cxn ang="0">
                    <a:pos x="136" y="403"/>
                  </a:cxn>
                  <a:cxn ang="0">
                    <a:pos x="141" y="381"/>
                  </a:cxn>
                  <a:cxn ang="0">
                    <a:pos x="157" y="365"/>
                  </a:cxn>
                  <a:cxn ang="0">
                    <a:pos x="179" y="343"/>
                  </a:cxn>
                  <a:cxn ang="0">
                    <a:pos x="201" y="327"/>
                  </a:cxn>
                  <a:cxn ang="0">
                    <a:pos x="266" y="294"/>
                  </a:cxn>
                  <a:cxn ang="0">
                    <a:pos x="353" y="262"/>
                  </a:cxn>
                  <a:cxn ang="0">
                    <a:pos x="445" y="234"/>
                  </a:cxn>
                  <a:cxn ang="0">
                    <a:pos x="554" y="213"/>
                  </a:cxn>
                  <a:cxn ang="0">
                    <a:pos x="662" y="191"/>
                  </a:cxn>
                  <a:cxn ang="0">
                    <a:pos x="890" y="153"/>
                  </a:cxn>
                  <a:cxn ang="0">
                    <a:pos x="993" y="136"/>
                  </a:cxn>
                  <a:cxn ang="0">
                    <a:pos x="1091" y="120"/>
                  </a:cxn>
                  <a:cxn ang="0">
                    <a:pos x="1178" y="115"/>
                  </a:cxn>
                  <a:cxn ang="0">
                    <a:pos x="1248" y="104"/>
                  </a:cxn>
                  <a:cxn ang="0">
                    <a:pos x="1248" y="0"/>
                  </a:cxn>
                  <a:cxn ang="0">
                    <a:pos x="1161" y="22"/>
                  </a:cxn>
                  <a:cxn ang="0">
                    <a:pos x="1069" y="38"/>
                  </a:cxn>
                  <a:cxn ang="0">
                    <a:pos x="874" y="71"/>
                  </a:cxn>
                  <a:cxn ang="0">
                    <a:pos x="673" y="93"/>
                  </a:cxn>
                  <a:cxn ang="0">
                    <a:pos x="483" y="126"/>
                  </a:cxn>
                  <a:cxn ang="0">
                    <a:pos x="391" y="142"/>
                  </a:cxn>
                  <a:cxn ang="0">
                    <a:pos x="309" y="158"/>
                  </a:cxn>
                  <a:cxn ang="0">
                    <a:pos x="228" y="180"/>
                  </a:cxn>
                  <a:cxn ang="0">
                    <a:pos x="163" y="202"/>
                  </a:cxn>
                  <a:cxn ang="0">
                    <a:pos x="103" y="229"/>
                  </a:cxn>
                  <a:cxn ang="0">
                    <a:pos x="54" y="256"/>
                  </a:cxn>
                  <a:cxn ang="0">
                    <a:pos x="22" y="294"/>
                  </a:cxn>
                  <a:cxn ang="0">
                    <a:pos x="0" y="332"/>
                  </a:cxn>
                  <a:cxn ang="0">
                    <a:pos x="0" y="332"/>
                  </a:cxn>
                </a:cxnLst>
                <a:rect l="0" t="0" r="r" b="b"/>
                <a:pathLst>
                  <a:path w="1248" h="539">
                    <a:moveTo>
                      <a:pt x="0" y="332"/>
                    </a:moveTo>
                    <a:lnTo>
                      <a:pt x="0" y="360"/>
                    </a:lnTo>
                    <a:lnTo>
                      <a:pt x="5" y="387"/>
                    </a:lnTo>
                    <a:lnTo>
                      <a:pt x="27" y="414"/>
                    </a:lnTo>
                    <a:lnTo>
                      <a:pt x="54" y="436"/>
                    </a:lnTo>
                    <a:lnTo>
                      <a:pt x="92" y="463"/>
                    </a:lnTo>
                    <a:lnTo>
                      <a:pt x="141" y="490"/>
                    </a:lnTo>
                    <a:lnTo>
                      <a:pt x="195" y="512"/>
                    </a:lnTo>
                    <a:lnTo>
                      <a:pt x="255" y="539"/>
                    </a:lnTo>
                    <a:lnTo>
                      <a:pt x="212" y="517"/>
                    </a:lnTo>
                    <a:lnTo>
                      <a:pt x="179" y="490"/>
                    </a:lnTo>
                    <a:lnTo>
                      <a:pt x="157" y="468"/>
                    </a:lnTo>
                    <a:lnTo>
                      <a:pt x="141" y="447"/>
                    </a:lnTo>
                    <a:lnTo>
                      <a:pt x="136" y="425"/>
                    </a:lnTo>
                    <a:lnTo>
                      <a:pt x="136" y="403"/>
                    </a:lnTo>
                    <a:lnTo>
                      <a:pt x="141" y="381"/>
                    </a:lnTo>
                    <a:lnTo>
                      <a:pt x="157" y="365"/>
                    </a:lnTo>
                    <a:lnTo>
                      <a:pt x="179" y="343"/>
                    </a:lnTo>
                    <a:lnTo>
                      <a:pt x="201" y="327"/>
                    </a:lnTo>
                    <a:lnTo>
                      <a:pt x="266" y="294"/>
                    </a:lnTo>
                    <a:lnTo>
                      <a:pt x="353" y="262"/>
                    </a:lnTo>
                    <a:lnTo>
                      <a:pt x="445" y="234"/>
                    </a:lnTo>
                    <a:lnTo>
                      <a:pt x="554" y="213"/>
                    </a:lnTo>
                    <a:lnTo>
                      <a:pt x="662" y="191"/>
                    </a:lnTo>
                    <a:lnTo>
                      <a:pt x="890" y="153"/>
                    </a:lnTo>
                    <a:lnTo>
                      <a:pt x="993" y="136"/>
                    </a:lnTo>
                    <a:lnTo>
                      <a:pt x="1091" y="120"/>
                    </a:lnTo>
                    <a:lnTo>
                      <a:pt x="1178" y="115"/>
                    </a:lnTo>
                    <a:lnTo>
                      <a:pt x="1248" y="104"/>
                    </a:lnTo>
                    <a:lnTo>
                      <a:pt x="1248" y="0"/>
                    </a:lnTo>
                    <a:lnTo>
                      <a:pt x="1161" y="22"/>
                    </a:lnTo>
                    <a:lnTo>
                      <a:pt x="1069" y="38"/>
                    </a:lnTo>
                    <a:lnTo>
                      <a:pt x="874" y="71"/>
                    </a:lnTo>
                    <a:lnTo>
                      <a:pt x="673" y="93"/>
                    </a:lnTo>
                    <a:lnTo>
                      <a:pt x="483" y="126"/>
                    </a:lnTo>
                    <a:lnTo>
                      <a:pt x="391" y="142"/>
                    </a:lnTo>
                    <a:lnTo>
                      <a:pt x="309" y="158"/>
                    </a:lnTo>
                    <a:lnTo>
                      <a:pt x="228" y="180"/>
                    </a:lnTo>
                    <a:lnTo>
                      <a:pt x="163" y="202"/>
                    </a:lnTo>
                    <a:lnTo>
                      <a:pt x="103" y="229"/>
                    </a:lnTo>
                    <a:lnTo>
                      <a:pt x="54" y="256"/>
                    </a:lnTo>
                    <a:lnTo>
                      <a:pt x="22" y="294"/>
                    </a:lnTo>
                    <a:lnTo>
                      <a:pt x="0" y="332"/>
                    </a:lnTo>
                    <a:lnTo>
                      <a:pt x="0" y="332"/>
                    </a:lnTo>
                    <a:close/>
                  </a:path>
                </a:pathLst>
              </a:custGeom>
              <a:gradFill rotWithShape="0">
                <a:gsLst>
                  <a:gs pos="0">
                    <a:schemeClr val="bg1">
                      <a:gamma/>
                      <a:shade val="87843"/>
                      <a:invGamma/>
                    </a:schemeClr>
                  </a:gs>
                  <a:gs pos="100000">
                    <a:schemeClr val="bg1"/>
                  </a:gs>
                </a:gsLst>
                <a:lin ang="2700000" scaled="1"/>
              </a:gradFill>
              <a:ln w="9525">
                <a:noFill/>
                <a:round/>
                <a:headEnd/>
                <a:tailEnd/>
              </a:ln>
            </p:spPr>
            <p:txBody>
              <a:bodyPr/>
              <a:lstStyle/>
              <a:p>
                <a:pPr eaLnBrk="0" hangingPunct="0">
                  <a:defRPr/>
                </a:pPr>
                <a:endParaRPr lang="en-US" sz="1800">
                  <a:solidFill>
                    <a:srgbClr val="FFFFFF"/>
                  </a:solidFill>
                  <a:latin typeface="+mn-lt"/>
                  <a:cs typeface="+mn-cs"/>
                </a:endParaRPr>
              </a:p>
            </p:txBody>
          </p:sp>
        </p:grpSp>
        <p:sp>
          <p:nvSpPr>
            <p:cNvPr id="6" name="Freeform 9">
              <a:extLst>
                <a:ext uri="{FF2B5EF4-FFF2-40B4-BE49-F238E27FC236}">
                  <a16:creationId xmlns:a16="http://schemas.microsoft.com/office/drawing/2014/main" id="{FBF104E7-9320-497B-827A-08668E410C47}"/>
                </a:ext>
              </a:extLst>
            </p:cNvPr>
            <p:cNvSpPr>
              <a:spLocks/>
            </p:cNvSpPr>
            <p:nvPr/>
          </p:nvSpPr>
          <p:spPr bwMode="hidden">
            <a:xfrm>
              <a:off x="3322" y="1341"/>
              <a:ext cx="1825" cy="1537"/>
            </a:xfrm>
            <a:custGeom>
              <a:avLst/>
              <a:gdLst/>
              <a:ahLst/>
              <a:cxnLst>
                <a:cxn ang="0">
                  <a:pos x="982" y="1061"/>
                </a:cxn>
                <a:cxn ang="0">
                  <a:pos x="1357" y="1012"/>
                </a:cxn>
                <a:cxn ang="0">
                  <a:pos x="1666" y="957"/>
                </a:cxn>
                <a:cxn ang="0">
                  <a:pos x="1916" y="897"/>
                </a:cxn>
                <a:cxn ang="0">
                  <a:pos x="2100" y="832"/>
                </a:cxn>
                <a:cxn ang="0">
                  <a:pos x="2220" y="756"/>
                </a:cxn>
                <a:cxn ang="0">
                  <a:pos x="2285" y="669"/>
                </a:cxn>
                <a:cxn ang="0">
                  <a:pos x="2290" y="560"/>
                </a:cxn>
                <a:cxn ang="0">
                  <a:pos x="2241" y="457"/>
                </a:cxn>
                <a:cxn ang="0">
                  <a:pos x="2144" y="364"/>
                </a:cxn>
                <a:cxn ang="0">
                  <a:pos x="2008" y="277"/>
                </a:cxn>
                <a:cxn ang="0">
                  <a:pos x="1769" y="157"/>
                </a:cxn>
                <a:cxn ang="0">
                  <a:pos x="1612" y="92"/>
                </a:cxn>
                <a:cxn ang="0">
                  <a:pos x="1476" y="43"/>
                </a:cxn>
                <a:cxn ang="0">
                  <a:pos x="1384" y="10"/>
                </a:cxn>
                <a:cxn ang="0">
                  <a:pos x="1346" y="0"/>
                </a:cxn>
                <a:cxn ang="0">
                  <a:pos x="1655" y="119"/>
                </a:cxn>
                <a:cxn ang="0">
                  <a:pos x="1948" y="255"/>
                </a:cxn>
                <a:cxn ang="0">
                  <a:pos x="2068" y="326"/>
                </a:cxn>
                <a:cxn ang="0">
                  <a:pos x="2171" y="402"/>
                </a:cxn>
                <a:cxn ang="0">
                  <a:pos x="2236" y="478"/>
                </a:cxn>
                <a:cxn ang="0">
                  <a:pos x="2263" y="560"/>
                </a:cxn>
                <a:cxn ang="0">
                  <a:pos x="2241" y="636"/>
                </a:cxn>
                <a:cxn ang="0">
                  <a:pos x="2171" y="702"/>
                </a:cxn>
                <a:cxn ang="0">
                  <a:pos x="2062" y="756"/>
                </a:cxn>
                <a:cxn ang="0">
                  <a:pos x="1921" y="800"/>
                </a:cxn>
                <a:cxn ang="0">
                  <a:pos x="1748" y="843"/>
                </a:cxn>
                <a:cxn ang="0">
                  <a:pos x="1351" y="908"/>
                </a:cxn>
                <a:cxn ang="0">
                  <a:pos x="923" y="968"/>
                </a:cxn>
                <a:cxn ang="0">
                  <a:pos x="521" y="1028"/>
                </a:cxn>
                <a:cxn ang="0">
                  <a:pos x="353" y="1066"/>
                </a:cxn>
                <a:cxn ang="0">
                  <a:pos x="206" y="1104"/>
                </a:cxn>
                <a:cxn ang="0">
                  <a:pos x="92" y="1148"/>
                </a:cxn>
                <a:cxn ang="0">
                  <a:pos x="22" y="1202"/>
                </a:cxn>
                <a:cxn ang="0">
                  <a:pos x="0" y="1262"/>
                </a:cxn>
                <a:cxn ang="0">
                  <a:pos x="27" y="1327"/>
                </a:cxn>
                <a:cxn ang="0">
                  <a:pos x="98" y="1382"/>
                </a:cxn>
                <a:cxn ang="0">
                  <a:pos x="196" y="1425"/>
                </a:cxn>
                <a:cxn ang="0">
                  <a:pos x="326" y="1469"/>
                </a:cxn>
                <a:cxn ang="0">
                  <a:pos x="217" y="1414"/>
                </a:cxn>
                <a:cxn ang="0">
                  <a:pos x="147" y="1360"/>
                </a:cxn>
                <a:cxn ang="0">
                  <a:pos x="120" y="1306"/>
                </a:cxn>
                <a:cxn ang="0">
                  <a:pos x="141" y="1257"/>
                </a:cxn>
                <a:cxn ang="0">
                  <a:pos x="212" y="1208"/>
                </a:cxn>
                <a:cxn ang="0">
                  <a:pos x="342" y="1164"/>
                </a:cxn>
                <a:cxn ang="0">
                  <a:pos x="527" y="1121"/>
                </a:cxn>
                <a:cxn ang="0">
                  <a:pos x="771" y="1088"/>
                </a:cxn>
              </a:cxnLst>
              <a:rect l="0" t="0" r="r" b="b"/>
              <a:pathLst>
                <a:path w="2296" h="1469">
                  <a:moveTo>
                    <a:pt x="771" y="1088"/>
                  </a:moveTo>
                  <a:lnTo>
                    <a:pt x="982" y="1061"/>
                  </a:lnTo>
                  <a:lnTo>
                    <a:pt x="1178" y="1034"/>
                  </a:lnTo>
                  <a:lnTo>
                    <a:pt x="1357" y="1012"/>
                  </a:lnTo>
                  <a:lnTo>
                    <a:pt x="1520" y="985"/>
                  </a:lnTo>
                  <a:lnTo>
                    <a:pt x="1666" y="957"/>
                  </a:lnTo>
                  <a:lnTo>
                    <a:pt x="1796" y="930"/>
                  </a:lnTo>
                  <a:lnTo>
                    <a:pt x="1916" y="897"/>
                  </a:lnTo>
                  <a:lnTo>
                    <a:pt x="2013" y="870"/>
                  </a:lnTo>
                  <a:lnTo>
                    <a:pt x="2100" y="832"/>
                  </a:lnTo>
                  <a:lnTo>
                    <a:pt x="2171" y="800"/>
                  </a:lnTo>
                  <a:lnTo>
                    <a:pt x="2220" y="756"/>
                  </a:lnTo>
                  <a:lnTo>
                    <a:pt x="2263" y="712"/>
                  </a:lnTo>
                  <a:lnTo>
                    <a:pt x="2285" y="669"/>
                  </a:lnTo>
                  <a:lnTo>
                    <a:pt x="2296" y="614"/>
                  </a:lnTo>
                  <a:lnTo>
                    <a:pt x="2290" y="560"/>
                  </a:lnTo>
                  <a:lnTo>
                    <a:pt x="2269" y="500"/>
                  </a:lnTo>
                  <a:lnTo>
                    <a:pt x="2241" y="457"/>
                  </a:lnTo>
                  <a:lnTo>
                    <a:pt x="2198" y="408"/>
                  </a:lnTo>
                  <a:lnTo>
                    <a:pt x="2144" y="364"/>
                  </a:lnTo>
                  <a:lnTo>
                    <a:pt x="2079" y="321"/>
                  </a:lnTo>
                  <a:lnTo>
                    <a:pt x="2008" y="277"/>
                  </a:lnTo>
                  <a:lnTo>
                    <a:pt x="1927" y="234"/>
                  </a:lnTo>
                  <a:lnTo>
                    <a:pt x="1769" y="157"/>
                  </a:lnTo>
                  <a:lnTo>
                    <a:pt x="1688" y="125"/>
                  </a:lnTo>
                  <a:lnTo>
                    <a:pt x="1612" y="92"/>
                  </a:lnTo>
                  <a:lnTo>
                    <a:pt x="1536" y="65"/>
                  </a:lnTo>
                  <a:lnTo>
                    <a:pt x="1476" y="43"/>
                  </a:lnTo>
                  <a:lnTo>
                    <a:pt x="1422" y="27"/>
                  </a:lnTo>
                  <a:lnTo>
                    <a:pt x="1384" y="10"/>
                  </a:lnTo>
                  <a:lnTo>
                    <a:pt x="1357" y="5"/>
                  </a:lnTo>
                  <a:lnTo>
                    <a:pt x="1346" y="0"/>
                  </a:lnTo>
                  <a:lnTo>
                    <a:pt x="1498" y="54"/>
                  </a:lnTo>
                  <a:lnTo>
                    <a:pt x="1655" y="119"/>
                  </a:lnTo>
                  <a:lnTo>
                    <a:pt x="1807" y="185"/>
                  </a:lnTo>
                  <a:lnTo>
                    <a:pt x="1948" y="255"/>
                  </a:lnTo>
                  <a:lnTo>
                    <a:pt x="2013" y="288"/>
                  </a:lnTo>
                  <a:lnTo>
                    <a:pt x="2068" y="326"/>
                  </a:lnTo>
                  <a:lnTo>
                    <a:pt x="2122" y="364"/>
                  </a:lnTo>
                  <a:lnTo>
                    <a:pt x="2171" y="402"/>
                  </a:lnTo>
                  <a:lnTo>
                    <a:pt x="2209" y="440"/>
                  </a:lnTo>
                  <a:lnTo>
                    <a:pt x="2236" y="478"/>
                  </a:lnTo>
                  <a:lnTo>
                    <a:pt x="2252" y="522"/>
                  </a:lnTo>
                  <a:lnTo>
                    <a:pt x="2263" y="560"/>
                  </a:lnTo>
                  <a:lnTo>
                    <a:pt x="2258" y="598"/>
                  </a:lnTo>
                  <a:lnTo>
                    <a:pt x="2241" y="636"/>
                  </a:lnTo>
                  <a:lnTo>
                    <a:pt x="2214" y="669"/>
                  </a:lnTo>
                  <a:lnTo>
                    <a:pt x="2171" y="702"/>
                  </a:lnTo>
                  <a:lnTo>
                    <a:pt x="2122" y="729"/>
                  </a:lnTo>
                  <a:lnTo>
                    <a:pt x="2062" y="756"/>
                  </a:lnTo>
                  <a:lnTo>
                    <a:pt x="1997" y="778"/>
                  </a:lnTo>
                  <a:lnTo>
                    <a:pt x="1921" y="800"/>
                  </a:lnTo>
                  <a:lnTo>
                    <a:pt x="1834" y="821"/>
                  </a:lnTo>
                  <a:lnTo>
                    <a:pt x="1748" y="843"/>
                  </a:lnTo>
                  <a:lnTo>
                    <a:pt x="1552" y="876"/>
                  </a:lnTo>
                  <a:lnTo>
                    <a:pt x="1351" y="908"/>
                  </a:lnTo>
                  <a:lnTo>
                    <a:pt x="1134" y="941"/>
                  </a:lnTo>
                  <a:lnTo>
                    <a:pt x="923" y="968"/>
                  </a:lnTo>
                  <a:lnTo>
                    <a:pt x="716" y="995"/>
                  </a:lnTo>
                  <a:lnTo>
                    <a:pt x="521" y="1028"/>
                  </a:lnTo>
                  <a:lnTo>
                    <a:pt x="434" y="1044"/>
                  </a:lnTo>
                  <a:lnTo>
                    <a:pt x="353" y="1066"/>
                  </a:lnTo>
                  <a:lnTo>
                    <a:pt x="277" y="1082"/>
                  </a:lnTo>
                  <a:lnTo>
                    <a:pt x="206" y="1104"/>
                  </a:lnTo>
                  <a:lnTo>
                    <a:pt x="147" y="1126"/>
                  </a:lnTo>
                  <a:lnTo>
                    <a:pt x="92" y="1148"/>
                  </a:lnTo>
                  <a:lnTo>
                    <a:pt x="54" y="1175"/>
                  </a:lnTo>
                  <a:lnTo>
                    <a:pt x="22" y="1202"/>
                  </a:lnTo>
                  <a:lnTo>
                    <a:pt x="6" y="1229"/>
                  </a:lnTo>
                  <a:lnTo>
                    <a:pt x="0" y="1262"/>
                  </a:lnTo>
                  <a:lnTo>
                    <a:pt x="11" y="1295"/>
                  </a:lnTo>
                  <a:lnTo>
                    <a:pt x="27" y="1327"/>
                  </a:lnTo>
                  <a:lnTo>
                    <a:pt x="54" y="1355"/>
                  </a:lnTo>
                  <a:lnTo>
                    <a:pt x="98" y="1382"/>
                  </a:lnTo>
                  <a:lnTo>
                    <a:pt x="141" y="1404"/>
                  </a:lnTo>
                  <a:lnTo>
                    <a:pt x="196" y="1425"/>
                  </a:lnTo>
                  <a:lnTo>
                    <a:pt x="261" y="1447"/>
                  </a:lnTo>
                  <a:lnTo>
                    <a:pt x="326" y="1469"/>
                  </a:lnTo>
                  <a:lnTo>
                    <a:pt x="266" y="1442"/>
                  </a:lnTo>
                  <a:lnTo>
                    <a:pt x="217" y="1414"/>
                  </a:lnTo>
                  <a:lnTo>
                    <a:pt x="174" y="1387"/>
                  </a:lnTo>
                  <a:lnTo>
                    <a:pt x="147" y="1360"/>
                  </a:lnTo>
                  <a:lnTo>
                    <a:pt x="125" y="1333"/>
                  </a:lnTo>
                  <a:lnTo>
                    <a:pt x="120" y="1306"/>
                  </a:lnTo>
                  <a:lnTo>
                    <a:pt x="125" y="1278"/>
                  </a:lnTo>
                  <a:lnTo>
                    <a:pt x="141" y="1257"/>
                  </a:lnTo>
                  <a:lnTo>
                    <a:pt x="174" y="1229"/>
                  </a:lnTo>
                  <a:lnTo>
                    <a:pt x="212" y="1208"/>
                  </a:lnTo>
                  <a:lnTo>
                    <a:pt x="272" y="1186"/>
                  </a:lnTo>
                  <a:lnTo>
                    <a:pt x="342" y="1164"/>
                  </a:lnTo>
                  <a:lnTo>
                    <a:pt x="423" y="1142"/>
                  </a:lnTo>
                  <a:lnTo>
                    <a:pt x="527" y="1121"/>
                  </a:lnTo>
                  <a:lnTo>
                    <a:pt x="641" y="1104"/>
                  </a:lnTo>
                  <a:lnTo>
                    <a:pt x="771" y="1088"/>
                  </a:lnTo>
                  <a:lnTo>
                    <a:pt x="771" y="1088"/>
                  </a:lnTo>
                  <a:close/>
                </a:path>
              </a:pathLst>
            </a:custGeom>
            <a:gradFill rotWithShape="0">
              <a:gsLst>
                <a:gs pos="0">
                  <a:schemeClr val="bg1">
                    <a:gamma/>
                    <a:shade val="84706"/>
                    <a:invGamma/>
                  </a:schemeClr>
                </a:gs>
                <a:gs pos="100000">
                  <a:schemeClr val="bg1"/>
                </a:gs>
              </a:gsLst>
              <a:lin ang="2700000" scaled="1"/>
            </a:gradFill>
            <a:ln w="9525">
              <a:noFill/>
              <a:round/>
              <a:headEnd/>
              <a:tailEnd/>
            </a:ln>
          </p:spPr>
          <p:txBody>
            <a:bodyPr/>
            <a:lstStyle/>
            <a:p>
              <a:pPr eaLnBrk="0" hangingPunct="0">
                <a:defRPr/>
              </a:pPr>
              <a:endParaRPr lang="en-US" sz="1800">
                <a:solidFill>
                  <a:srgbClr val="FFFFFF"/>
                </a:solidFill>
                <a:latin typeface="+mn-lt"/>
                <a:cs typeface="+mn-cs"/>
              </a:endParaRPr>
            </a:p>
          </p:txBody>
        </p:sp>
        <p:sp>
          <p:nvSpPr>
            <p:cNvPr id="7" name="Freeform 10">
              <a:extLst>
                <a:ext uri="{FF2B5EF4-FFF2-40B4-BE49-F238E27FC236}">
                  <a16:creationId xmlns:a16="http://schemas.microsoft.com/office/drawing/2014/main" id="{222D14CE-6D0F-444B-8027-49E1E6633539}"/>
                </a:ext>
              </a:extLst>
            </p:cNvPr>
            <p:cNvSpPr>
              <a:spLocks/>
            </p:cNvSpPr>
            <p:nvPr/>
          </p:nvSpPr>
          <p:spPr bwMode="hidden">
            <a:xfrm>
              <a:off x="0" y="0"/>
              <a:ext cx="5758" cy="1776"/>
            </a:xfrm>
            <a:custGeom>
              <a:avLst/>
              <a:gdLst>
                <a:gd name="T0" fmla="*/ 0 w 5740"/>
                <a:gd name="T1" fmla="*/ 0 h 1906"/>
                <a:gd name="T2" fmla="*/ 0 w 5740"/>
                <a:gd name="T3" fmla="*/ 1776 h 1906"/>
                <a:gd name="T4" fmla="*/ 5758 w 5740"/>
                <a:gd name="T5" fmla="*/ 1776 h 1906"/>
                <a:gd name="T6" fmla="*/ 5758 w 5740"/>
                <a:gd name="T7" fmla="*/ 0 h 1906"/>
                <a:gd name="T8" fmla="*/ 0 w 5740"/>
                <a:gd name="T9" fmla="*/ 0 h 1906"/>
                <a:gd name="T10" fmla="*/ 0 w 5740"/>
                <a:gd name="T11" fmla="*/ 0 h 190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5740" h="1906">
                  <a:moveTo>
                    <a:pt x="0" y="0"/>
                  </a:moveTo>
                  <a:lnTo>
                    <a:pt x="0" y="1906"/>
                  </a:lnTo>
                  <a:lnTo>
                    <a:pt x="5740" y="1906"/>
                  </a:lnTo>
                  <a:lnTo>
                    <a:pt x="5740" y="0"/>
                  </a:lnTo>
                  <a:lnTo>
                    <a:pt x="0" y="0"/>
                  </a:lnTo>
                  <a:close/>
                </a:path>
              </a:pathLst>
            </a:custGeom>
            <a:gradFill rotWithShape="0">
              <a:gsLst>
                <a:gs pos="0">
                  <a:schemeClr val="bg2"/>
                </a:gs>
                <a:gs pos="100000">
                  <a:schemeClr val="bg1"/>
                </a:gs>
              </a:gsLst>
              <a:lin ang="54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800"/>
            </a:p>
          </p:txBody>
        </p:sp>
      </p:grpSp>
      <p:graphicFrame>
        <p:nvGraphicFramePr>
          <p:cNvPr id="13" name="Object 16">
            <a:extLst>
              <a:ext uri="{FF2B5EF4-FFF2-40B4-BE49-F238E27FC236}">
                <a16:creationId xmlns:a16="http://schemas.microsoft.com/office/drawing/2014/main" id="{3B5E2D28-E431-4023-BD25-A34AB27B9882}"/>
              </a:ext>
            </a:extLst>
          </p:cNvPr>
          <p:cNvGraphicFramePr>
            <a:graphicFrameLocks noChangeAspect="1"/>
          </p:cNvGraphicFramePr>
          <p:nvPr/>
        </p:nvGraphicFramePr>
        <p:xfrm>
          <a:off x="9334501" y="5800726"/>
          <a:ext cx="2857500" cy="1057275"/>
        </p:xfrm>
        <a:graphic>
          <a:graphicData uri="http://schemas.openxmlformats.org/presentationml/2006/ole">
            <mc:AlternateContent xmlns:mc="http://schemas.openxmlformats.org/markup-compatibility/2006">
              <mc:Choice xmlns:v="urn:schemas-microsoft-com:vml" Requires="v">
                <p:oleObj spid="_x0000_s4099" name="Bitmap Image" r:id="rId3" imgW="2142857" imgH="1057423" progId="Paint.Picture">
                  <p:embed/>
                </p:oleObj>
              </mc:Choice>
              <mc:Fallback>
                <p:oleObj name="Bitmap Image" r:id="rId3" imgW="2142857" imgH="1057423" progId="Paint.Picture">
                  <p:embed/>
                  <p:pic>
                    <p:nvPicPr>
                      <p:cNvPr id="13" name="Object 16">
                        <a:extLst>
                          <a:ext uri="{FF2B5EF4-FFF2-40B4-BE49-F238E27FC236}">
                            <a16:creationId xmlns:a16="http://schemas.microsoft.com/office/drawing/2014/main" id="{3B5E2D28-E431-4023-BD25-A34AB27B988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334501" y="5800726"/>
                        <a:ext cx="2857500" cy="10572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5131" name="Rectangle 11"/>
          <p:cNvSpPr>
            <a:spLocks noGrp="1" noChangeArrowheads="1"/>
          </p:cNvSpPr>
          <p:nvPr>
            <p:ph type="ctrTitle" sz="quarter"/>
          </p:nvPr>
        </p:nvSpPr>
        <p:spPr>
          <a:xfrm>
            <a:off x="914400" y="1736726"/>
            <a:ext cx="10363200" cy="1920875"/>
          </a:xfrm>
        </p:spPr>
        <p:txBody>
          <a:bodyPr/>
          <a:lstStyle>
            <a:lvl1pPr>
              <a:defRPr sz="6000"/>
            </a:lvl1pPr>
          </a:lstStyle>
          <a:p>
            <a:r>
              <a:rPr lang="en-US"/>
              <a:t>Click to edit Master title style</a:t>
            </a:r>
          </a:p>
        </p:txBody>
      </p:sp>
      <p:sp>
        <p:nvSpPr>
          <p:cNvPr id="5132" name="Rectangle 12"/>
          <p:cNvSpPr>
            <a:spLocks noGrp="1" noChangeArrowheads="1"/>
          </p:cNvSpPr>
          <p:nvPr>
            <p:ph type="subTitle" sz="quarter" idx="1"/>
          </p:nvPr>
        </p:nvSpPr>
        <p:spPr>
          <a:xfrm>
            <a:off x="1828800" y="3886200"/>
            <a:ext cx="8534400" cy="1752600"/>
          </a:xfrm>
        </p:spPr>
        <p:txBody>
          <a:bodyPr/>
          <a:lstStyle>
            <a:lvl1pPr marL="0" indent="0" algn="ctr">
              <a:buFont typeface="Wingdings" pitchFamily="2" charset="2"/>
              <a:buNone/>
              <a:defRPr/>
            </a:lvl1pPr>
          </a:lstStyle>
          <a:p>
            <a:r>
              <a:rPr lang="en-US"/>
              <a:t>Click to edit Master subtitle style</a:t>
            </a:r>
          </a:p>
        </p:txBody>
      </p:sp>
      <p:sp>
        <p:nvSpPr>
          <p:cNvPr id="14" name="Date Placeholder 13">
            <a:extLst>
              <a:ext uri="{FF2B5EF4-FFF2-40B4-BE49-F238E27FC236}">
                <a16:creationId xmlns:a16="http://schemas.microsoft.com/office/drawing/2014/main" id="{73F50E49-3D69-43F3-B9AA-F214ADA78F60}"/>
              </a:ext>
            </a:extLst>
          </p:cNvPr>
          <p:cNvSpPr>
            <a:spLocks noGrp="1" noChangeArrowheads="1"/>
          </p:cNvSpPr>
          <p:nvPr>
            <p:ph type="dt" sz="quarter" idx="10"/>
          </p:nvPr>
        </p:nvSpPr>
        <p:spPr>
          <a:xfrm>
            <a:off x="609600" y="6248400"/>
            <a:ext cx="2844800" cy="476250"/>
          </a:xfrm>
        </p:spPr>
        <p:txBody>
          <a:bodyPr/>
          <a:lstStyle>
            <a:lvl1pPr fontAlgn="auto">
              <a:spcBef>
                <a:spcPts val="0"/>
              </a:spcBef>
              <a:spcAft>
                <a:spcPts val="0"/>
              </a:spcAft>
              <a:defRPr/>
            </a:lvl1pPr>
          </a:lstStyle>
          <a:p>
            <a:pPr>
              <a:defRPr/>
            </a:pPr>
            <a:endParaRPr lang="en-US"/>
          </a:p>
        </p:txBody>
      </p:sp>
      <p:sp>
        <p:nvSpPr>
          <p:cNvPr id="15" name="Footer Placeholder 14">
            <a:extLst>
              <a:ext uri="{FF2B5EF4-FFF2-40B4-BE49-F238E27FC236}">
                <a16:creationId xmlns:a16="http://schemas.microsoft.com/office/drawing/2014/main" id="{8BD99668-AAC1-450C-858D-15DF15E898F7}"/>
              </a:ext>
            </a:extLst>
          </p:cNvPr>
          <p:cNvSpPr>
            <a:spLocks noGrp="1" noChangeArrowheads="1"/>
          </p:cNvSpPr>
          <p:nvPr>
            <p:ph type="ftr" sz="quarter" idx="11"/>
          </p:nvPr>
        </p:nvSpPr>
        <p:spPr>
          <a:xfrm>
            <a:off x="4165600" y="6251575"/>
            <a:ext cx="3860800" cy="476250"/>
          </a:xfrm>
        </p:spPr>
        <p:txBody>
          <a:bodyPr/>
          <a:lstStyle>
            <a:lvl1pPr fontAlgn="auto">
              <a:spcBef>
                <a:spcPts val="0"/>
              </a:spcBef>
              <a:spcAft>
                <a:spcPts val="0"/>
              </a:spcAft>
              <a:defRPr/>
            </a:lvl1pPr>
          </a:lstStyle>
          <a:p>
            <a:pPr>
              <a:defRPr/>
            </a:pPr>
            <a:endParaRPr lang="en-US"/>
          </a:p>
        </p:txBody>
      </p:sp>
      <p:sp>
        <p:nvSpPr>
          <p:cNvPr id="16" name="Slide Number Placeholder 15">
            <a:extLst>
              <a:ext uri="{FF2B5EF4-FFF2-40B4-BE49-F238E27FC236}">
                <a16:creationId xmlns:a16="http://schemas.microsoft.com/office/drawing/2014/main" id="{345C2812-559F-4FE6-9D32-3984F2482DAF}"/>
              </a:ext>
            </a:extLst>
          </p:cNvPr>
          <p:cNvSpPr>
            <a:spLocks noGrp="1" noChangeArrowheads="1"/>
          </p:cNvSpPr>
          <p:nvPr>
            <p:ph type="sldNum" sz="quarter" idx="12"/>
          </p:nvPr>
        </p:nvSpPr>
        <p:spPr>
          <a:xfrm>
            <a:off x="8737600" y="6254750"/>
            <a:ext cx="2844800" cy="476250"/>
          </a:xfrm>
        </p:spPr>
        <p:txBody>
          <a:bodyPr/>
          <a:lstStyle>
            <a:lvl1pPr>
              <a:defRPr/>
            </a:lvl1pPr>
          </a:lstStyle>
          <a:p>
            <a:fld id="{FC95F6B2-6684-4108-80F0-DC3F3922C1B0}" type="slidenum">
              <a:rPr lang="en-US" altLang="en-US"/>
              <a:pPr/>
              <a:t>‹#›</a:t>
            </a:fld>
            <a:endParaRPr lang="en-US" altLang="en-US"/>
          </a:p>
        </p:txBody>
      </p:sp>
    </p:spTree>
    <p:extLst>
      <p:ext uri="{BB962C8B-B14F-4D97-AF65-F5344CB8AC3E}">
        <p14:creationId xmlns:p14="http://schemas.microsoft.com/office/powerpoint/2010/main" val="1249392767"/>
      </p:ext>
    </p:extLst>
  </p:cSld>
  <p:clrMapOvr>
    <a:masterClrMapping/>
  </p:clrMapOvr>
  <p:transition>
    <p:random/>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grpSp>
        <p:nvGrpSpPr>
          <p:cNvPr id="4" name="Group 4">
            <a:extLst>
              <a:ext uri="{FF2B5EF4-FFF2-40B4-BE49-F238E27FC236}">
                <a16:creationId xmlns:a16="http://schemas.microsoft.com/office/drawing/2014/main" id="{E47CA781-09A1-4E60-96AA-C4A7B1C0B7D6}"/>
              </a:ext>
            </a:extLst>
          </p:cNvPr>
          <p:cNvGrpSpPr>
            <a:grpSpLocks/>
          </p:cNvGrpSpPr>
          <p:nvPr/>
        </p:nvGrpSpPr>
        <p:grpSpPr bwMode="auto">
          <a:xfrm>
            <a:off x="1" y="1"/>
            <a:ext cx="12187767" cy="6850063"/>
            <a:chOff x="0" y="0"/>
            <a:chExt cx="5758" cy="4315"/>
          </a:xfrm>
        </p:grpSpPr>
        <p:grpSp>
          <p:nvGrpSpPr>
            <p:cNvPr id="5" name="Group 5">
              <a:extLst>
                <a:ext uri="{FF2B5EF4-FFF2-40B4-BE49-F238E27FC236}">
                  <a16:creationId xmlns:a16="http://schemas.microsoft.com/office/drawing/2014/main" id="{48A2C6F1-463D-4796-B4BD-8FFC6DFAD9F0}"/>
                </a:ext>
              </a:extLst>
            </p:cNvPr>
            <p:cNvGrpSpPr>
              <a:grpSpLocks/>
            </p:cNvGrpSpPr>
            <p:nvPr userDrawn="1"/>
          </p:nvGrpSpPr>
          <p:grpSpPr bwMode="auto">
            <a:xfrm>
              <a:off x="1728" y="2230"/>
              <a:ext cx="4027" cy="2085"/>
              <a:chOff x="1728" y="2230"/>
              <a:chExt cx="4027" cy="2085"/>
            </a:xfrm>
          </p:grpSpPr>
          <p:sp>
            <p:nvSpPr>
              <p:cNvPr id="8" name="Freeform 6">
                <a:extLst>
                  <a:ext uri="{FF2B5EF4-FFF2-40B4-BE49-F238E27FC236}">
                    <a16:creationId xmlns:a16="http://schemas.microsoft.com/office/drawing/2014/main" id="{38276AAF-A550-437D-8958-6D48A18498B3}"/>
                  </a:ext>
                </a:extLst>
              </p:cNvPr>
              <p:cNvSpPr>
                <a:spLocks/>
              </p:cNvSpPr>
              <p:nvPr/>
            </p:nvSpPr>
            <p:spPr bwMode="hidden">
              <a:xfrm>
                <a:off x="1728" y="2644"/>
                <a:ext cx="2882" cy="1671"/>
              </a:xfrm>
              <a:custGeom>
                <a:avLst/>
                <a:gdLst/>
                <a:ahLst/>
                <a:cxnLst>
                  <a:cxn ang="0">
                    <a:pos x="2740" y="528"/>
                  </a:cxn>
                  <a:cxn ang="0">
                    <a:pos x="2632" y="484"/>
                  </a:cxn>
                  <a:cxn ang="0">
                    <a:pos x="2480" y="424"/>
                  </a:cxn>
                  <a:cxn ang="0">
                    <a:pos x="2203" y="343"/>
                  </a:cxn>
                  <a:cxn ang="0">
                    <a:pos x="1970" y="277"/>
                  </a:cxn>
                  <a:cxn ang="0">
                    <a:pos x="1807" y="212"/>
                  </a:cxn>
                  <a:cxn ang="0">
                    <a:pos x="1693" y="152"/>
                  </a:cxn>
                  <a:cxn ang="0">
                    <a:pos x="1628" y="103"/>
                  </a:cxn>
                  <a:cxn ang="0">
                    <a:pos x="1590" y="60"/>
                  </a:cxn>
                  <a:cxn ang="0">
                    <a:pos x="1579" y="27"/>
                  </a:cxn>
                  <a:cxn ang="0">
                    <a:pos x="1585" y="0"/>
                  </a:cxn>
                  <a:cxn ang="0">
                    <a:pos x="1557" y="49"/>
                  </a:cxn>
                  <a:cxn ang="0">
                    <a:pos x="1568" y="98"/>
                  </a:cxn>
                  <a:cxn ang="0">
                    <a:pos x="1617" y="141"/>
                  </a:cxn>
                  <a:cxn ang="0">
                    <a:pos x="1688" y="185"/>
                  </a:cxn>
                  <a:cxn ang="0">
                    <a:pos x="1791" y="228"/>
                  </a:cxn>
                  <a:cxn ang="0">
                    <a:pos x="2040" y="310"/>
                  </a:cxn>
                  <a:cxn ang="0">
                    <a:pos x="2285" y="381"/>
                  </a:cxn>
                  <a:cxn ang="0">
                    <a:pos x="2464" y="435"/>
                  </a:cxn>
                  <a:cxn ang="0">
                    <a:pos x="2605" y="484"/>
                  </a:cxn>
                  <a:cxn ang="0">
                    <a:pos x="2708" y="528"/>
                  </a:cxn>
                  <a:cxn ang="0">
                    <a:pos x="2768" y="560"/>
                  </a:cxn>
                  <a:cxn ang="0">
                    <a:pos x="2795" y="593"/>
                  </a:cxn>
                  <a:cxn ang="0">
                    <a:pos x="2795" y="642"/>
                  </a:cxn>
                  <a:cxn ang="0">
                    <a:pos x="2762" y="691"/>
                  </a:cxn>
                  <a:cxn ang="0">
                    <a:pos x="2692" y="735"/>
                  </a:cxn>
                  <a:cxn ang="0">
                    <a:pos x="2589" y="778"/>
                  </a:cxn>
                  <a:cxn ang="0">
                    <a:pos x="2458" y="822"/>
                  </a:cxn>
                  <a:cxn ang="0">
                    <a:pos x="2301" y="865"/>
                  </a:cxn>
                  <a:cxn ang="0">
                    <a:pos x="2030" y="930"/>
                  </a:cxn>
                  <a:cxn ang="0">
                    <a:pos x="1606" y="1034"/>
                  </a:cxn>
                  <a:cxn ang="0">
                    <a:pos x="1145" y="1164"/>
                  </a:cxn>
                  <a:cxn ang="0">
                    <a:pos x="673" y="1328"/>
                  </a:cxn>
                  <a:cxn ang="0">
                    <a:pos x="217" y="1545"/>
                  </a:cxn>
                  <a:cxn ang="0">
                    <a:pos x="353" y="1671"/>
                  </a:cxn>
                  <a:cxn ang="0">
                    <a:pos x="754" y="1469"/>
                  </a:cxn>
                  <a:cxn ang="0">
                    <a:pos x="1145" y="1311"/>
                  </a:cxn>
                  <a:cxn ang="0">
                    <a:pos x="1519" y="1186"/>
                  </a:cxn>
                  <a:cxn ang="0">
                    <a:pos x="1861" y="1083"/>
                  </a:cxn>
                  <a:cxn ang="0">
                    <a:pos x="2165" y="1007"/>
                  </a:cxn>
                  <a:cxn ang="0">
                    <a:pos x="2426" y="947"/>
                  </a:cxn>
                  <a:cxn ang="0">
                    <a:pos x="2626" y="892"/>
                  </a:cxn>
                  <a:cxn ang="0">
                    <a:pos x="2762" y="838"/>
                  </a:cxn>
                  <a:cxn ang="0">
                    <a:pos x="2827" y="794"/>
                  </a:cxn>
                  <a:cxn ang="0">
                    <a:pos x="2865" y="745"/>
                  </a:cxn>
                  <a:cxn ang="0">
                    <a:pos x="2882" y="702"/>
                  </a:cxn>
                  <a:cxn ang="0">
                    <a:pos x="2854" y="620"/>
                  </a:cxn>
                  <a:cxn ang="0">
                    <a:pos x="2800" y="560"/>
                  </a:cxn>
                  <a:cxn ang="0">
                    <a:pos x="2773" y="544"/>
                  </a:cxn>
                </a:cxnLst>
                <a:rect l="0" t="0" r="r" b="b"/>
                <a:pathLst>
                  <a:path w="2882" h="1671">
                    <a:moveTo>
                      <a:pt x="2773" y="544"/>
                    </a:moveTo>
                    <a:lnTo>
                      <a:pt x="2740" y="528"/>
                    </a:lnTo>
                    <a:lnTo>
                      <a:pt x="2692" y="506"/>
                    </a:lnTo>
                    <a:lnTo>
                      <a:pt x="2632" y="484"/>
                    </a:lnTo>
                    <a:lnTo>
                      <a:pt x="2561" y="457"/>
                    </a:lnTo>
                    <a:lnTo>
                      <a:pt x="2480" y="424"/>
                    </a:lnTo>
                    <a:lnTo>
                      <a:pt x="2388" y="397"/>
                    </a:lnTo>
                    <a:lnTo>
                      <a:pt x="2203" y="343"/>
                    </a:lnTo>
                    <a:lnTo>
                      <a:pt x="2078" y="310"/>
                    </a:lnTo>
                    <a:lnTo>
                      <a:pt x="1970" y="277"/>
                    </a:lnTo>
                    <a:lnTo>
                      <a:pt x="1878" y="245"/>
                    </a:lnTo>
                    <a:lnTo>
                      <a:pt x="1807" y="212"/>
                    </a:lnTo>
                    <a:lnTo>
                      <a:pt x="1742" y="179"/>
                    </a:lnTo>
                    <a:lnTo>
                      <a:pt x="1693" y="152"/>
                    </a:lnTo>
                    <a:lnTo>
                      <a:pt x="1655" y="125"/>
                    </a:lnTo>
                    <a:lnTo>
                      <a:pt x="1628" y="103"/>
                    </a:lnTo>
                    <a:lnTo>
                      <a:pt x="1606" y="81"/>
                    </a:lnTo>
                    <a:lnTo>
                      <a:pt x="1590" y="60"/>
                    </a:lnTo>
                    <a:lnTo>
                      <a:pt x="1585" y="43"/>
                    </a:lnTo>
                    <a:lnTo>
                      <a:pt x="1579" y="27"/>
                    </a:lnTo>
                    <a:lnTo>
                      <a:pt x="1585" y="5"/>
                    </a:lnTo>
                    <a:lnTo>
                      <a:pt x="1585" y="0"/>
                    </a:lnTo>
                    <a:lnTo>
                      <a:pt x="1568" y="27"/>
                    </a:lnTo>
                    <a:lnTo>
                      <a:pt x="1557" y="49"/>
                    </a:lnTo>
                    <a:lnTo>
                      <a:pt x="1557" y="76"/>
                    </a:lnTo>
                    <a:lnTo>
                      <a:pt x="1568" y="98"/>
                    </a:lnTo>
                    <a:lnTo>
                      <a:pt x="1590" y="120"/>
                    </a:lnTo>
                    <a:lnTo>
                      <a:pt x="1617" y="141"/>
                    </a:lnTo>
                    <a:lnTo>
                      <a:pt x="1650" y="163"/>
                    </a:lnTo>
                    <a:lnTo>
                      <a:pt x="1688" y="185"/>
                    </a:lnTo>
                    <a:lnTo>
                      <a:pt x="1737" y="207"/>
                    </a:lnTo>
                    <a:lnTo>
                      <a:pt x="1791" y="228"/>
                    </a:lnTo>
                    <a:lnTo>
                      <a:pt x="1905" y="267"/>
                    </a:lnTo>
                    <a:lnTo>
                      <a:pt x="2040" y="310"/>
                    </a:lnTo>
                    <a:lnTo>
                      <a:pt x="2182" y="348"/>
                    </a:lnTo>
                    <a:lnTo>
                      <a:pt x="2285" y="381"/>
                    </a:lnTo>
                    <a:lnTo>
                      <a:pt x="2382" y="408"/>
                    </a:lnTo>
                    <a:lnTo>
                      <a:pt x="2464" y="435"/>
                    </a:lnTo>
                    <a:lnTo>
                      <a:pt x="2540" y="462"/>
                    </a:lnTo>
                    <a:lnTo>
                      <a:pt x="2605" y="484"/>
                    </a:lnTo>
                    <a:lnTo>
                      <a:pt x="2659" y="506"/>
                    </a:lnTo>
                    <a:lnTo>
                      <a:pt x="2708" y="528"/>
                    </a:lnTo>
                    <a:lnTo>
                      <a:pt x="2740" y="544"/>
                    </a:lnTo>
                    <a:lnTo>
                      <a:pt x="2768" y="560"/>
                    </a:lnTo>
                    <a:lnTo>
                      <a:pt x="2784" y="577"/>
                    </a:lnTo>
                    <a:lnTo>
                      <a:pt x="2795" y="593"/>
                    </a:lnTo>
                    <a:lnTo>
                      <a:pt x="2800" y="615"/>
                    </a:lnTo>
                    <a:lnTo>
                      <a:pt x="2795" y="642"/>
                    </a:lnTo>
                    <a:lnTo>
                      <a:pt x="2784" y="664"/>
                    </a:lnTo>
                    <a:lnTo>
                      <a:pt x="2762" y="691"/>
                    </a:lnTo>
                    <a:lnTo>
                      <a:pt x="2730" y="713"/>
                    </a:lnTo>
                    <a:lnTo>
                      <a:pt x="2692" y="735"/>
                    </a:lnTo>
                    <a:lnTo>
                      <a:pt x="2643" y="756"/>
                    </a:lnTo>
                    <a:lnTo>
                      <a:pt x="2589" y="778"/>
                    </a:lnTo>
                    <a:lnTo>
                      <a:pt x="2529" y="800"/>
                    </a:lnTo>
                    <a:lnTo>
                      <a:pt x="2458" y="822"/>
                    </a:lnTo>
                    <a:lnTo>
                      <a:pt x="2382" y="843"/>
                    </a:lnTo>
                    <a:lnTo>
                      <a:pt x="2301" y="865"/>
                    </a:lnTo>
                    <a:lnTo>
                      <a:pt x="2214" y="887"/>
                    </a:lnTo>
                    <a:lnTo>
                      <a:pt x="2030" y="930"/>
                    </a:lnTo>
                    <a:lnTo>
                      <a:pt x="1823" y="979"/>
                    </a:lnTo>
                    <a:lnTo>
                      <a:pt x="1606" y="1034"/>
                    </a:lnTo>
                    <a:lnTo>
                      <a:pt x="1378" y="1094"/>
                    </a:lnTo>
                    <a:lnTo>
                      <a:pt x="1145" y="1164"/>
                    </a:lnTo>
                    <a:lnTo>
                      <a:pt x="912" y="1241"/>
                    </a:lnTo>
                    <a:lnTo>
                      <a:pt x="673" y="1328"/>
                    </a:lnTo>
                    <a:lnTo>
                      <a:pt x="440" y="1431"/>
                    </a:lnTo>
                    <a:lnTo>
                      <a:pt x="217" y="1545"/>
                    </a:lnTo>
                    <a:lnTo>
                      <a:pt x="0" y="1671"/>
                    </a:lnTo>
                    <a:lnTo>
                      <a:pt x="353" y="1671"/>
                    </a:lnTo>
                    <a:lnTo>
                      <a:pt x="554" y="1567"/>
                    </a:lnTo>
                    <a:lnTo>
                      <a:pt x="754" y="1469"/>
                    </a:lnTo>
                    <a:lnTo>
                      <a:pt x="955" y="1388"/>
                    </a:lnTo>
                    <a:lnTo>
                      <a:pt x="1145" y="1311"/>
                    </a:lnTo>
                    <a:lnTo>
                      <a:pt x="1335" y="1241"/>
                    </a:lnTo>
                    <a:lnTo>
                      <a:pt x="1519" y="1186"/>
                    </a:lnTo>
                    <a:lnTo>
                      <a:pt x="1693" y="1132"/>
                    </a:lnTo>
                    <a:lnTo>
                      <a:pt x="1861" y="1083"/>
                    </a:lnTo>
                    <a:lnTo>
                      <a:pt x="2019" y="1045"/>
                    </a:lnTo>
                    <a:lnTo>
                      <a:pt x="2165" y="1007"/>
                    </a:lnTo>
                    <a:lnTo>
                      <a:pt x="2301" y="974"/>
                    </a:lnTo>
                    <a:lnTo>
                      <a:pt x="2426" y="947"/>
                    </a:lnTo>
                    <a:lnTo>
                      <a:pt x="2534" y="914"/>
                    </a:lnTo>
                    <a:lnTo>
                      <a:pt x="2626" y="892"/>
                    </a:lnTo>
                    <a:lnTo>
                      <a:pt x="2702" y="865"/>
                    </a:lnTo>
                    <a:lnTo>
                      <a:pt x="2762" y="838"/>
                    </a:lnTo>
                    <a:lnTo>
                      <a:pt x="2800" y="816"/>
                    </a:lnTo>
                    <a:lnTo>
                      <a:pt x="2827" y="794"/>
                    </a:lnTo>
                    <a:lnTo>
                      <a:pt x="2849" y="767"/>
                    </a:lnTo>
                    <a:lnTo>
                      <a:pt x="2865" y="745"/>
                    </a:lnTo>
                    <a:lnTo>
                      <a:pt x="2876" y="724"/>
                    </a:lnTo>
                    <a:lnTo>
                      <a:pt x="2882" y="702"/>
                    </a:lnTo>
                    <a:lnTo>
                      <a:pt x="2876" y="658"/>
                    </a:lnTo>
                    <a:lnTo>
                      <a:pt x="2854" y="620"/>
                    </a:lnTo>
                    <a:lnTo>
                      <a:pt x="2833" y="588"/>
                    </a:lnTo>
                    <a:lnTo>
                      <a:pt x="2800" y="560"/>
                    </a:lnTo>
                    <a:lnTo>
                      <a:pt x="2773" y="544"/>
                    </a:lnTo>
                    <a:lnTo>
                      <a:pt x="2773" y="544"/>
                    </a:lnTo>
                    <a:close/>
                  </a:path>
                </a:pathLst>
              </a:custGeom>
              <a:gradFill rotWithShape="0">
                <a:gsLst>
                  <a:gs pos="0">
                    <a:schemeClr val="bg1"/>
                  </a:gs>
                  <a:gs pos="100000">
                    <a:schemeClr val="bg1">
                      <a:gamma/>
                      <a:shade val="90980"/>
                      <a:invGamma/>
                    </a:schemeClr>
                  </a:gs>
                </a:gsLst>
                <a:lin ang="0" scaled="1"/>
              </a:gradFill>
              <a:ln w="9525">
                <a:noFill/>
                <a:round/>
                <a:headEnd/>
                <a:tailEnd/>
              </a:ln>
            </p:spPr>
            <p:txBody>
              <a:bodyPr/>
              <a:lstStyle/>
              <a:p>
                <a:pPr eaLnBrk="0" hangingPunct="0">
                  <a:defRPr/>
                </a:pPr>
                <a:endParaRPr lang="en-US" sz="1800">
                  <a:solidFill>
                    <a:srgbClr val="FFFFFF"/>
                  </a:solidFill>
                  <a:latin typeface="+mn-lt"/>
                  <a:cs typeface="+mn-cs"/>
                </a:endParaRPr>
              </a:p>
            </p:txBody>
          </p:sp>
          <p:sp>
            <p:nvSpPr>
              <p:cNvPr id="9" name="Freeform 7">
                <a:extLst>
                  <a:ext uri="{FF2B5EF4-FFF2-40B4-BE49-F238E27FC236}">
                    <a16:creationId xmlns:a16="http://schemas.microsoft.com/office/drawing/2014/main" id="{31F237D1-A1DB-40FB-BE80-C7FD3C756492}"/>
                  </a:ext>
                </a:extLst>
              </p:cNvPr>
              <p:cNvSpPr>
                <a:spLocks/>
              </p:cNvSpPr>
              <p:nvPr/>
            </p:nvSpPr>
            <p:spPr bwMode="hidden">
              <a:xfrm>
                <a:off x="4170" y="2671"/>
                <a:ext cx="1259" cy="811"/>
              </a:xfrm>
              <a:custGeom>
                <a:avLst/>
                <a:gdLst/>
                <a:ahLst/>
                <a:cxnLst>
                  <a:cxn ang="0">
                    <a:pos x="1259" y="615"/>
                  </a:cxn>
                  <a:cxn ang="0">
                    <a:pos x="1248" y="588"/>
                  </a:cxn>
                  <a:cxn ang="0">
                    <a:pos x="1237" y="566"/>
                  </a:cxn>
                  <a:cxn ang="0">
                    <a:pos x="1216" y="539"/>
                  </a:cxn>
                  <a:cxn ang="0">
                    <a:pos x="1188" y="517"/>
                  </a:cxn>
                  <a:cxn ang="0">
                    <a:pos x="1123" y="479"/>
                  </a:cxn>
                  <a:cxn ang="0">
                    <a:pos x="1042" y="441"/>
                  </a:cxn>
                  <a:cxn ang="0">
                    <a:pos x="944" y="408"/>
                  </a:cxn>
                  <a:cxn ang="0">
                    <a:pos x="841" y="381"/>
                  </a:cxn>
                  <a:cxn ang="0">
                    <a:pos x="727" y="348"/>
                  </a:cxn>
                  <a:cxn ang="0">
                    <a:pos x="613" y="321"/>
                  </a:cxn>
                  <a:cxn ang="0">
                    <a:pos x="499" y="294"/>
                  </a:cxn>
                  <a:cxn ang="0">
                    <a:pos x="391" y="261"/>
                  </a:cxn>
                  <a:cxn ang="0">
                    <a:pos x="288" y="229"/>
                  </a:cxn>
                  <a:cxn ang="0">
                    <a:pos x="195" y="196"/>
                  </a:cxn>
                  <a:cxn ang="0">
                    <a:pos x="119" y="152"/>
                  </a:cxn>
                  <a:cxn ang="0">
                    <a:pos x="54" y="109"/>
                  </a:cxn>
                  <a:cxn ang="0">
                    <a:pos x="33" y="87"/>
                  </a:cxn>
                  <a:cxn ang="0">
                    <a:pos x="16" y="60"/>
                  </a:cxn>
                  <a:cxn ang="0">
                    <a:pos x="5" y="33"/>
                  </a:cxn>
                  <a:cxn ang="0">
                    <a:pos x="0" y="0"/>
                  </a:cxn>
                  <a:cxn ang="0">
                    <a:pos x="0" y="6"/>
                  </a:cxn>
                  <a:cxn ang="0">
                    <a:pos x="0" y="11"/>
                  </a:cxn>
                  <a:cxn ang="0">
                    <a:pos x="0" y="38"/>
                  </a:cxn>
                  <a:cxn ang="0">
                    <a:pos x="5" y="60"/>
                  </a:cxn>
                  <a:cxn ang="0">
                    <a:pos x="16" y="87"/>
                  </a:cxn>
                  <a:cxn ang="0">
                    <a:pos x="33" y="114"/>
                  </a:cxn>
                  <a:cxn ang="0">
                    <a:pos x="54" y="142"/>
                  </a:cxn>
                  <a:cxn ang="0">
                    <a:pos x="87" y="174"/>
                  </a:cxn>
                  <a:cxn ang="0">
                    <a:pos x="125" y="207"/>
                  </a:cxn>
                  <a:cxn ang="0">
                    <a:pos x="179" y="240"/>
                  </a:cxn>
                  <a:cxn ang="0">
                    <a:pos x="244" y="278"/>
                  </a:cxn>
                  <a:cxn ang="0">
                    <a:pos x="326" y="310"/>
                  </a:cxn>
                  <a:cxn ang="0">
                    <a:pos x="418" y="348"/>
                  </a:cxn>
                  <a:cxn ang="0">
                    <a:pos x="526" y="381"/>
                  </a:cxn>
                  <a:cxn ang="0">
                    <a:pos x="657" y="414"/>
                  </a:cxn>
                  <a:cxn ang="0">
                    <a:pos x="749" y="435"/>
                  </a:cxn>
                  <a:cxn ang="0">
                    <a:pos x="830" y="463"/>
                  </a:cxn>
                  <a:cxn ang="0">
                    <a:pos x="901" y="490"/>
                  </a:cxn>
                  <a:cxn ang="0">
                    <a:pos x="966" y="512"/>
                  </a:cxn>
                  <a:cxn ang="0">
                    <a:pos x="1015" y="539"/>
                  </a:cxn>
                  <a:cxn ang="0">
                    <a:pos x="1053" y="566"/>
                  </a:cxn>
                  <a:cxn ang="0">
                    <a:pos x="1080" y="593"/>
                  </a:cxn>
                  <a:cxn ang="0">
                    <a:pos x="1102" y="620"/>
                  </a:cxn>
                  <a:cxn ang="0">
                    <a:pos x="1112" y="648"/>
                  </a:cxn>
                  <a:cxn ang="0">
                    <a:pos x="1118" y="675"/>
                  </a:cxn>
                  <a:cxn ang="0">
                    <a:pos x="1112" y="697"/>
                  </a:cxn>
                  <a:cxn ang="0">
                    <a:pos x="1096" y="724"/>
                  </a:cxn>
                  <a:cxn ang="0">
                    <a:pos x="1080" y="746"/>
                  </a:cxn>
                  <a:cxn ang="0">
                    <a:pos x="1053" y="767"/>
                  </a:cxn>
                  <a:cxn ang="0">
                    <a:pos x="1015" y="789"/>
                  </a:cxn>
                  <a:cxn ang="0">
                    <a:pos x="977" y="811"/>
                  </a:cxn>
                  <a:cxn ang="0">
                    <a:pos x="1047" y="789"/>
                  </a:cxn>
                  <a:cxn ang="0">
                    <a:pos x="1107" y="767"/>
                  </a:cxn>
                  <a:cxn ang="0">
                    <a:pos x="1156" y="746"/>
                  </a:cxn>
                  <a:cxn ang="0">
                    <a:pos x="1199" y="724"/>
                  </a:cxn>
                  <a:cxn ang="0">
                    <a:pos x="1226" y="702"/>
                  </a:cxn>
                  <a:cxn ang="0">
                    <a:pos x="1248" y="675"/>
                  </a:cxn>
                  <a:cxn ang="0">
                    <a:pos x="1259" y="648"/>
                  </a:cxn>
                  <a:cxn ang="0">
                    <a:pos x="1259" y="615"/>
                  </a:cxn>
                  <a:cxn ang="0">
                    <a:pos x="1259" y="615"/>
                  </a:cxn>
                </a:cxnLst>
                <a:rect l="0" t="0" r="r" b="b"/>
                <a:pathLst>
                  <a:path w="1259" h="811">
                    <a:moveTo>
                      <a:pt x="1259" y="615"/>
                    </a:moveTo>
                    <a:lnTo>
                      <a:pt x="1248" y="588"/>
                    </a:lnTo>
                    <a:lnTo>
                      <a:pt x="1237" y="566"/>
                    </a:lnTo>
                    <a:lnTo>
                      <a:pt x="1216" y="539"/>
                    </a:lnTo>
                    <a:lnTo>
                      <a:pt x="1188" y="517"/>
                    </a:lnTo>
                    <a:lnTo>
                      <a:pt x="1123" y="479"/>
                    </a:lnTo>
                    <a:lnTo>
                      <a:pt x="1042" y="441"/>
                    </a:lnTo>
                    <a:lnTo>
                      <a:pt x="944" y="408"/>
                    </a:lnTo>
                    <a:lnTo>
                      <a:pt x="841" y="381"/>
                    </a:lnTo>
                    <a:lnTo>
                      <a:pt x="727" y="348"/>
                    </a:lnTo>
                    <a:lnTo>
                      <a:pt x="613" y="321"/>
                    </a:lnTo>
                    <a:lnTo>
                      <a:pt x="499" y="294"/>
                    </a:lnTo>
                    <a:lnTo>
                      <a:pt x="391" y="261"/>
                    </a:lnTo>
                    <a:lnTo>
                      <a:pt x="288" y="229"/>
                    </a:lnTo>
                    <a:lnTo>
                      <a:pt x="195" y="196"/>
                    </a:lnTo>
                    <a:lnTo>
                      <a:pt x="119" y="152"/>
                    </a:lnTo>
                    <a:lnTo>
                      <a:pt x="54" y="109"/>
                    </a:lnTo>
                    <a:lnTo>
                      <a:pt x="33" y="87"/>
                    </a:lnTo>
                    <a:lnTo>
                      <a:pt x="16" y="60"/>
                    </a:lnTo>
                    <a:lnTo>
                      <a:pt x="5" y="33"/>
                    </a:lnTo>
                    <a:lnTo>
                      <a:pt x="0" y="0"/>
                    </a:lnTo>
                    <a:lnTo>
                      <a:pt x="0" y="6"/>
                    </a:lnTo>
                    <a:lnTo>
                      <a:pt x="0" y="11"/>
                    </a:lnTo>
                    <a:lnTo>
                      <a:pt x="0" y="38"/>
                    </a:lnTo>
                    <a:lnTo>
                      <a:pt x="5" y="60"/>
                    </a:lnTo>
                    <a:lnTo>
                      <a:pt x="16" y="87"/>
                    </a:lnTo>
                    <a:lnTo>
                      <a:pt x="33" y="114"/>
                    </a:lnTo>
                    <a:lnTo>
                      <a:pt x="54" y="142"/>
                    </a:lnTo>
                    <a:lnTo>
                      <a:pt x="87" y="174"/>
                    </a:lnTo>
                    <a:lnTo>
                      <a:pt x="125" y="207"/>
                    </a:lnTo>
                    <a:lnTo>
                      <a:pt x="179" y="240"/>
                    </a:lnTo>
                    <a:lnTo>
                      <a:pt x="244" y="278"/>
                    </a:lnTo>
                    <a:lnTo>
                      <a:pt x="326" y="310"/>
                    </a:lnTo>
                    <a:lnTo>
                      <a:pt x="418" y="348"/>
                    </a:lnTo>
                    <a:lnTo>
                      <a:pt x="526" y="381"/>
                    </a:lnTo>
                    <a:lnTo>
                      <a:pt x="657" y="414"/>
                    </a:lnTo>
                    <a:lnTo>
                      <a:pt x="749" y="435"/>
                    </a:lnTo>
                    <a:lnTo>
                      <a:pt x="830" y="463"/>
                    </a:lnTo>
                    <a:lnTo>
                      <a:pt x="901" y="490"/>
                    </a:lnTo>
                    <a:lnTo>
                      <a:pt x="966" y="512"/>
                    </a:lnTo>
                    <a:lnTo>
                      <a:pt x="1015" y="539"/>
                    </a:lnTo>
                    <a:lnTo>
                      <a:pt x="1053" y="566"/>
                    </a:lnTo>
                    <a:lnTo>
                      <a:pt x="1080" y="593"/>
                    </a:lnTo>
                    <a:lnTo>
                      <a:pt x="1102" y="620"/>
                    </a:lnTo>
                    <a:lnTo>
                      <a:pt x="1112" y="648"/>
                    </a:lnTo>
                    <a:lnTo>
                      <a:pt x="1118" y="675"/>
                    </a:lnTo>
                    <a:lnTo>
                      <a:pt x="1112" y="697"/>
                    </a:lnTo>
                    <a:lnTo>
                      <a:pt x="1096" y="724"/>
                    </a:lnTo>
                    <a:lnTo>
                      <a:pt x="1080" y="746"/>
                    </a:lnTo>
                    <a:lnTo>
                      <a:pt x="1053" y="767"/>
                    </a:lnTo>
                    <a:lnTo>
                      <a:pt x="1015" y="789"/>
                    </a:lnTo>
                    <a:lnTo>
                      <a:pt x="977" y="811"/>
                    </a:lnTo>
                    <a:lnTo>
                      <a:pt x="1047" y="789"/>
                    </a:lnTo>
                    <a:lnTo>
                      <a:pt x="1107" y="767"/>
                    </a:lnTo>
                    <a:lnTo>
                      <a:pt x="1156" y="746"/>
                    </a:lnTo>
                    <a:lnTo>
                      <a:pt x="1199" y="724"/>
                    </a:lnTo>
                    <a:lnTo>
                      <a:pt x="1226" y="702"/>
                    </a:lnTo>
                    <a:lnTo>
                      <a:pt x="1248" y="675"/>
                    </a:lnTo>
                    <a:lnTo>
                      <a:pt x="1259" y="648"/>
                    </a:lnTo>
                    <a:lnTo>
                      <a:pt x="1259" y="615"/>
                    </a:lnTo>
                    <a:lnTo>
                      <a:pt x="1259" y="615"/>
                    </a:lnTo>
                    <a:close/>
                  </a:path>
                </a:pathLst>
              </a:custGeom>
              <a:gradFill rotWithShape="0">
                <a:gsLst>
                  <a:gs pos="0">
                    <a:schemeClr val="bg1"/>
                  </a:gs>
                  <a:gs pos="100000">
                    <a:schemeClr val="bg1">
                      <a:gamma/>
                      <a:shade val="90980"/>
                      <a:invGamma/>
                    </a:schemeClr>
                  </a:gs>
                </a:gsLst>
                <a:lin ang="2700000" scaled="1"/>
              </a:gradFill>
              <a:ln w="9525">
                <a:noFill/>
                <a:round/>
                <a:headEnd/>
                <a:tailEnd/>
              </a:ln>
            </p:spPr>
            <p:txBody>
              <a:bodyPr/>
              <a:lstStyle/>
              <a:p>
                <a:pPr eaLnBrk="0" hangingPunct="0">
                  <a:defRPr/>
                </a:pPr>
                <a:endParaRPr lang="en-US" sz="1800">
                  <a:solidFill>
                    <a:srgbClr val="FFFFFF"/>
                  </a:solidFill>
                  <a:latin typeface="+mn-lt"/>
                  <a:cs typeface="+mn-cs"/>
                </a:endParaRPr>
              </a:p>
            </p:txBody>
          </p:sp>
          <p:sp>
            <p:nvSpPr>
              <p:cNvPr id="10" name="Freeform 8">
                <a:extLst>
                  <a:ext uri="{FF2B5EF4-FFF2-40B4-BE49-F238E27FC236}">
                    <a16:creationId xmlns:a16="http://schemas.microsoft.com/office/drawing/2014/main" id="{0EECAA15-4384-4C66-A139-8557C1EDE0F5}"/>
                  </a:ext>
                </a:extLst>
              </p:cNvPr>
              <p:cNvSpPr>
                <a:spLocks/>
              </p:cNvSpPr>
              <p:nvPr/>
            </p:nvSpPr>
            <p:spPr bwMode="hidden">
              <a:xfrm>
                <a:off x="2900" y="3346"/>
                <a:ext cx="2849" cy="969"/>
              </a:xfrm>
              <a:custGeom>
                <a:avLst/>
                <a:gdLst/>
                <a:ahLst/>
                <a:cxnLst>
                  <a:cxn ang="0">
                    <a:pos x="92" y="958"/>
                  </a:cxn>
                  <a:cxn ang="0">
                    <a:pos x="0" y="969"/>
                  </a:cxn>
                  <a:cxn ang="0">
                    <a:pos x="391" y="969"/>
                  </a:cxn>
                  <a:cxn ang="0">
                    <a:pos x="434" y="947"/>
                  </a:cxn>
                  <a:cxn ang="0">
                    <a:pos x="483" y="914"/>
                  </a:cxn>
                  <a:cxn ang="0">
                    <a:pos x="554" y="876"/>
                  </a:cxn>
                  <a:cxn ang="0">
                    <a:pos x="635" y="838"/>
                  </a:cxn>
                  <a:cxn ang="0">
                    <a:pos x="727" y="794"/>
                  </a:cxn>
                  <a:cxn ang="0">
                    <a:pos x="836" y="745"/>
                  </a:cxn>
                  <a:cxn ang="0">
                    <a:pos x="961" y="696"/>
                  </a:cxn>
                  <a:cxn ang="0">
                    <a:pos x="1102" y="642"/>
                  </a:cxn>
                  <a:cxn ang="0">
                    <a:pos x="1259" y="582"/>
                  </a:cxn>
                  <a:cxn ang="0">
                    <a:pos x="1433" y="522"/>
                  </a:cxn>
                  <a:cxn ang="0">
                    <a:pos x="1623" y="462"/>
                  </a:cxn>
                  <a:cxn ang="0">
                    <a:pos x="1829" y="403"/>
                  </a:cxn>
                  <a:cxn ang="0">
                    <a:pos x="2057" y="343"/>
                  </a:cxn>
                  <a:cxn ang="0">
                    <a:pos x="2301" y="283"/>
                  </a:cxn>
                  <a:cxn ang="0">
                    <a:pos x="2567" y="223"/>
                  </a:cxn>
                  <a:cxn ang="0">
                    <a:pos x="2849" y="163"/>
                  </a:cxn>
                  <a:cxn ang="0">
                    <a:pos x="2849" y="0"/>
                  </a:cxn>
                  <a:cxn ang="0">
                    <a:pos x="2817" y="16"/>
                  </a:cxn>
                  <a:cxn ang="0">
                    <a:pos x="2773" y="33"/>
                  </a:cxn>
                  <a:cxn ang="0">
                    <a:pos x="2719" y="54"/>
                  </a:cxn>
                  <a:cxn ang="0">
                    <a:pos x="2648" y="76"/>
                  </a:cxn>
                  <a:cxn ang="0">
                    <a:pos x="2572" y="98"/>
                  </a:cxn>
                  <a:cxn ang="0">
                    <a:pos x="2491" y="120"/>
                  </a:cxn>
                  <a:cxn ang="0">
                    <a:pos x="2399" y="147"/>
                  </a:cxn>
                  <a:cxn ang="0">
                    <a:pos x="2301" y="169"/>
                  </a:cxn>
                  <a:cxn ang="0">
                    <a:pos x="2095" y="223"/>
                  </a:cxn>
                  <a:cxn ang="0">
                    <a:pos x="1889" y="277"/>
                  </a:cxn>
                  <a:cxn ang="0">
                    <a:pos x="1688" y="326"/>
                  </a:cxn>
                  <a:cxn ang="0">
                    <a:pos x="1590" y="354"/>
                  </a:cxn>
                  <a:cxn ang="0">
                    <a:pos x="1503" y="381"/>
                  </a:cxn>
                  <a:cxn ang="0">
                    <a:pos x="1107" y="506"/>
                  </a:cxn>
                  <a:cxn ang="0">
                    <a:pos x="912" y="577"/>
                  </a:cxn>
                  <a:cxn ang="0">
                    <a:pos x="727" y="647"/>
                  </a:cxn>
                  <a:cxn ang="0">
                    <a:pos x="548" y="718"/>
                  </a:cxn>
                  <a:cxn ang="0">
                    <a:pos x="380" y="794"/>
                  </a:cxn>
                  <a:cxn ang="0">
                    <a:pos x="228" y="876"/>
                  </a:cxn>
                  <a:cxn ang="0">
                    <a:pos x="92" y="958"/>
                  </a:cxn>
                  <a:cxn ang="0">
                    <a:pos x="92" y="958"/>
                  </a:cxn>
                </a:cxnLst>
                <a:rect l="0" t="0" r="r" b="b"/>
                <a:pathLst>
                  <a:path w="2849" h="969">
                    <a:moveTo>
                      <a:pt x="92" y="958"/>
                    </a:moveTo>
                    <a:lnTo>
                      <a:pt x="0" y="969"/>
                    </a:lnTo>
                    <a:lnTo>
                      <a:pt x="391" y="969"/>
                    </a:lnTo>
                    <a:lnTo>
                      <a:pt x="434" y="947"/>
                    </a:lnTo>
                    <a:lnTo>
                      <a:pt x="483" y="914"/>
                    </a:lnTo>
                    <a:lnTo>
                      <a:pt x="554" y="876"/>
                    </a:lnTo>
                    <a:lnTo>
                      <a:pt x="635" y="838"/>
                    </a:lnTo>
                    <a:lnTo>
                      <a:pt x="727" y="794"/>
                    </a:lnTo>
                    <a:lnTo>
                      <a:pt x="836" y="745"/>
                    </a:lnTo>
                    <a:lnTo>
                      <a:pt x="961" y="696"/>
                    </a:lnTo>
                    <a:lnTo>
                      <a:pt x="1102" y="642"/>
                    </a:lnTo>
                    <a:lnTo>
                      <a:pt x="1259" y="582"/>
                    </a:lnTo>
                    <a:lnTo>
                      <a:pt x="1433" y="522"/>
                    </a:lnTo>
                    <a:lnTo>
                      <a:pt x="1623" y="462"/>
                    </a:lnTo>
                    <a:lnTo>
                      <a:pt x="1829" y="403"/>
                    </a:lnTo>
                    <a:lnTo>
                      <a:pt x="2057" y="343"/>
                    </a:lnTo>
                    <a:lnTo>
                      <a:pt x="2301" y="283"/>
                    </a:lnTo>
                    <a:lnTo>
                      <a:pt x="2567" y="223"/>
                    </a:lnTo>
                    <a:lnTo>
                      <a:pt x="2849" y="163"/>
                    </a:lnTo>
                    <a:lnTo>
                      <a:pt x="2849" y="0"/>
                    </a:lnTo>
                    <a:lnTo>
                      <a:pt x="2817" y="16"/>
                    </a:lnTo>
                    <a:lnTo>
                      <a:pt x="2773" y="33"/>
                    </a:lnTo>
                    <a:lnTo>
                      <a:pt x="2719" y="54"/>
                    </a:lnTo>
                    <a:lnTo>
                      <a:pt x="2648" y="76"/>
                    </a:lnTo>
                    <a:lnTo>
                      <a:pt x="2572" y="98"/>
                    </a:lnTo>
                    <a:lnTo>
                      <a:pt x="2491" y="120"/>
                    </a:lnTo>
                    <a:lnTo>
                      <a:pt x="2399" y="147"/>
                    </a:lnTo>
                    <a:lnTo>
                      <a:pt x="2301" y="169"/>
                    </a:lnTo>
                    <a:lnTo>
                      <a:pt x="2095" y="223"/>
                    </a:lnTo>
                    <a:lnTo>
                      <a:pt x="1889" y="277"/>
                    </a:lnTo>
                    <a:lnTo>
                      <a:pt x="1688" y="326"/>
                    </a:lnTo>
                    <a:lnTo>
                      <a:pt x="1590" y="354"/>
                    </a:lnTo>
                    <a:lnTo>
                      <a:pt x="1503" y="381"/>
                    </a:lnTo>
                    <a:lnTo>
                      <a:pt x="1107" y="506"/>
                    </a:lnTo>
                    <a:lnTo>
                      <a:pt x="912" y="577"/>
                    </a:lnTo>
                    <a:lnTo>
                      <a:pt x="727" y="647"/>
                    </a:lnTo>
                    <a:lnTo>
                      <a:pt x="548" y="718"/>
                    </a:lnTo>
                    <a:lnTo>
                      <a:pt x="380" y="794"/>
                    </a:lnTo>
                    <a:lnTo>
                      <a:pt x="228" y="876"/>
                    </a:lnTo>
                    <a:lnTo>
                      <a:pt x="92" y="958"/>
                    </a:lnTo>
                    <a:lnTo>
                      <a:pt x="92" y="958"/>
                    </a:lnTo>
                    <a:close/>
                  </a:path>
                </a:pathLst>
              </a:custGeom>
              <a:gradFill rotWithShape="0">
                <a:gsLst>
                  <a:gs pos="0">
                    <a:schemeClr val="bg1">
                      <a:gamma/>
                      <a:shade val="81961"/>
                      <a:invGamma/>
                    </a:schemeClr>
                  </a:gs>
                  <a:gs pos="100000">
                    <a:schemeClr val="bg1"/>
                  </a:gs>
                </a:gsLst>
                <a:lin ang="5400000" scaled="1"/>
              </a:gradFill>
              <a:ln w="9525">
                <a:noFill/>
                <a:round/>
                <a:headEnd/>
                <a:tailEnd/>
              </a:ln>
            </p:spPr>
            <p:txBody>
              <a:bodyPr/>
              <a:lstStyle/>
              <a:p>
                <a:pPr eaLnBrk="0" hangingPunct="0">
                  <a:defRPr/>
                </a:pPr>
                <a:endParaRPr lang="en-US" sz="1800">
                  <a:solidFill>
                    <a:srgbClr val="FFFFFF"/>
                  </a:solidFill>
                  <a:latin typeface="+mn-lt"/>
                  <a:cs typeface="+mn-cs"/>
                </a:endParaRPr>
              </a:p>
            </p:txBody>
          </p:sp>
          <p:sp>
            <p:nvSpPr>
              <p:cNvPr id="11" name="Freeform 9">
                <a:extLst>
                  <a:ext uri="{FF2B5EF4-FFF2-40B4-BE49-F238E27FC236}">
                    <a16:creationId xmlns:a16="http://schemas.microsoft.com/office/drawing/2014/main" id="{6E671A14-A2BB-44FE-A297-936E1E5C1317}"/>
                  </a:ext>
                </a:extLst>
              </p:cNvPr>
              <p:cNvSpPr>
                <a:spLocks/>
              </p:cNvSpPr>
              <p:nvPr/>
            </p:nvSpPr>
            <p:spPr bwMode="hidden">
              <a:xfrm>
                <a:off x="2748" y="2230"/>
                <a:ext cx="3007" cy="2085"/>
              </a:xfrm>
              <a:custGeom>
                <a:avLst/>
                <a:gdLst>
                  <a:gd name="T0" fmla="*/ 1433 w 3007"/>
                  <a:gd name="T1" fmla="*/ 474 h 2085"/>
                  <a:gd name="T2" fmla="*/ 1460 w 3007"/>
                  <a:gd name="T3" fmla="*/ 528 h 2085"/>
                  <a:gd name="T4" fmla="*/ 1541 w 3007"/>
                  <a:gd name="T5" fmla="*/ 593 h 2085"/>
                  <a:gd name="T6" fmla="*/ 1715 w 3007"/>
                  <a:gd name="T7" fmla="*/ 670 h 2085"/>
                  <a:gd name="T8" fmla="*/ 1927 w 3007"/>
                  <a:gd name="T9" fmla="*/ 735 h 2085"/>
                  <a:gd name="T10" fmla="*/ 2155 w 3007"/>
                  <a:gd name="T11" fmla="*/ 789 h 2085"/>
                  <a:gd name="T12" fmla="*/ 2372 w 3007"/>
                  <a:gd name="T13" fmla="*/ 849 h 2085"/>
                  <a:gd name="T14" fmla="*/ 2551 w 3007"/>
                  <a:gd name="T15" fmla="*/ 920 h 2085"/>
                  <a:gd name="T16" fmla="*/ 2638 w 3007"/>
                  <a:gd name="T17" fmla="*/ 980 h 2085"/>
                  <a:gd name="T18" fmla="*/ 2676 w 3007"/>
                  <a:gd name="T19" fmla="*/ 1029 h 2085"/>
                  <a:gd name="T20" fmla="*/ 2681 w 3007"/>
                  <a:gd name="T21" fmla="*/ 1083 h 2085"/>
                  <a:gd name="T22" fmla="*/ 2665 w 3007"/>
                  <a:gd name="T23" fmla="*/ 1127 h 2085"/>
                  <a:gd name="T24" fmla="*/ 2616 w 3007"/>
                  <a:gd name="T25" fmla="*/ 1170 h 2085"/>
                  <a:gd name="T26" fmla="*/ 2545 w 3007"/>
                  <a:gd name="T27" fmla="*/ 1208 h 2085"/>
                  <a:gd name="T28" fmla="*/ 2448 w 3007"/>
                  <a:gd name="T29" fmla="*/ 1241 h 2085"/>
                  <a:gd name="T30" fmla="*/ 2328 w 3007"/>
                  <a:gd name="T31" fmla="*/ 1274 h 2085"/>
                  <a:gd name="T32" fmla="*/ 2106 w 3007"/>
                  <a:gd name="T33" fmla="*/ 1328 h 2085"/>
                  <a:gd name="T34" fmla="*/ 1742 w 3007"/>
                  <a:gd name="T35" fmla="*/ 1421 h 2085"/>
                  <a:gd name="T36" fmla="*/ 1308 w 3007"/>
                  <a:gd name="T37" fmla="*/ 1540 h 2085"/>
                  <a:gd name="T38" fmla="*/ 820 w 3007"/>
                  <a:gd name="T39" fmla="*/ 1709 h 2085"/>
                  <a:gd name="T40" fmla="*/ 282 w 3007"/>
                  <a:gd name="T41" fmla="*/ 1943 h 2085"/>
                  <a:gd name="T42" fmla="*/ 152 w 3007"/>
                  <a:gd name="T43" fmla="*/ 2085 h 2085"/>
                  <a:gd name="T44" fmla="*/ 386 w 3007"/>
                  <a:gd name="T45" fmla="*/ 1992 h 2085"/>
                  <a:gd name="T46" fmla="*/ 700 w 3007"/>
                  <a:gd name="T47" fmla="*/ 1834 h 2085"/>
                  <a:gd name="T48" fmla="*/ 1064 w 3007"/>
                  <a:gd name="T49" fmla="*/ 1693 h 2085"/>
                  <a:gd name="T50" fmla="*/ 1661 w 3007"/>
                  <a:gd name="T51" fmla="*/ 1497 h 2085"/>
                  <a:gd name="T52" fmla="*/ 1845 w 3007"/>
                  <a:gd name="T53" fmla="*/ 1442 h 2085"/>
                  <a:gd name="T54" fmla="*/ 2252 w 3007"/>
                  <a:gd name="T55" fmla="*/ 1339 h 2085"/>
                  <a:gd name="T56" fmla="*/ 2551 w 3007"/>
                  <a:gd name="T57" fmla="*/ 1263 h 2085"/>
                  <a:gd name="T58" fmla="*/ 2730 w 3007"/>
                  <a:gd name="T59" fmla="*/ 1214 h 2085"/>
                  <a:gd name="T60" fmla="*/ 2876 w 3007"/>
                  <a:gd name="T61" fmla="*/ 1170 h 2085"/>
                  <a:gd name="T62" fmla="*/ 2974 w 3007"/>
                  <a:gd name="T63" fmla="*/ 1132 h 2085"/>
                  <a:gd name="T64" fmla="*/ 3007 w 3007"/>
                  <a:gd name="T65" fmla="*/ 871 h 2085"/>
                  <a:gd name="T66" fmla="*/ 2860 w 3007"/>
                  <a:gd name="T67" fmla="*/ 844 h 2085"/>
                  <a:gd name="T68" fmla="*/ 2670 w 3007"/>
                  <a:gd name="T69" fmla="*/ 806 h 2085"/>
                  <a:gd name="T70" fmla="*/ 2458 w 3007"/>
                  <a:gd name="T71" fmla="*/ 757 h 2085"/>
                  <a:gd name="T72" fmla="*/ 2138 w 3007"/>
                  <a:gd name="T73" fmla="*/ 670 h 2085"/>
                  <a:gd name="T74" fmla="*/ 1959 w 3007"/>
                  <a:gd name="T75" fmla="*/ 604 h 2085"/>
                  <a:gd name="T76" fmla="*/ 1824 w 3007"/>
                  <a:gd name="T77" fmla="*/ 534 h 2085"/>
                  <a:gd name="T78" fmla="*/ 1769 w 3007"/>
                  <a:gd name="T79" fmla="*/ 474 h 2085"/>
                  <a:gd name="T80" fmla="*/ 1753 w 3007"/>
                  <a:gd name="T81" fmla="*/ 436 h 2085"/>
                  <a:gd name="T82" fmla="*/ 1780 w 3007"/>
                  <a:gd name="T83" fmla="*/ 381 h 2085"/>
                  <a:gd name="T84" fmla="*/ 1862 w 3007"/>
                  <a:gd name="T85" fmla="*/ 316 h 2085"/>
                  <a:gd name="T86" fmla="*/ 1986 w 3007"/>
                  <a:gd name="T87" fmla="*/ 267 h 2085"/>
                  <a:gd name="T88" fmla="*/ 2149 w 3007"/>
                  <a:gd name="T89" fmla="*/ 229 h 2085"/>
                  <a:gd name="T90" fmla="*/ 2431 w 3007"/>
                  <a:gd name="T91" fmla="*/ 180 h 2085"/>
                  <a:gd name="T92" fmla="*/ 2827 w 3007"/>
                  <a:gd name="T93" fmla="*/ 125 h 2085"/>
                  <a:gd name="T94" fmla="*/ 3007 w 3007"/>
                  <a:gd name="T95" fmla="*/ 87 h 2085"/>
                  <a:gd name="T96" fmla="*/ 2909 w 3007"/>
                  <a:gd name="T97" fmla="*/ 22 h 2085"/>
                  <a:gd name="T98" fmla="*/ 2676 w 3007"/>
                  <a:gd name="T99" fmla="*/ 66 h 2085"/>
                  <a:gd name="T100" fmla="*/ 2285 w 3007"/>
                  <a:gd name="T101" fmla="*/ 120 h 2085"/>
                  <a:gd name="T102" fmla="*/ 2030 w 3007"/>
                  <a:gd name="T103" fmla="*/ 158 h 2085"/>
                  <a:gd name="T104" fmla="*/ 1791 w 3007"/>
                  <a:gd name="T105" fmla="*/ 202 h 2085"/>
                  <a:gd name="T106" fmla="*/ 1601 w 3007"/>
                  <a:gd name="T107" fmla="*/ 261 h 2085"/>
                  <a:gd name="T108" fmla="*/ 1471 w 3007"/>
                  <a:gd name="T109" fmla="*/ 338 h 2085"/>
                  <a:gd name="T110" fmla="*/ 1438 w 3007"/>
                  <a:gd name="T111" fmla="*/ 387 h 2085"/>
                  <a:gd name="T112" fmla="*/ 1427 w 3007"/>
                  <a:gd name="T113" fmla="*/ 441 h 2085"/>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3007" h="2085">
                    <a:moveTo>
                      <a:pt x="1427" y="441"/>
                    </a:moveTo>
                    <a:lnTo>
                      <a:pt x="1433" y="474"/>
                    </a:lnTo>
                    <a:lnTo>
                      <a:pt x="1444" y="501"/>
                    </a:lnTo>
                    <a:lnTo>
                      <a:pt x="1460" y="528"/>
                    </a:lnTo>
                    <a:lnTo>
                      <a:pt x="1482" y="550"/>
                    </a:lnTo>
                    <a:lnTo>
                      <a:pt x="1541" y="593"/>
                    </a:lnTo>
                    <a:lnTo>
                      <a:pt x="1623" y="637"/>
                    </a:lnTo>
                    <a:lnTo>
                      <a:pt x="1715" y="670"/>
                    </a:lnTo>
                    <a:lnTo>
                      <a:pt x="1818" y="702"/>
                    </a:lnTo>
                    <a:lnTo>
                      <a:pt x="1927" y="735"/>
                    </a:lnTo>
                    <a:lnTo>
                      <a:pt x="2041" y="762"/>
                    </a:lnTo>
                    <a:lnTo>
                      <a:pt x="2155" y="789"/>
                    </a:lnTo>
                    <a:lnTo>
                      <a:pt x="2269" y="822"/>
                    </a:lnTo>
                    <a:lnTo>
                      <a:pt x="2372" y="849"/>
                    </a:lnTo>
                    <a:lnTo>
                      <a:pt x="2464" y="882"/>
                    </a:lnTo>
                    <a:lnTo>
                      <a:pt x="2551" y="920"/>
                    </a:lnTo>
                    <a:lnTo>
                      <a:pt x="2616" y="958"/>
                    </a:lnTo>
                    <a:lnTo>
                      <a:pt x="2638" y="980"/>
                    </a:lnTo>
                    <a:lnTo>
                      <a:pt x="2659" y="1007"/>
                    </a:lnTo>
                    <a:lnTo>
                      <a:pt x="2676" y="1029"/>
                    </a:lnTo>
                    <a:lnTo>
                      <a:pt x="2681" y="1056"/>
                    </a:lnTo>
                    <a:lnTo>
                      <a:pt x="2681" y="1083"/>
                    </a:lnTo>
                    <a:lnTo>
                      <a:pt x="2676" y="1105"/>
                    </a:lnTo>
                    <a:lnTo>
                      <a:pt x="2665" y="1127"/>
                    </a:lnTo>
                    <a:lnTo>
                      <a:pt x="2643" y="1149"/>
                    </a:lnTo>
                    <a:lnTo>
                      <a:pt x="2616" y="1170"/>
                    </a:lnTo>
                    <a:lnTo>
                      <a:pt x="2583" y="1187"/>
                    </a:lnTo>
                    <a:lnTo>
                      <a:pt x="2545" y="1208"/>
                    </a:lnTo>
                    <a:lnTo>
                      <a:pt x="2502" y="1225"/>
                    </a:lnTo>
                    <a:lnTo>
                      <a:pt x="2448" y="1241"/>
                    </a:lnTo>
                    <a:lnTo>
                      <a:pt x="2388" y="1257"/>
                    </a:lnTo>
                    <a:lnTo>
                      <a:pt x="2328" y="1274"/>
                    </a:lnTo>
                    <a:lnTo>
                      <a:pt x="2258" y="1290"/>
                    </a:lnTo>
                    <a:lnTo>
                      <a:pt x="2106" y="1328"/>
                    </a:lnTo>
                    <a:lnTo>
                      <a:pt x="1932" y="1372"/>
                    </a:lnTo>
                    <a:lnTo>
                      <a:pt x="1742" y="1421"/>
                    </a:lnTo>
                    <a:lnTo>
                      <a:pt x="1531" y="1475"/>
                    </a:lnTo>
                    <a:lnTo>
                      <a:pt x="1308" y="1540"/>
                    </a:lnTo>
                    <a:lnTo>
                      <a:pt x="1069" y="1617"/>
                    </a:lnTo>
                    <a:lnTo>
                      <a:pt x="820" y="1709"/>
                    </a:lnTo>
                    <a:lnTo>
                      <a:pt x="554" y="1818"/>
                    </a:lnTo>
                    <a:lnTo>
                      <a:pt x="282" y="1943"/>
                    </a:lnTo>
                    <a:lnTo>
                      <a:pt x="0" y="2085"/>
                    </a:lnTo>
                    <a:lnTo>
                      <a:pt x="152" y="2085"/>
                    </a:lnTo>
                    <a:lnTo>
                      <a:pt x="244" y="2074"/>
                    </a:lnTo>
                    <a:lnTo>
                      <a:pt x="386" y="1992"/>
                    </a:lnTo>
                    <a:lnTo>
                      <a:pt x="537" y="1910"/>
                    </a:lnTo>
                    <a:lnTo>
                      <a:pt x="700" y="1834"/>
                    </a:lnTo>
                    <a:lnTo>
                      <a:pt x="879" y="1763"/>
                    </a:lnTo>
                    <a:lnTo>
                      <a:pt x="1064" y="1693"/>
                    </a:lnTo>
                    <a:lnTo>
                      <a:pt x="1259" y="1622"/>
                    </a:lnTo>
                    <a:lnTo>
                      <a:pt x="1661" y="1497"/>
                    </a:lnTo>
                    <a:lnTo>
                      <a:pt x="1748" y="1470"/>
                    </a:lnTo>
                    <a:lnTo>
                      <a:pt x="1845" y="1442"/>
                    </a:lnTo>
                    <a:lnTo>
                      <a:pt x="2046" y="1393"/>
                    </a:lnTo>
                    <a:lnTo>
                      <a:pt x="2252" y="1339"/>
                    </a:lnTo>
                    <a:lnTo>
                      <a:pt x="2458" y="1285"/>
                    </a:lnTo>
                    <a:lnTo>
                      <a:pt x="2551" y="1263"/>
                    </a:lnTo>
                    <a:lnTo>
                      <a:pt x="2643" y="1236"/>
                    </a:lnTo>
                    <a:lnTo>
                      <a:pt x="2730" y="1214"/>
                    </a:lnTo>
                    <a:lnTo>
                      <a:pt x="2806" y="1192"/>
                    </a:lnTo>
                    <a:lnTo>
                      <a:pt x="2876" y="1170"/>
                    </a:lnTo>
                    <a:lnTo>
                      <a:pt x="2931" y="1149"/>
                    </a:lnTo>
                    <a:lnTo>
                      <a:pt x="2974" y="1132"/>
                    </a:lnTo>
                    <a:lnTo>
                      <a:pt x="3007" y="1116"/>
                    </a:lnTo>
                    <a:lnTo>
                      <a:pt x="3007" y="871"/>
                    </a:lnTo>
                    <a:lnTo>
                      <a:pt x="2941" y="860"/>
                    </a:lnTo>
                    <a:lnTo>
                      <a:pt x="2860" y="844"/>
                    </a:lnTo>
                    <a:lnTo>
                      <a:pt x="2773" y="827"/>
                    </a:lnTo>
                    <a:lnTo>
                      <a:pt x="2670" y="806"/>
                    </a:lnTo>
                    <a:lnTo>
                      <a:pt x="2567" y="784"/>
                    </a:lnTo>
                    <a:lnTo>
                      <a:pt x="2458" y="757"/>
                    </a:lnTo>
                    <a:lnTo>
                      <a:pt x="2241" y="702"/>
                    </a:lnTo>
                    <a:lnTo>
                      <a:pt x="2138" y="670"/>
                    </a:lnTo>
                    <a:lnTo>
                      <a:pt x="2046" y="637"/>
                    </a:lnTo>
                    <a:lnTo>
                      <a:pt x="1959" y="604"/>
                    </a:lnTo>
                    <a:lnTo>
                      <a:pt x="1883" y="566"/>
                    </a:lnTo>
                    <a:lnTo>
                      <a:pt x="1824" y="534"/>
                    </a:lnTo>
                    <a:lnTo>
                      <a:pt x="1780" y="495"/>
                    </a:lnTo>
                    <a:lnTo>
                      <a:pt x="1769" y="474"/>
                    </a:lnTo>
                    <a:lnTo>
                      <a:pt x="1758" y="457"/>
                    </a:lnTo>
                    <a:lnTo>
                      <a:pt x="1753" y="436"/>
                    </a:lnTo>
                    <a:lnTo>
                      <a:pt x="1758" y="419"/>
                    </a:lnTo>
                    <a:lnTo>
                      <a:pt x="1780" y="381"/>
                    </a:lnTo>
                    <a:lnTo>
                      <a:pt x="1813" y="343"/>
                    </a:lnTo>
                    <a:lnTo>
                      <a:pt x="1862" y="316"/>
                    </a:lnTo>
                    <a:lnTo>
                      <a:pt x="1921" y="289"/>
                    </a:lnTo>
                    <a:lnTo>
                      <a:pt x="1986" y="267"/>
                    </a:lnTo>
                    <a:lnTo>
                      <a:pt x="2062" y="245"/>
                    </a:lnTo>
                    <a:lnTo>
                      <a:pt x="2149" y="229"/>
                    </a:lnTo>
                    <a:lnTo>
                      <a:pt x="2236" y="213"/>
                    </a:lnTo>
                    <a:lnTo>
                      <a:pt x="2431" y="180"/>
                    </a:lnTo>
                    <a:lnTo>
                      <a:pt x="2627" y="158"/>
                    </a:lnTo>
                    <a:lnTo>
                      <a:pt x="2827" y="125"/>
                    </a:lnTo>
                    <a:lnTo>
                      <a:pt x="2920" y="109"/>
                    </a:lnTo>
                    <a:lnTo>
                      <a:pt x="3007" y="87"/>
                    </a:lnTo>
                    <a:lnTo>
                      <a:pt x="3007" y="0"/>
                    </a:lnTo>
                    <a:lnTo>
                      <a:pt x="2909" y="22"/>
                    </a:lnTo>
                    <a:lnTo>
                      <a:pt x="2795" y="44"/>
                    </a:lnTo>
                    <a:lnTo>
                      <a:pt x="2676" y="66"/>
                    </a:lnTo>
                    <a:lnTo>
                      <a:pt x="2551" y="82"/>
                    </a:lnTo>
                    <a:lnTo>
                      <a:pt x="2285" y="120"/>
                    </a:lnTo>
                    <a:lnTo>
                      <a:pt x="2155" y="136"/>
                    </a:lnTo>
                    <a:lnTo>
                      <a:pt x="2030" y="158"/>
                    </a:lnTo>
                    <a:lnTo>
                      <a:pt x="1905" y="174"/>
                    </a:lnTo>
                    <a:lnTo>
                      <a:pt x="1791" y="202"/>
                    </a:lnTo>
                    <a:lnTo>
                      <a:pt x="1688" y="229"/>
                    </a:lnTo>
                    <a:lnTo>
                      <a:pt x="1601" y="261"/>
                    </a:lnTo>
                    <a:lnTo>
                      <a:pt x="1525" y="300"/>
                    </a:lnTo>
                    <a:lnTo>
                      <a:pt x="1471" y="338"/>
                    </a:lnTo>
                    <a:lnTo>
                      <a:pt x="1455" y="359"/>
                    </a:lnTo>
                    <a:lnTo>
                      <a:pt x="1438" y="387"/>
                    </a:lnTo>
                    <a:lnTo>
                      <a:pt x="1427" y="414"/>
                    </a:lnTo>
                    <a:lnTo>
                      <a:pt x="1427" y="44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800"/>
              </a:p>
            </p:txBody>
          </p:sp>
          <p:sp>
            <p:nvSpPr>
              <p:cNvPr id="12" name="Freeform 10">
                <a:extLst>
                  <a:ext uri="{FF2B5EF4-FFF2-40B4-BE49-F238E27FC236}">
                    <a16:creationId xmlns:a16="http://schemas.microsoft.com/office/drawing/2014/main" id="{90503329-9D18-4A71-A6BB-04D965D58C64}"/>
                  </a:ext>
                </a:extLst>
              </p:cNvPr>
              <p:cNvSpPr>
                <a:spLocks/>
              </p:cNvSpPr>
              <p:nvPr/>
            </p:nvSpPr>
            <p:spPr bwMode="hidden">
              <a:xfrm>
                <a:off x="4501" y="2317"/>
                <a:ext cx="1248" cy="539"/>
              </a:xfrm>
              <a:custGeom>
                <a:avLst/>
                <a:gdLst/>
                <a:ahLst/>
                <a:cxnLst>
                  <a:cxn ang="0">
                    <a:pos x="0" y="332"/>
                  </a:cxn>
                  <a:cxn ang="0">
                    <a:pos x="0" y="360"/>
                  </a:cxn>
                  <a:cxn ang="0">
                    <a:pos x="5" y="387"/>
                  </a:cxn>
                  <a:cxn ang="0">
                    <a:pos x="27" y="414"/>
                  </a:cxn>
                  <a:cxn ang="0">
                    <a:pos x="54" y="436"/>
                  </a:cxn>
                  <a:cxn ang="0">
                    <a:pos x="92" y="463"/>
                  </a:cxn>
                  <a:cxn ang="0">
                    <a:pos x="141" y="490"/>
                  </a:cxn>
                  <a:cxn ang="0">
                    <a:pos x="195" y="512"/>
                  </a:cxn>
                  <a:cxn ang="0">
                    <a:pos x="255" y="539"/>
                  </a:cxn>
                  <a:cxn ang="0">
                    <a:pos x="212" y="517"/>
                  </a:cxn>
                  <a:cxn ang="0">
                    <a:pos x="179" y="490"/>
                  </a:cxn>
                  <a:cxn ang="0">
                    <a:pos x="157" y="468"/>
                  </a:cxn>
                  <a:cxn ang="0">
                    <a:pos x="141" y="447"/>
                  </a:cxn>
                  <a:cxn ang="0">
                    <a:pos x="136" y="425"/>
                  </a:cxn>
                  <a:cxn ang="0">
                    <a:pos x="136" y="403"/>
                  </a:cxn>
                  <a:cxn ang="0">
                    <a:pos x="141" y="381"/>
                  </a:cxn>
                  <a:cxn ang="0">
                    <a:pos x="157" y="365"/>
                  </a:cxn>
                  <a:cxn ang="0">
                    <a:pos x="179" y="343"/>
                  </a:cxn>
                  <a:cxn ang="0">
                    <a:pos x="201" y="327"/>
                  </a:cxn>
                  <a:cxn ang="0">
                    <a:pos x="266" y="294"/>
                  </a:cxn>
                  <a:cxn ang="0">
                    <a:pos x="353" y="262"/>
                  </a:cxn>
                  <a:cxn ang="0">
                    <a:pos x="445" y="234"/>
                  </a:cxn>
                  <a:cxn ang="0">
                    <a:pos x="554" y="213"/>
                  </a:cxn>
                  <a:cxn ang="0">
                    <a:pos x="662" y="191"/>
                  </a:cxn>
                  <a:cxn ang="0">
                    <a:pos x="890" y="153"/>
                  </a:cxn>
                  <a:cxn ang="0">
                    <a:pos x="993" y="136"/>
                  </a:cxn>
                  <a:cxn ang="0">
                    <a:pos x="1091" y="120"/>
                  </a:cxn>
                  <a:cxn ang="0">
                    <a:pos x="1178" y="115"/>
                  </a:cxn>
                  <a:cxn ang="0">
                    <a:pos x="1248" y="104"/>
                  </a:cxn>
                  <a:cxn ang="0">
                    <a:pos x="1248" y="0"/>
                  </a:cxn>
                  <a:cxn ang="0">
                    <a:pos x="1161" y="22"/>
                  </a:cxn>
                  <a:cxn ang="0">
                    <a:pos x="1069" y="38"/>
                  </a:cxn>
                  <a:cxn ang="0">
                    <a:pos x="874" y="71"/>
                  </a:cxn>
                  <a:cxn ang="0">
                    <a:pos x="673" y="93"/>
                  </a:cxn>
                  <a:cxn ang="0">
                    <a:pos x="483" y="126"/>
                  </a:cxn>
                  <a:cxn ang="0">
                    <a:pos x="391" y="142"/>
                  </a:cxn>
                  <a:cxn ang="0">
                    <a:pos x="309" y="158"/>
                  </a:cxn>
                  <a:cxn ang="0">
                    <a:pos x="228" y="180"/>
                  </a:cxn>
                  <a:cxn ang="0">
                    <a:pos x="163" y="202"/>
                  </a:cxn>
                  <a:cxn ang="0">
                    <a:pos x="103" y="229"/>
                  </a:cxn>
                  <a:cxn ang="0">
                    <a:pos x="54" y="256"/>
                  </a:cxn>
                  <a:cxn ang="0">
                    <a:pos x="22" y="294"/>
                  </a:cxn>
                  <a:cxn ang="0">
                    <a:pos x="0" y="332"/>
                  </a:cxn>
                  <a:cxn ang="0">
                    <a:pos x="0" y="332"/>
                  </a:cxn>
                </a:cxnLst>
                <a:rect l="0" t="0" r="r" b="b"/>
                <a:pathLst>
                  <a:path w="1248" h="539">
                    <a:moveTo>
                      <a:pt x="0" y="332"/>
                    </a:moveTo>
                    <a:lnTo>
                      <a:pt x="0" y="360"/>
                    </a:lnTo>
                    <a:lnTo>
                      <a:pt x="5" y="387"/>
                    </a:lnTo>
                    <a:lnTo>
                      <a:pt x="27" y="414"/>
                    </a:lnTo>
                    <a:lnTo>
                      <a:pt x="54" y="436"/>
                    </a:lnTo>
                    <a:lnTo>
                      <a:pt x="92" y="463"/>
                    </a:lnTo>
                    <a:lnTo>
                      <a:pt x="141" y="490"/>
                    </a:lnTo>
                    <a:lnTo>
                      <a:pt x="195" y="512"/>
                    </a:lnTo>
                    <a:lnTo>
                      <a:pt x="255" y="539"/>
                    </a:lnTo>
                    <a:lnTo>
                      <a:pt x="212" y="517"/>
                    </a:lnTo>
                    <a:lnTo>
                      <a:pt x="179" y="490"/>
                    </a:lnTo>
                    <a:lnTo>
                      <a:pt x="157" y="468"/>
                    </a:lnTo>
                    <a:lnTo>
                      <a:pt x="141" y="447"/>
                    </a:lnTo>
                    <a:lnTo>
                      <a:pt x="136" y="425"/>
                    </a:lnTo>
                    <a:lnTo>
                      <a:pt x="136" y="403"/>
                    </a:lnTo>
                    <a:lnTo>
                      <a:pt x="141" y="381"/>
                    </a:lnTo>
                    <a:lnTo>
                      <a:pt x="157" y="365"/>
                    </a:lnTo>
                    <a:lnTo>
                      <a:pt x="179" y="343"/>
                    </a:lnTo>
                    <a:lnTo>
                      <a:pt x="201" y="327"/>
                    </a:lnTo>
                    <a:lnTo>
                      <a:pt x="266" y="294"/>
                    </a:lnTo>
                    <a:lnTo>
                      <a:pt x="353" y="262"/>
                    </a:lnTo>
                    <a:lnTo>
                      <a:pt x="445" y="234"/>
                    </a:lnTo>
                    <a:lnTo>
                      <a:pt x="554" y="213"/>
                    </a:lnTo>
                    <a:lnTo>
                      <a:pt x="662" y="191"/>
                    </a:lnTo>
                    <a:lnTo>
                      <a:pt x="890" y="153"/>
                    </a:lnTo>
                    <a:lnTo>
                      <a:pt x="993" y="136"/>
                    </a:lnTo>
                    <a:lnTo>
                      <a:pt x="1091" y="120"/>
                    </a:lnTo>
                    <a:lnTo>
                      <a:pt x="1178" y="115"/>
                    </a:lnTo>
                    <a:lnTo>
                      <a:pt x="1248" y="104"/>
                    </a:lnTo>
                    <a:lnTo>
                      <a:pt x="1248" y="0"/>
                    </a:lnTo>
                    <a:lnTo>
                      <a:pt x="1161" y="22"/>
                    </a:lnTo>
                    <a:lnTo>
                      <a:pt x="1069" y="38"/>
                    </a:lnTo>
                    <a:lnTo>
                      <a:pt x="874" y="71"/>
                    </a:lnTo>
                    <a:lnTo>
                      <a:pt x="673" y="93"/>
                    </a:lnTo>
                    <a:lnTo>
                      <a:pt x="483" y="126"/>
                    </a:lnTo>
                    <a:lnTo>
                      <a:pt x="391" y="142"/>
                    </a:lnTo>
                    <a:lnTo>
                      <a:pt x="309" y="158"/>
                    </a:lnTo>
                    <a:lnTo>
                      <a:pt x="228" y="180"/>
                    </a:lnTo>
                    <a:lnTo>
                      <a:pt x="163" y="202"/>
                    </a:lnTo>
                    <a:lnTo>
                      <a:pt x="103" y="229"/>
                    </a:lnTo>
                    <a:lnTo>
                      <a:pt x="54" y="256"/>
                    </a:lnTo>
                    <a:lnTo>
                      <a:pt x="22" y="294"/>
                    </a:lnTo>
                    <a:lnTo>
                      <a:pt x="0" y="332"/>
                    </a:lnTo>
                    <a:lnTo>
                      <a:pt x="0" y="332"/>
                    </a:lnTo>
                    <a:close/>
                  </a:path>
                </a:pathLst>
              </a:custGeom>
              <a:gradFill rotWithShape="0">
                <a:gsLst>
                  <a:gs pos="0">
                    <a:schemeClr val="bg1">
                      <a:gamma/>
                      <a:shade val="87843"/>
                      <a:invGamma/>
                    </a:schemeClr>
                  </a:gs>
                  <a:gs pos="100000">
                    <a:schemeClr val="bg1"/>
                  </a:gs>
                </a:gsLst>
                <a:lin ang="2700000" scaled="1"/>
              </a:gradFill>
              <a:ln w="9525">
                <a:noFill/>
                <a:round/>
                <a:headEnd/>
                <a:tailEnd/>
              </a:ln>
            </p:spPr>
            <p:txBody>
              <a:bodyPr/>
              <a:lstStyle/>
              <a:p>
                <a:pPr eaLnBrk="0" hangingPunct="0">
                  <a:defRPr/>
                </a:pPr>
                <a:endParaRPr lang="en-US" sz="1800">
                  <a:solidFill>
                    <a:srgbClr val="FFFFFF"/>
                  </a:solidFill>
                  <a:latin typeface="+mn-lt"/>
                  <a:cs typeface="+mn-cs"/>
                </a:endParaRPr>
              </a:p>
            </p:txBody>
          </p:sp>
        </p:grpSp>
        <p:sp>
          <p:nvSpPr>
            <p:cNvPr id="6" name="Freeform 11">
              <a:extLst>
                <a:ext uri="{FF2B5EF4-FFF2-40B4-BE49-F238E27FC236}">
                  <a16:creationId xmlns:a16="http://schemas.microsoft.com/office/drawing/2014/main" id="{71A89075-8F98-4428-AE97-A9A4BE371291}"/>
                </a:ext>
              </a:extLst>
            </p:cNvPr>
            <p:cNvSpPr>
              <a:spLocks/>
            </p:cNvSpPr>
            <p:nvPr/>
          </p:nvSpPr>
          <p:spPr bwMode="hidden">
            <a:xfrm>
              <a:off x="3322" y="1341"/>
              <a:ext cx="1825" cy="1537"/>
            </a:xfrm>
            <a:custGeom>
              <a:avLst/>
              <a:gdLst/>
              <a:ahLst/>
              <a:cxnLst>
                <a:cxn ang="0">
                  <a:pos x="982" y="1061"/>
                </a:cxn>
                <a:cxn ang="0">
                  <a:pos x="1357" y="1012"/>
                </a:cxn>
                <a:cxn ang="0">
                  <a:pos x="1666" y="957"/>
                </a:cxn>
                <a:cxn ang="0">
                  <a:pos x="1916" y="897"/>
                </a:cxn>
                <a:cxn ang="0">
                  <a:pos x="2100" y="832"/>
                </a:cxn>
                <a:cxn ang="0">
                  <a:pos x="2220" y="756"/>
                </a:cxn>
                <a:cxn ang="0">
                  <a:pos x="2285" y="669"/>
                </a:cxn>
                <a:cxn ang="0">
                  <a:pos x="2290" y="560"/>
                </a:cxn>
                <a:cxn ang="0">
                  <a:pos x="2241" y="457"/>
                </a:cxn>
                <a:cxn ang="0">
                  <a:pos x="2144" y="364"/>
                </a:cxn>
                <a:cxn ang="0">
                  <a:pos x="2008" y="277"/>
                </a:cxn>
                <a:cxn ang="0">
                  <a:pos x="1769" y="157"/>
                </a:cxn>
                <a:cxn ang="0">
                  <a:pos x="1612" y="92"/>
                </a:cxn>
                <a:cxn ang="0">
                  <a:pos x="1476" y="43"/>
                </a:cxn>
                <a:cxn ang="0">
                  <a:pos x="1384" y="10"/>
                </a:cxn>
                <a:cxn ang="0">
                  <a:pos x="1346" y="0"/>
                </a:cxn>
                <a:cxn ang="0">
                  <a:pos x="1655" y="119"/>
                </a:cxn>
                <a:cxn ang="0">
                  <a:pos x="1948" y="255"/>
                </a:cxn>
                <a:cxn ang="0">
                  <a:pos x="2068" y="326"/>
                </a:cxn>
                <a:cxn ang="0">
                  <a:pos x="2171" y="402"/>
                </a:cxn>
                <a:cxn ang="0">
                  <a:pos x="2236" y="478"/>
                </a:cxn>
                <a:cxn ang="0">
                  <a:pos x="2263" y="560"/>
                </a:cxn>
                <a:cxn ang="0">
                  <a:pos x="2241" y="636"/>
                </a:cxn>
                <a:cxn ang="0">
                  <a:pos x="2171" y="702"/>
                </a:cxn>
                <a:cxn ang="0">
                  <a:pos x="2062" y="756"/>
                </a:cxn>
                <a:cxn ang="0">
                  <a:pos x="1921" y="800"/>
                </a:cxn>
                <a:cxn ang="0">
                  <a:pos x="1748" y="843"/>
                </a:cxn>
                <a:cxn ang="0">
                  <a:pos x="1351" y="908"/>
                </a:cxn>
                <a:cxn ang="0">
                  <a:pos x="923" y="968"/>
                </a:cxn>
                <a:cxn ang="0">
                  <a:pos x="521" y="1028"/>
                </a:cxn>
                <a:cxn ang="0">
                  <a:pos x="353" y="1066"/>
                </a:cxn>
                <a:cxn ang="0">
                  <a:pos x="206" y="1104"/>
                </a:cxn>
                <a:cxn ang="0">
                  <a:pos x="92" y="1148"/>
                </a:cxn>
                <a:cxn ang="0">
                  <a:pos x="22" y="1202"/>
                </a:cxn>
                <a:cxn ang="0">
                  <a:pos x="0" y="1262"/>
                </a:cxn>
                <a:cxn ang="0">
                  <a:pos x="27" y="1327"/>
                </a:cxn>
                <a:cxn ang="0">
                  <a:pos x="98" y="1382"/>
                </a:cxn>
                <a:cxn ang="0">
                  <a:pos x="196" y="1425"/>
                </a:cxn>
                <a:cxn ang="0">
                  <a:pos x="326" y="1469"/>
                </a:cxn>
                <a:cxn ang="0">
                  <a:pos x="217" y="1414"/>
                </a:cxn>
                <a:cxn ang="0">
                  <a:pos x="147" y="1360"/>
                </a:cxn>
                <a:cxn ang="0">
                  <a:pos x="120" y="1306"/>
                </a:cxn>
                <a:cxn ang="0">
                  <a:pos x="141" y="1257"/>
                </a:cxn>
                <a:cxn ang="0">
                  <a:pos x="212" y="1208"/>
                </a:cxn>
                <a:cxn ang="0">
                  <a:pos x="342" y="1164"/>
                </a:cxn>
                <a:cxn ang="0">
                  <a:pos x="527" y="1121"/>
                </a:cxn>
                <a:cxn ang="0">
                  <a:pos x="771" y="1088"/>
                </a:cxn>
              </a:cxnLst>
              <a:rect l="0" t="0" r="r" b="b"/>
              <a:pathLst>
                <a:path w="2296" h="1469">
                  <a:moveTo>
                    <a:pt x="771" y="1088"/>
                  </a:moveTo>
                  <a:lnTo>
                    <a:pt x="982" y="1061"/>
                  </a:lnTo>
                  <a:lnTo>
                    <a:pt x="1178" y="1034"/>
                  </a:lnTo>
                  <a:lnTo>
                    <a:pt x="1357" y="1012"/>
                  </a:lnTo>
                  <a:lnTo>
                    <a:pt x="1520" y="985"/>
                  </a:lnTo>
                  <a:lnTo>
                    <a:pt x="1666" y="957"/>
                  </a:lnTo>
                  <a:lnTo>
                    <a:pt x="1796" y="930"/>
                  </a:lnTo>
                  <a:lnTo>
                    <a:pt x="1916" y="897"/>
                  </a:lnTo>
                  <a:lnTo>
                    <a:pt x="2013" y="870"/>
                  </a:lnTo>
                  <a:lnTo>
                    <a:pt x="2100" y="832"/>
                  </a:lnTo>
                  <a:lnTo>
                    <a:pt x="2171" y="800"/>
                  </a:lnTo>
                  <a:lnTo>
                    <a:pt x="2220" y="756"/>
                  </a:lnTo>
                  <a:lnTo>
                    <a:pt x="2263" y="712"/>
                  </a:lnTo>
                  <a:lnTo>
                    <a:pt x="2285" y="669"/>
                  </a:lnTo>
                  <a:lnTo>
                    <a:pt x="2296" y="614"/>
                  </a:lnTo>
                  <a:lnTo>
                    <a:pt x="2290" y="560"/>
                  </a:lnTo>
                  <a:lnTo>
                    <a:pt x="2269" y="500"/>
                  </a:lnTo>
                  <a:lnTo>
                    <a:pt x="2241" y="457"/>
                  </a:lnTo>
                  <a:lnTo>
                    <a:pt x="2198" y="408"/>
                  </a:lnTo>
                  <a:lnTo>
                    <a:pt x="2144" y="364"/>
                  </a:lnTo>
                  <a:lnTo>
                    <a:pt x="2079" y="321"/>
                  </a:lnTo>
                  <a:lnTo>
                    <a:pt x="2008" y="277"/>
                  </a:lnTo>
                  <a:lnTo>
                    <a:pt x="1927" y="234"/>
                  </a:lnTo>
                  <a:lnTo>
                    <a:pt x="1769" y="157"/>
                  </a:lnTo>
                  <a:lnTo>
                    <a:pt x="1688" y="125"/>
                  </a:lnTo>
                  <a:lnTo>
                    <a:pt x="1612" y="92"/>
                  </a:lnTo>
                  <a:lnTo>
                    <a:pt x="1536" y="65"/>
                  </a:lnTo>
                  <a:lnTo>
                    <a:pt x="1476" y="43"/>
                  </a:lnTo>
                  <a:lnTo>
                    <a:pt x="1422" y="27"/>
                  </a:lnTo>
                  <a:lnTo>
                    <a:pt x="1384" y="10"/>
                  </a:lnTo>
                  <a:lnTo>
                    <a:pt x="1357" y="5"/>
                  </a:lnTo>
                  <a:lnTo>
                    <a:pt x="1346" y="0"/>
                  </a:lnTo>
                  <a:lnTo>
                    <a:pt x="1498" y="54"/>
                  </a:lnTo>
                  <a:lnTo>
                    <a:pt x="1655" y="119"/>
                  </a:lnTo>
                  <a:lnTo>
                    <a:pt x="1807" y="185"/>
                  </a:lnTo>
                  <a:lnTo>
                    <a:pt x="1948" y="255"/>
                  </a:lnTo>
                  <a:lnTo>
                    <a:pt x="2013" y="288"/>
                  </a:lnTo>
                  <a:lnTo>
                    <a:pt x="2068" y="326"/>
                  </a:lnTo>
                  <a:lnTo>
                    <a:pt x="2122" y="364"/>
                  </a:lnTo>
                  <a:lnTo>
                    <a:pt x="2171" y="402"/>
                  </a:lnTo>
                  <a:lnTo>
                    <a:pt x="2209" y="440"/>
                  </a:lnTo>
                  <a:lnTo>
                    <a:pt x="2236" y="478"/>
                  </a:lnTo>
                  <a:lnTo>
                    <a:pt x="2252" y="522"/>
                  </a:lnTo>
                  <a:lnTo>
                    <a:pt x="2263" y="560"/>
                  </a:lnTo>
                  <a:lnTo>
                    <a:pt x="2258" y="598"/>
                  </a:lnTo>
                  <a:lnTo>
                    <a:pt x="2241" y="636"/>
                  </a:lnTo>
                  <a:lnTo>
                    <a:pt x="2214" y="669"/>
                  </a:lnTo>
                  <a:lnTo>
                    <a:pt x="2171" y="702"/>
                  </a:lnTo>
                  <a:lnTo>
                    <a:pt x="2122" y="729"/>
                  </a:lnTo>
                  <a:lnTo>
                    <a:pt x="2062" y="756"/>
                  </a:lnTo>
                  <a:lnTo>
                    <a:pt x="1997" y="778"/>
                  </a:lnTo>
                  <a:lnTo>
                    <a:pt x="1921" y="800"/>
                  </a:lnTo>
                  <a:lnTo>
                    <a:pt x="1834" y="821"/>
                  </a:lnTo>
                  <a:lnTo>
                    <a:pt x="1748" y="843"/>
                  </a:lnTo>
                  <a:lnTo>
                    <a:pt x="1552" y="876"/>
                  </a:lnTo>
                  <a:lnTo>
                    <a:pt x="1351" y="908"/>
                  </a:lnTo>
                  <a:lnTo>
                    <a:pt x="1134" y="941"/>
                  </a:lnTo>
                  <a:lnTo>
                    <a:pt x="923" y="968"/>
                  </a:lnTo>
                  <a:lnTo>
                    <a:pt x="716" y="995"/>
                  </a:lnTo>
                  <a:lnTo>
                    <a:pt x="521" y="1028"/>
                  </a:lnTo>
                  <a:lnTo>
                    <a:pt x="434" y="1044"/>
                  </a:lnTo>
                  <a:lnTo>
                    <a:pt x="353" y="1066"/>
                  </a:lnTo>
                  <a:lnTo>
                    <a:pt x="277" y="1082"/>
                  </a:lnTo>
                  <a:lnTo>
                    <a:pt x="206" y="1104"/>
                  </a:lnTo>
                  <a:lnTo>
                    <a:pt x="147" y="1126"/>
                  </a:lnTo>
                  <a:lnTo>
                    <a:pt x="92" y="1148"/>
                  </a:lnTo>
                  <a:lnTo>
                    <a:pt x="54" y="1175"/>
                  </a:lnTo>
                  <a:lnTo>
                    <a:pt x="22" y="1202"/>
                  </a:lnTo>
                  <a:lnTo>
                    <a:pt x="6" y="1229"/>
                  </a:lnTo>
                  <a:lnTo>
                    <a:pt x="0" y="1262"/>
                  </a:lnTo>
                  <a:lnTo>
                    <a:pt x="11" y="1295"/>
                  </a:lnTo>
                  <a:lnTo>
                    <a:pt x="27" y="1327"/>
                  </a:lnTo>
                  <a:lnTo>
                    <a:pt x="54" y="1355"/>
                  </a:lnTo>
                  <a:lnTo>
                    <a:pt x="98" y="1382"/>
                  </a:lnTo>
                  <a:lnTo>
                    <a:pt x="141" y="1404"/>
                  </a:lnTo>
                  <a:lnTo>
                    <a:pt x="196" y="1425"/>
                  </a:lnTo>
                  <a:lnTo>
                    <a:pt x="261" y="1447"/>
                  </a:lnTo>
                  <a:lnTo>
                    <a:pt x="326" y="1469"/>
                  </a:lnTo>
                  <a:lnTo>
                    <a:pt x="266" y="1442"/>
                  </a:lnTo>
                  <a:lnTo>
                    <a:pt x="217" y="1414"/>
                  </a:lnTo>
                  <a:lnTo>
                    <a:pt x="174" y="1387"/>
                  </a:lnTo>
                  <a:lnTo>
                    <a:pt x="147" y="1360"/>
                  </a:lnTo>
                  <a:lnTo>
                    <a:pt x="125" y="1333"/>
                  </a:lnTo>
                  <a:lnTo>
                    <a:pt x="120" y="1306"/>
                  </a:lnTo>
                  <a:lnTo>
                    <a:pt x="125" y="1278"/>
                  </a:lnTo>
                  <a:lnTo>
                    <a:pt x="141" y="1257"/>
                  </a:lnTo>
                  <a:lnTo>
                    <a:pt x="174" y="1229"/>
                  </a:lnTo>
                  <a:lnTo>
                    <a:pt x="212" y="1208"/>
                  </a:lnTo>
                  <a:lnTo>
                    <a:pt x="272" y="1186"/>
                  </a:lnTo>
                  <a:lnTo>
                    <a:pt x="342" y="1164"/>
                  </a:lnTo>
                  <a:lnTo>
                    <a:pt x="423" y="1142"/>
                  </a:lnTo>
                  <a:lnTo>
                    <a:pt x="527" y="1121"/>
                  </a:lnTo>
                  <a:lnTo>
                    <a:pt x="641" y="1104"/>
                  </a:lnTo>
                  <a:lnTo>
                    <a:pt x="771" y="1088"/>
                  </a:lnTo>
                  <a:lnTo>
                    <a:pt x="771" y="1088"/>
                  </a:lnTo>
                  <a:close/>
                </a:path>
              </a:pathLst>
            </a:custGeom>
            <a:gradFill rotWithShape="0">
              <a:gsLst>
                <a:gs pos="0">
                  <a:schemeClr val="bg1">
                    <a:gamma/>
                    <a:shade val="84706"/>
                    <a:invGamma/>
                  </a:schemeClr>
                </a:gs>
                <a:gs pos="100000">
                  <a:schemeClr val="bg1"/>
                </a:gs>
              </a:gsLst>
              <a:lin ang="2700000" scaled="1"/>
            </a:gradFill>
            <a:ln w="9525">
              <a:noFill/>
              <a:round/>
              <a:headEnd/>
              <a:tailEnd/>
            </a:ln>
          </p:spPr>
          <p:txBody>
            <a:bodyPr/>
            <a:lstStyle/>
            <a:p>
              <a:pPr eaLnBrk="0" hangingPunct="0">
                <a:defRPr/>
              </a:pPr>
              <a:endParaRPr lang="en-US" sz="1800">
                <a:solidFill>
                  <a:srgbClr val="FFFFFF"/>
                </a:solidFill>
                <a:latin typeface="+mn-lt"/>
                <a:cs typeface="+mn-cs"/>
              </a:endParaRPr>
            </a:p>
          </p:txBody>
        </p:sp>
        <p:sp>
          <p:nvSpPr>
            <p:cNvPr id="7" name="Freeform 12">
              <a:extLst>
                <a:ext uri="{FF2B5EF4-FFF2-40B4-BE49-F238E27FC236}">
                  <a16:creationId xmlns:a16="http://schemas.microsoft.com/office/drawing/2014/main" id="{AFA196C5-31D4-4BF3-99D2-EA8A0EF95229}"/>
                </a:ext>
              </a:extLst>
            </p:cNvPr>
            <p:cNvSpPr>
              <a:spLocks/>
            </p:cNvSpPr>
            <p:nvPr/>
          </p:nvSpPr>
          <p:spPr bwMode="hidden">
            <a:xfrm>
              <a:off x="0" y="0"/>
              <a:ext cx="5758" cy="1776"/>
            </a:xfrm>
            <a:custGeom>
              <a:avLst/>
              <a:gdLst>
                <a:gd name="T0" fmla="*/ 0 w 5740"/>
                <a:gd name="T1" fmla="*/ 0 h 1906"/>
                <a:gd name="T2" fmla="*/ 0 w 5740"/>
                <a:gd name="T3" fmla="*/ 1776 h 1906"/>
                <a:gd name="T4" fmla="*/ 5758 w 5740"/>
                <a:gd name="T5" fmla="*/ 1776 h 1906"/>
                <a:gd name="T6" fmla="*/ 5758 w 5740"/>
                <a:gd name="T7" fmla="*/ 0 h 1906"/>
                <a:gd name="T8" fmla="*/ 0 w 5740"/>
                <a:gd name="T9" fmla="*/ 0 h 1906"/>
                <a:gd name="T10" fmla="*/ 0 w 5740"/>
                <a:gd name="T11" fmla="*/ 0 h 190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5740" h="1906">
                  <a:moveTo>
                    <a:pt x="0" y="0"/>
                  </a:moveTo>
                  <a:lnTo>
                    <a:pt x="0" y="1906"/>
                  </a:lnTo>
                  <a:lnTo>
                    <a:pt x="5740" y="1906"/>
                  </a:lnTo>
                  <a:lnTo>
                    <a:pt x="5740" y="0"/>
                  </a:lnTo>
                  <a:lnTo>
                    <a:pt x="0" y="0"/>
                  </a:lnTo>
                  <a:close/>
                </a:path>
              </a:pathLst>
            </a:custGeom>
            <a:gradFill rotWithShape="0">
              <a:gsLst>
                <a:gs pos="0">
                  <a:schemeClr val="bg2"/>
                </a:gs>
                <a:gs pos="100000">
                  <a:schemeClr val="bg1"/>
                </a:gs>
              </a:gsLst>
              <a:lin ang="54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800"/>
            </a:p>
          </p:txBody>
        </p:sp>
      </p:grpSp>
      <p:sp>
        <p:nvSpPr>
          <p:cNvPr id="13" name="Text Box 16">
            <a:extLst>
              <a:ext uri="{FF2B5EF4-FFF2-40B4-BE49-F238E27FC236}">
                <a16:creationId xmlns:a16="http://schemas.microsoft.com/office/drawing/2014/main" id="{C1FE873C-70C5-451F-BFDB-5599FE11E396}"/>
              </a:ext>
            </a:extLst>
          </p:cNvPr>
          <p:cNvSpPr txBox="1">
            <a:spLocks noChangeArrowheads="1"/>
          </p:cNvSpPr>
          <p:nvPr/>
        </p:nvSpPr>
        <p:spPr bwMode="auto">
          <a:xfrm>
            <a:off x="11074400" y="304801"/>
            <a:ext cx="711200"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pPr eaLnBrk="0" hangingPunct="0">
              <a:spcBef>
                <a:spcPct val="50000"/>
              </a:spcBef>
              <a:defRPr/>
            </a:pPr>
            <a:endParaRPr lang="en-US" altLang="en-US" sz="1800">
              <a:solidFill>
                <a:srgbClr val="FFFFFF"/>
              </a:solidFill>
              <a:latin typeface="Garamond" pitchFamily="18" charset="0"/>
            </a:endParaRPr>
          </a:p>
        </p:txBody>
      </p:sp>
      <p:sp>
        <p:nvSpPr>
          <p:cNvPr id="14" name="Text Box 17">
            <a:extLst>
              <a:ext uri="{FF2B5EF4-FFF2-40B4-BE49-F238E27FC236}">
                <a16:creationId xmlns:a16="http://schemas.microsoft.com/office/drawing/2014/main" id="{90956A48-E75C-4D99-A337-A0AA9291E960}"/>
              </a:ext>
            </a:extLst>
          </p:cNvPr>
          <p:cNvSpPr txBox="1">
            <a:spLocks noChangeArrowheads="1"/>
          </p:cNvSpPr>
          <p:nvPr/>
        </p:nvSpPr>
        <p:spPr bwMode="auto">
          <a:xfrm>
            <a:off x="11582400" y="228601"/>
            <a:ext cx="609600"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Calibri" panose="020F0502020204030204" pitchFamily="34" charset="0"/>
                <a:cs typeface="Arial" panose="020B0604020202020204" pitchFamily="34" charset="0"/>
              </a:defRPr>
            </a:lvl1pPr>
            <a:lvl2pPr marL="742950" indent="-285750" eaLnBrk="0" hangingPunct="0">
              <a:defRPr>
                <a:solidFill>
                  <a:schemeClr val="tx1"/>
                </a:solidFill>
                <a:latin typeface="Calibri" panose="020F0502020204030204" pitchFamily="34" charset="0"/>
                <a:cs typeface="Arial" panose="020B0604020202020204" pitchFamily="34" charset="0"/>
              </a:defRPr>
            </a:lvl2pPr>
            <a:lvl3pPr marL="1143000" indent="-228600" eaLnBrk="0" hangingPunct="0">
              <a:defRPr>
                <a:solidFill>
                  <a:schemeClr val="tx1"/>
                </a:solidFill>
                <a:latin typeface="Calibri" panose="020F0502020204030204" pitchFamily="34" charset="0"/>
                <a:cs typeface="Arial" panose="020B0604020202020204" pitchFamily="34" charset="0"/>
              </a:defRPr>
            </a:lvl3pPr>
            <a:lvl4pPr marL="1600200" indent="-228600" eaLnBrk="0" hangingPunct="0">
              <a:defRPr>
                <a:solidFill>
                  <a:schemeClr val="tx1"/>
                </a:solidFill>
                <a:latin typeface="Calibri" panose="020F0502020204030204" pitchFamily="34" charset="0"/>
                <a:cs typeface="Arial" panose="020B0604020202020204" pitchFamily="34" charset="0"/>
              </a:defRPr>
            </a:lvl4pPr>
            <a:lvl5pPr marL="2057400" indent="-228600" eaLnBrk="0" hangingPunct="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spcBef>
                <a:spcPct val="50000"/>
              </a:spcBef>
            </a:pPr>
            <a:fld id="{A8120E0C-2DB3-40C5-B7FC-50A14A4089C3}" type="slidenum">
              <a:rPr lang="en-US" altLang="en-US" sz="1800">
                <a:solidFill>
                  <a:srgbClr val="FFFFFF"/>
                </a:solidFill>
                <a:latin typeface="Garamond" panose="02020404030301010803" pitchFamily="18" charset="0"/>
              </a:rPr>
              <a:pPr>
                <a:spcBef>
                  <a:spcPct val="50000"/>
                </a:spcBef>
              </a:pPr>
              <a:t>‹#›</a:t>
            </a:fld>
            <a:endParaRPr lang="en-US" altLang="en-US" sz="1800">
              <a:solidFill>
                <a:srgbClr val="FFFFFF"/>
              </a:solidFill>
              <a:latin typeface="Garamond" panose="02020404030301010803" pitchFamily="18" charset="0"/>
            </a:endParaRPr>
          </a:p>
        </p:txBody>
      </p:sp>
      <p:graphicFrame>
        <p:nvGraphicFramePr>
          <p:cNvPr id="15" name="Object 18">
            <a:extLst>
              <a:ext uri="{FF2B5EF4-FFF2-40B4-BE49-F238E27FC236}">
                <a16:creationId xmlns:a16="http://schemas.microsoft.com/office/drawing/2014/main" id="{8C1BEC53-59F2-42DD-BC29-E6495F3CDEFF}"/>
              </a:ext>
            </a:extLst>
          </p:cNvPr>
          <p:cNvGraphicFramePr>
            <a:graphicFrameLocks noChangeAspect="1"/>
          </p:cNvGraphicFramePr>
          <p:nvPr/>
        </p:nvGraphicFramePr>
        <p:xfrm>
          <a:off x="9652000" y="5918200"/>
          <a:ext cx="2540000" cy="939800"/>
        </p:xfrm>
        <a:graphic>
          <a:graphicData uri="http://schemas.openxmlformats.org/presentationml/2006/ole">
            <mc:AlternateContent xmlns:mc="http://schemas.openxmlformats.org/markup-compatibility/2006">
              <mc:Choice xmlns:v="urn:schemas-microsoft-com:vml" Requires="v">
                <p:oleObj spid="_x0000_s5123" name="Bitmap Image" r:id="rId3" imgW="2142857" imgH="1057423" progId="Paint.Picture">
                  <p:embed/>
                </p:oleObj>
              </mc:Choice>
              <mc:Fallback>
                <p:oleObj name="Bitmap Image" r:id="rId3" imgW="2142857" imgH="1057423" progId="Paint.Picture">
                  <p:embed/>
                  <p:pic>
                    <p:nvPicPr>
                      <p:cNvPr id="15" name="Object 18">
                        <a:extLst>
                          <a:ext uri="{FF2B5EF4-FFF2-40B4-BE49-F238E27FC236}">
                            <a16:creationId xmlns:a16="http://schemas.microsoft.com/office/drawing/2014/main" id="{8C1BEC53-59F2-42DD-BC29-E6495F3CDEF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652000" y="5918200"/>
                        <a:ext cx="2540000" cy="939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Rectangle 2">
            <a:extLst>
              <a:ext uri="{FF2B5EF4-FFF2-40B4-BE49-F238E27FC236}">
                <a16:creationId xmlns:a16="http://schemas.microsoft.com/office/drawing/2014/main" id="{6C7B2D69-3E12-4736-A4B5-517879CDE680}"/>
              </a:ext>
            </a:extLst>
          </p:cNvPr>
          <p:cNvSpPr>
            <a:spLocks noGrp="1" noChangeArrowheads="1"/>
          </p:cNvSpPr>
          <p:nvPr>
            <p:ph type="dt" sz="half" idx="10"/>
          </p:nvPr>
        </p:nvSpPr>
        <p:spPr/>
        <p:txBody>
          <a:bodyPr/>
          <a:lstStyle>
            <a:lvl1pPr fontAlgn="auto">
              <a:spcBef>
                <a:spcPts val="0"/>
              </a:spcBef>
              <a:spcAft>
                <a:spcPts val="0"/>
              </a:spcAft>
              <a:defRPr/>
            </a:lvl1pPr>
          </a:lstStyle>
          <a:p>
            <a:pPr>
              <a:defRPr/>
            </a:pPr>
            <a:endParaRPr lang="en-US"/>
          </a:p>
        </p:txBody>
      </p:sp>
      <p:sp>
        <p:nvSpPr>
          <p:cNvPr id="17" name="Rectangle 3">
            <a:extLst>
              <a:ext uri="{FF2B5EF4-FFF2-40B4-BE49-F238E27FC236}">
                <a16:creationId xmlns:a16="http://schemas.microsoft.com/office/drawing/2014/main" id="{D2A9E747-3C09-478D-B54C-0B5A7CBEFB91}"/>
              </a:ext>
            </a:extLst>
          </p:cNvPr>
          <p:cNvSpPr>
            <a:spLocks noGrp="1" noChangeArrowheads="1"/>
          </p:cNvSpPr>
          <p:nvPr>
            <p:ph type="sldNum" sz="quarter" idx="11"/>
          </p:nvPr>
        </p:nvSpPr>
        <p:spPr/>
        <p:txBody>
          <a:bodyPr/>
          <a:lstStyle>
            <a:lvl1pPr>
              <a:defRPr/>
            </a:lvl1pPr>
          </a:lstStyle>
          <a:p>
            <a:fld id="{D1189F0C-5D74-4326-BFF4-32FE7DFE0833}" type="slidenum">
              <a:rPr lang="en-US" altLang="en-US"/>
              <a:pPr/>
              <a:t>‹#›</a:t>
            </a:fld>
            <a:endParaRPr lang="en-US" altLang="en-US"/>
          </a:p>
        </p:txBody>
      </p:sp>
      <p:sp>
        <p:nvSpPr>
          <p:cNvPr id="18" name="Rectangle 14">
            <a:extLst>
              <a:ext uri="{FF2B5EF4-FFF2-40B4-BE49-F238E27FC236}">
                <a16:creationId xmlns:a16="http://schemas.microsoft.com/office/drawing/2014/main" id="{752B36AD-F8D6-4DB0-A564-0CCBFE539B86}"/>
              </a:ext>
            </a:extLst>
          </p:cNvPr>
          <p:cNvSpPr>
            <a:spLocks noGrp="1" noChangeArrowheads="1"/>
          </p:cNvSpPr>
          <p:nvPr>
            <p:ph type="ftr" sz="quarter" idx="12"/>
          </p:nvPr>
        </p:nvSpPr>
        <p:spPr/>
        <p:txBody>
          <a:bodyPr/>
          <a:lstStyle>
            <a:lvl1pPr fontAlgn="auto">
              <a:spcBef>
                <a:spcPts val="0"/>
              </a:spcBef>
              <a:spcAft>
                <a:spcPts val="0"/>
              </a:spcAft>
              <a:defRPr/>
            </a:lvl1pPr>
          </a:lstStyle>
          <a:p>
            <a:pPr>
              <a:defRPr/>
            </a:pPr>
            <a:endParaRPr lang="en-US"/>
          </a:p>
        </p:txBody>
      </p:sp>
    </p:spTree>
    <p:extLst>
      <p:ext uri="{BB962C8B-B14F-4D97-AF65-F5344CB8AC3E}">
        <p14:creationId xmlns:p14="http://schemas.microsoft.com/office/powerpoint/2010/main" val="3694090801"/>
      </p:ext>
    </p:extLst>
  </p:cSld>
  <p:clrMapOvr>
    <a:masterClrMapping/>
  </p:clrMapOvr>
  <p:transition>
    <p:random/>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grpSp>
        <p:nvGrpSpPr>
          <p:cNvPr id="4" name="Group 4">
            <a:extLst>
              <a:ext uri="{FF2B5EF4-FFF2-40B4-BE49-F238E27FC236}">
                <a16:creationId xmlns:a16="http://schemas.microsoft.com/office/drawing/2014/main" id="{1AF70B79-1AF2-456B-AD17-993569607C1B}"/>
              </a:ext>
            </a:extLst>
          </p:cNvPr>
          <p:cNvGrpSpPr>
            <a:grpSpLocks/>
          </p:cNvGrpSpPr>
          <p:nvPr/>
        </p:nvGrpSpPr>
        <p:grpSpPr bwMode="auto">
          <a:xfrm>
            <a:off x="1" y="1"/>
            <a:ext cx="12187767" cy="6850063"/>
            <a:chOff x="0" y="0"/>
            <a:chExt cx="5758" cy="4315"/>
          </a:xfrm>
        </p:grpSpPr>
        <p:grpSp>
          <p:nvGrpSpPr>
            <p:cNvPr id="5" name="Group 5">
              <a:extLst>
                <a:ext uri="{FF2B5EF4-FFF2-40B4-BE49-F238E27FC236}">
                  <a16:creationId xmlns:a16="http://schemas.microsoft.com/office/drawing/2014/main" id="{067E0AED-B681-4CF6-9E31-BD5E9168D112}"/>
                </a:ext>
              </a:extLst>
            </p:cNvPr>
            <p:cNvGrpSpPr>
              <a:grpSpLocks/>
            </p:cNvGrpSpPr>
            <p:nvPr userDrawn="1"/>
          </p:nvGrpSpPr>
          <p:grpSpPr bwMode="auto">
            <a:xfrm>
              <a:off x="1728" y="2230"/>
              <a:ext cx="4027" cy="2085"/>
              <a:chOff x="1728" y="2230"/>
              <a:chExt cx="4027" cy="2085"/>
            </a:xfrm>
          </p:grpSpPr>
          <p:sp>
            <p:nvSpPr>
              <p:cNvPr id="8" name="Freeform 6">
                <a:extLst>
                  <a:ext uri="{FF2B5EF4-FFF2-40B4-BE49-F238E27FC236}">
                    <a16:creationId xmlns:a16="http://schemas.microsoft.com/office/drawing/2014/main" id="{B962E2FA-F4B1-48F8-B270-2D167A5BA770}"/>
                  </a:ext>
                </a:extLst>
              </p:cNvPr>
              <p:cNvSpPr>
                <a:spLocks/>
              </p:cNvSpPr>
              <p:nvPr/>
            </p:nvSpPr>
            <p:spPr bwMode="hidden">
              <a:xfrm>
                <a:off x="1728" y="2644"/>
                <a:ext cx="2882" cy="1671"/>
              </a:xfrm>
              <a:custGeom>
                <a:avLst/>
                <a:gdLst/>
                <a:ahLst/>
                <a:cxnLst>
                  <a:cxn ang="0">
                    <a:pos x="2740" y="528"/>
                  </a:cxn>
                  <a:cxn ang="0">
                    <a:pos x="2632" y="484"/>
                  </a:cxn>
                  <a:cxn ang="0">
                    <a:pos x="2480" y="424"/>
                  </a:cxn>
                  <a:cxn ang="0">
                    <a:pos x="2203" y="343"/>
                  </a:cxn>
                  <a:cxn ang="0">
                    <a:pos x="1970" y="277"/>
                  </a:cxn>
                  <a:cxn ang="0">
                    <a:pos x="1807" y="212"/>
                  </a:cxn>
                  <a:cxn ang="0">
                    <a:pos x="1693" y="152"/>
                  </a:cxn>
                  <a:cxn ang="0">
                    <a:pos x="1628" y="103"/>
                  </a:cxn>
                  <a:cxn ang="0">
                    <a:pos x="1590" y="60"/>
                  </a:cxn>
                  <a:cxn ang="0">
                    <a:pos x="1579" y="27"/>
                  </a:cxn>
                  <a:cxn ang="0">
                    <a:pos x="1585" y="0"/>
                  </a:cxn>
                  <a:cxn ang="0">
                    <a:pos x="1557" y="49"/>
                  </a:cxn>
                  <a:cxn ang="0">
                    <a:pos x="1568" y="98"/>
                  </a:cxn>
                  <a:cxn ang="0">
                    <a:pos x="1617" y="141"/>
                  </a:cxn>
                  <a:cxn ang="0">
                    <a:pos x="1688" y="185"/>
                  </a:cxn>
                  <a:cxn ang="0">
                    <a:pos x="1791" y="228"/>
                  </a:cxn>
                  <a:cxn ang="0">
                    <a:pos x="2040" y="310"/>
                  </a:cxn>
                  <a:cxn ang="0">
                    <a:pos x="2285" y="381"/>
                  </a:cxn>
                  <a:cxn ang="0">
                    <a:pos x="2464" y="435"/>
                  </a:cxn>
                  <a:cxn ang="0">
                    <a:pos x="2605" y="484"/>
                  </a:cxn>
                  <a:cxn ang="0">
                    <a:pos x="2708" y="528"/>
                  </a:cxn>
                  <a:cxn ang="0">
                    <a:pos x="2768" y="560"/>
                  </a:cxn>
                  <a:cxn ang="0">
                    <a:pos x="2795" y="593"/>
                  </a:cxn>
                  <a:cxn ang="0">
                    <a:pos x="2795" y="642"/>
                  </a:cxn>
                  <a:cxn ang="0">
                    <a:pos x="2762" y="691"/>
                  </a:cxn>
                  <a:cxn ang="0">
                    <a:pos x="2692" y="735"/>
                  </a:cxn>
                  <a:cxn ang="0">
                    <a:pos x="2589" y="778"/>
                  </a:cxn>
                  <a:cxn ang="0">
                    <a:pos x="2458" y="822"/>
                  </a:cxn>
                  <a:cxn ang="0">
                    <a:pos x="2301" y="865"/>
                  </a:cxn>
                  <a:cxn ang="0">
                    <a:pos x="2030" y="930"/>
                  </a:cxn>
                  <a:cxn ang="0">
                    <a:pos x="1606" y="1034"/>
                  </a:cxn>
                  <a:cxn ang="0">
                    <a:pos x="1145" y="1164"/>
                  </a:cxn>
                  <a:cxn ang="0">
                    <a:pos x="673" y="1328"/>
                  </a:cxn>
                  <a:cxn ang="0">
                    <a:pos x="217" y="1545"/>
                  </a:cxn>
                  <a:cxn ang="0">
                    <a:pos x="353" y="1671"/>
                  </a:cxn>
                  <a:cxn ang="0">
                    <a:pos x="754" y="1469"/>
                  </a:cxn>
                  <a:cxn ang="0">
                    <a:pos x="1145" y="1311"/>
                  </a:cxn>
                  <a:cxn ang="0">
                    <a:pos x="1519" y="1186"/>
                  </a:cxn>
                  <a:cxn ang="0">
                    <a:pos x="1861" y="1083"/>
                  </a:cxn>
                  <a:cxn ang="0">
                    <a:pos x="2165" y="1007"/>
                  </a:cxn>
                  <a:cxn ang="0">
                    <a:pos x="2426" y="947"/>
                  </a:cxn>
                  <a:cxn ang="0">
                    <a:pos x="2626" y="892"/>
                  </a:cxn>
                  <a:cxn ang="0">
                    <a:pos x="2762" y="838"/>
                  </a:cxn>
                  <a:cxn ang="0">
                    <a:pos x="2827" y="794"/>
                  </a:cxn>
                  <a:cxn ang="0">
                    <a:pos x="2865" y="745"/>
                  </a:cxn>
                  <a:cxn ang="0">
                    <a:pos x="2882" y="702"/>
                  </a:cxn>
                  <a:cxn ang="0">
                    <a:pos x="2854" y="620"/>
                  </a:cxn>
                  <a:cxn ang="0">
                    <a:pos x="2800" y="560"/>
                  </a:cxn>
                  <a:cxn ang="0">
                    <a:pos x="2773" y="544"/>
                  </a:cxn>
                </a:cxnLst>
                <a:rect l="0" t="0" r="r" b="b"/>
                <a:pathLst>
                  <a:path w="2882" h="1671">
                    <a:moveTo>
                      <a:pt x="2773" y="544"/>
                    </a:moveTo>
                    <a:lnTo>
                      <a:pt x="2740" y="528"/>
                    </a:lnTo>
                    <a:lnTo>
                      <a:pt x="2692" y="506"/>
                    </a:lnTo>
                    <a:lnTo>
                      <a:pt x="2632" y="484"/>
                    </a:lnTo>
                    <a:lnTo>
                      <a:pt x="2561" y="457"/>
                    </a:lnTo>
                    <a:lnTo>
                      <a:pt x="2480" y="424"/>
                    </a:lnTo>
                    <a:lnTo>
                      <a:pt x="2388" y="397"/>
                    </a:lnTo>
                    <a:lnTo>
                      <a:pt x="2203" y="343"/>
                    </a:lnTo>
                    <a:lnTo>
                      <a:pt x="2078" y="310"/>
                    </a:lnTo>
                    <a:lnTo>
                      <a:pt x="1970" y="277"/>
                    </a:lnTo>
                    <a:lnTo>
                      <a:pt x="1878" y="245"/>
                    </a:lnTo>
                    <a:lnTo>
                      <a:pt x="1807" y="212"/>
                    </a:lnTo>
                    <a:lnTo>
                      <a:pt x="1742" y="179"/>
                    </a:lnTo>
                    <a:lnTo>
                      <a:pt x="1693" y="152"/>
                    </a:lnTo>
                    <a:lnTo>
                      <a:pt x="1655" y="125"/>
                    </a:lnTo>
                    <a:lnTo>
                      <a:pt x="1628" y="103"/>
                    </a:lnTo>
                    <a:lnTo>
                      <a:pt x="1606" y="81"/>
                    </a:lnTo>
                    <a:lnTo>
                      <a:pt x="1590" y="60"/>
                    </a:lnTo>
                    <a:lnTo>
                      <a:pt x="1585" y="43"/>
                    </a:lnTo>
                    <a:lnTo>
                      <a:pt x="1579" y="27"/>
                    </a:lnTo>
                    <a:lnTo>
                      <a:pt x="1585" y="5"/>
                    </a:lnTo>
                    <a:lnTo>
                      <a:pt x="1585" y="0"/>
                    </a:lnTo>
                    <a:lnTo>
                      <a:pt x="1568" y="27"/>
                    </a:lnTo>
                    <a:lnTo>
                      <a:pt x="1557" y="49"/>
                    </a:lnTo>
                    <a:lnTo>
                      <a:pt x="1557" y="76"/>
                    </a:lnTo>
                    <a:lnTo>
                      <a:pt x="1568" y="98"/>
                    </a:lnTo>
                    <a:lnTo>
                      <a:pt x="1590" y="120"/>
                    </a:lnTo>
                    <a:lnTo>
                      <a:pt x="1617" y="141"/>
                    </a:lnTo>
                    <a:lnTo>
                      <a:pt x="1650" y="163"/>
                    </a:lnTo>
                    <a:lnTo>
                      <a:pt x="1688" y="185"/>
                    </a:lnTo>
                    <a:lnTo>
                      <a:pt x="1737" y="207"/>
                    </a:lnTo>
                    <a:lnTo>
                      <a:pt x="1791" y="228"/>
                    </a:lnTo>
                    <a:lnTo>
                      <a:pt x="1905" y="267"/>
                    </a:lnTo>
                    <a:lnTo>
                      <a:pt x="2040" y="310"/>
                    </a:lnTo>
                    <a:lnTo>
                      <a:pt x="2182" y="348"/>
                    </a:lnTo>
                    <a:lnTo>
                      <a:pt x="2285" y="381"/>
                    </a:lnTo>
                    <a:lnTo>
                      <a:pt x="2382" y="408"/>
                    </a:lnTo>
                    <a:lnTo>
                      <a:pt x="2464" y="435"/>
                    </a:lnTo>
                    <a:lnTo>
                      <a:pt x="2540" y="462"/>
                    </a:lnTo>
                    <a:lnTo>
                      <a:pt x="2605" y="484"/>
                    </a:lnTo>
                    <a:lnTo>
                      <a:pt x="2659" y="506"/>
                    </a:lnTo>
                    <a:lnTo>
                      <a:pt x="2708" y="528"/>
                    </a:lnTo>
                    <a:lnTo>
                      <a:pt x="2740" y="544"/>
                    </a:lnTo>
                    <a:lnTo>
                      <a:pt x="2768" y="560"/>
                    </a:lnTo>
                    <a:lnTo>
                      <a:pt x="2784" y="577"/>
                    </a:lnTo>
                    <a:lnTo>
                      <a:pt x="2795" y="593"/>
                    </a:lnTo>
                    <a:lnTo>
                      <a:pt x="2800" y="615"/>
                    </a:lnTo>
                    <a:lnTo>
                      <a:pt x="2795" y="642"/>
                    </a:lnTo>
                    <a:lnTo>
                      <a:pt x="2784" y="664"/>
                    </a:lnTo>
                    <a:lnTo>
                      <a:pt x="2762" y="691"/>
                    </a:lnTo>
                    <a:lnTo>
                      <a:pt x="2730" y="713"/>
                    </a:lnTo>
                    <a:lnTo>
                      <a:pt x="2692" y="735"/>
                    </a:lnTo>
                    <a:lnTo>
                      <a:pt x="2643" y="756"/>
                    </a:lnTo>
                    <a:lnTo>
                      <a:pt x="2589" y="778"/>
                    </a:lnTo>
                    <a:lnTo>
                      <a:pt x="2529" y="800"/>
                    </a:lnTo>
                    <a:lnTo>
                      <a:pt x="2458" y="822"/>
                    </a:lnTo>
                    <a:lnTo>
                      <a:pt x="2382" y="843"/>
                    </a:lnTo>
                    <a:lnTo>
                      <a:pt x="2301" y="865"/>
                    </a:lnTo>
                    <a:lnTo>
                      <a:pt x="2214" y="887"/>
                    </a:lnTo>
                    <a:lnTo>
                      <a:pt x="2030" y="930"/>
                    </a:lnTo>
                    <a:lnTo>
                      <a:pt x="1823" y="979"/>
                    </a:lnTo>
                    <a:lnTo>
                      <a:pt x="1606" y="1034"/>
                    </a:lnTo>
                    <a:lnTo>
                      <a:pt x="1378" y="1094"/>
                    </a:lnTo>
                    <a:lnTo>
                      <a:pt x="1145" y="1164"/>
                    </a:lnTo>
                    <a:lnTo>
                      <a:pt x="912" y="1241"/>
                    </a:lnTo>
                    <a:lnTo>
                      <a:pt x="673" y="1328"/>
                    </a:lnTo>
                    <a:lnTo>
                      <a:pt x="440" y="1431"/>
                    </a:lnTo>
                    <a:lnTo>
                      <a:pt x="217" y="1545"/>
                    </a:lnTo>
                    <a:lnTo>
                      <a:pt x="0" y="1671"/>
                    </a:lnTo>
                    <a:lnTo>
                      <a:pt x="353" y="1671"/>
                    </a:lnTo>
                    <a:lnTo>
                      <a:pt x="554" y="1567"/>
                    </a:lnTo>
                    <a:lnTo>
                      <a:pt x="754" y="1469"/>
                    </a:lnTo>
                    <a:lnTo>
                      <a:pt x="955" y="1388"/>
                    </a:lnTo>
                    <a:lnTo>
                      <a:pt x="1145" y="1311"/>
                    </a:lnTo>
                    <a:lnTo>
                      <a:pt x="1335" y="1241"/>
                    </a:lnTo>
                    <a:lnTo>
                      <a:pt x="1519" y="1186"/>
                    </a:lnTo>
                    <a:lnTo>
                      <a:pt x="1693" y="1132"/>
                    </a:lnTo>
                    <a:lnTo>
                      <a:pt x="1861" y="1083"/>
                    </a:lnTo>
                    <a:lnTo>
                      <a:pt x="2019" y="1045"/>
                    </a:lnTo>
                    <a:lnTo>
                      <a:pt x="2165" y="1007"/>
                    </a:lnTo>
                    <a:lnTo>
                      <a:pt x="2301" y="974"/>
                    </a:lnTo>
                    <a:lnTo>
                      <a:pt x="2426" y="947"/>
                    </a:lnTo>
                    <a:lnTo>
                      <a:pt x="2534" y="914"/>
                    </a:lnTo>
                    <a:lnTo>
                      <a:pt x="2626" y="892"/>
                    </a:lnTo>
                    <a:lnTo>
                      <a:pt x="2702" y="865"/>
                    </a:lnTo>
                    <a:lnTo>
                      <a:pt x="2762" y="838"/>
                    </a:lnTo>
                    <a:lnTo>
                      <a:pt x="2800" y="816"/>
                    </a:lnTo>
                    <a:lnTo>
                      <a:pt x="2827" y="794"/>
                    </a:lnTo>
                    <a:lnTo>
                      <a:pt x="2849" y="767"/>
                    </a:lnTo>
                    <a:lnTo>
                      <a:pt x="2865" y="745"/>
                    </a:lnTo>
                    <a:lnTo>
                      <a:pt x="2876" y="724"/>
                    </a:lnTo>
                    <a:lnTo>
                      <a:pt x="2882" y="702"/>
                    </a:lnTo>
                    <a:lnTo>
                      <a:pt x="2876" y="658"/>
                    </a:lnTo>
                    <a:lnTo>
                      <a:pt x="2854" y="620"/>
                    </a:lnTo>
                    <a:lnTo>
                      <a:pt x="2833" y="588"/>
                    </a:lnTo>
                    <a:lnTo>
                      <a:pt x="2800" y="560"/>
                    </a:lnTo>
                    <a:lnTo>
                      <a:pt x="2773" y="544"/>
                    </a:lnTo>
                    <a:lnTo>
                      <a:pt x="2773" y="544"/>
                    </a:lnTo>
                    <a:close/>
                  </a:path>
                </a:pathLst>
              </a:custGeom>
              <a:gradFill rotWithShape="0">
                <a:gsLst>
                  <a:gs pos="0">
                    <a:schemeClr val="bg1"/>
                  </a:gs>
                  <a:gs pos="100000">
                    <a:schemeClr val="bg1">
                      <a:gamma/>
                      <a:shade val="90980"/>
                      <a:invGamma/>
                    </a:schemeClr>
                  </a:gs>
                </a:gsLst>
                <a:lin ang="0" scaled="1"/>
              </a:gradFill>
              <a:ln w="9525">
                <a:noFill/>
                <a:round/>
                <a:headEnd/>
                <a:tailEnd/>
              </a:ln>
            </p:spPr>
            <p:txBody>
              <a:bodyPr/>
              <a:lstStyle/>
              <a:p>
                <a:pPr eaLnBrk="0" hangingPunct="0">
                  <a:defRPr/>
                </a:pPr>
                <a:endParaRPr lang="en-US" sz="1800">
                  <a:solidFill>
                    <a:srgbClr val="FFFFFF"/>
                  </a:solidFill>
                  <a:latin typeface="+mn-lt"/>
                  <a:cs typeface="+mn-cs"/>
                </a:endParaRPr>
              </a:p>
            </p:txBody>
          </p:sp>
          <p:sp>
            <p:nvSpPr>
              <p:cNvPr id="9" name="Freeform 7">
                <a:extLst>
                  <a:ext uri="{FF2B5EF4-FFF2-40B4-BE49-F238E27FC236}">
                    <a16:creationId xmlns:a16="http://schemas.microsoft.com/office/drawing/2014/main" id="{BBEFAAD8-50FE-42BA-88A2-41D6CDD09608}"/>
                  </a:ext>
                </a:extLst>
              </p:cNvPr>
              <p:cNvSpPr>
                <a:spLocks/>
              </p:cNvSpPr>
              <p:nvPr/>
            </p:nvSpPr>
            <p:spPr bwMode="hidden">
              <a:xfrm>
                <a:off x="4170" y="2671"/>
                <a:ext cx="1259" cy="811"/>
              </a:xfrm>
              <a:custGeom>
                <a:avLst/>
                <a:gdLst/>
                <a:ahLst/>
                <a:cxnLst>
                  <a:cxn ang="0">
                    <a:pos x="1259" y="615"/>
                  </a:cxn>
                  <a:cxn ang="0">
                    <a:pos x="1248" y="588"/>
                  </a:cxn>
                  <a:cxn ang="0">
                    <a:pos x="1237" y="566"/>
                  </a:cxn>
                  <a:cxn ang="0">
                    <a:pos x="1216" y="539"/>
                  </a:cxn>
                  <a:cxn ang="0">
                    <a:pos x="1188" y="517"/>
                  </a:cxn>
                  <a:cxn ang="0">
                    <a:pos x="1123" y="479"/>
                  </a:cxn>
                  <a:cxn ang="0">
                    <a:pos x="1042" y="441"/>
                  </a:cxn>
                  <a:cxn ang="0">
                    <a:pos x="944" y="408"/>
                  </a:cxn>
                  <a:cxn ang="0">
                    <a:pos x="841" y="381"/>
                  </a:cxn>
                  <a:cxn ang="0">
                    <a:pos x="727" y="348"/>
                  </a:cxn>
                  <a:cxn ang="0">
                    <a:pos x="613" y="321"/>
                  </a:cxn>
                  <a:cxn ang="0">
                    <a:pos x="499" y="294"/>
                  </a:cxn>
                  <a:cxn ang="0">
                    <a:pos x="391" y="261"/>
                  </a:cxn>
                  <a:cxn ang="0">
                    <a:pos x="288" y="229"/>
                  </a:cxn>
                  <a:cxn ang="0">
                    <a:pos x="195" y="196"/>
                  </a:cxn>
                  <a:cxn ang="0">
                    <a:pos x="119" y="152"/>
                  </a:cxn>
                  <a:cxn ang="0">
                    <a:pos x="54" y="109"/>
                  </a:cxn>
                  <a:cxn ang="0">
                    <a:pos x="33" y="87"/>
                  </a:cxn>
                  <a:cxn ang="0">
                    <a:pos x="16" y="60"/>
                  </a:cxn>
                  <a:cxn ang="0">
                    <a:pos x="5" y="33"/>
                  </a:cxn>
                  <a:cxn ang="0">
                    <a:pos x="0" y="0"/>
                  </a:cxn>
                  <a:cxn ang="0">
                    <a:pos x="0" y="6"/>
                  </a:cxn>
                  <a:cxn ang="0">
                    <a:pos x="0" y="11"/>
                  </a:cxn>
                  <a:cxn ang="0">
                    <a:pos x="0" y="38"/>
                  </a:cxn>
                  <a:cxn ang="0">
                    <a:pos x="5" y="60"/>
                  </a:cxn>
                  <a:cxn ang="0">
                    <a:pos x="16" y="87"/>
                  </a:cxn>
                  <a:cxn ang="0">
                    <a:pos x="33" y="114"/>
                  </a:cxn>
                  <a:cxn ang="0">
                    <a:pos x="54" y="142"/>
                  </a:cxn>
                  <a:cxn ang="0">
                    <a:pos x="87" y="174"/>
                  </a:cxn>
                  <a:cxn ang="0">
                    <a:pos x="125" y="207"/>
                  </a:cxn>
                  <a:cxn ang="0">
                    <a:pos x="179" y="240"/>
                  </a:cxn>
                  <a:cxn ang="0">
                    <a:pos x="244" y="278"/>
                  </a:cxn>
                  <a:cxn ang="0">
                    <a:pos x="326" y="310"/>
                  </a:cxn>
                  <a:cxn ang="0">
                    <a:pos x="418" y="348"/>
                  </a:cxn>
                  <a:cxn ang="0">
                    <a:pos x="526" y="381"/>
                  </a:cxn>
                  <a:cxn ang="0">
                    <a:pos x="657" y="414"/>
                  </a:cxn>
                  <a:cxn ang="0">
                    <a:pos x="749" y="435"/>
                  </a:cxn>
                  <a:cxn ang="0">
                    <a:pos x="830" y="463"/>
                  </a:cxn>
                  <a:cxn ang="0">
                    <a:pos x="901" y="490"/>
                  </a:cxn>
                  <a:cxn ang="0">
                    <a:pos x="966" y="512"/>
                  </a:cxn>
                  <a:cxn ang="0">
                    <a:pos x="1015" y="539"/>
                  </a:cxn>
                  <a:cxn ang="0">
                    <a:pos x="1053" y="566"/>
                  </a:cxn>
                  <a:cxn ang="0">
                    <a:pos x="1080" y="593"/>
                  </a:cxn>
                  <a:cxn ang="0">
                    <a:pos x="1102" y="620"/>
                  </a:cxn>
                  <a:cxn ang="0">
                    <a:pos x="1112" y="648"/>
                  </a:cxn>
                  <a:cxn ang="0">
                    <a:pos x="1118" y="675"/>
                  </a:cxn>
                  <a:cxn ang="0">
                    <a:pos x="1112" y="697"/>
                  </a:cxn>
                  <a:cxn ang="0">
                    <a:pos x="1096" y="724"/>
                  </a:cxn>
                  <a:cxn ang="0">
                    <a:pos x="1080" y="746"/>
                  </a:cxn>
                  <a:cxn ang="0">
                    <a:pos x="1053" y="767"/>
                  </a:cxn>
                  <a:cxn ang="0">
                    <a:pos x="1015" y="789"/>
                  </a:cxn>
                  <a:cxn ang="0">
                    <a:pos x="977" y="811"/>
                  </a:cxn>
                  <a:cxn ang="0">
                    <a:pos x="1047" y="789"/>
                  </a:cxn>
                  <a:cxn ang="0">
                    <a:pos x="1107" y="767"/>
                  </a:cxn>
                  <a:cxn ang="0">
                    <a:pos x="1156" y="746"/>
                  </a:cxn>
                  <a:cxn ang="0">
                    <a:pos x="1199" y="724"/>
                  </a:cxn>
                  <a:cxn ang="0">
                    <a:pos x="1226" y="702"/>
                  </a:cxn>
                  <a:cxn ang="0">
                    <a:pos x="1248" y="675"/>
                  </a:cxn>
                  <a:cxn ang="0">
                    <a:pos x="1259" y="648"/>
                  </a:cxn>
                  <a:cxn ang="0">
                    <a:pos x="1259" y="615"/>
                  </a:cxn>
                  <a:cxn ang="0">
                    <a:pos x="1259" y="615"/>
                  </a:cxn>
                </a:cxnLst>
                <a:rect l="0" t="0" r="r" b="b"/>
                <a:pathLst>
                  <a:path w="1259" h="811">
                    <a:moveTo>
                      <a:pt x="1259" y="615"/>
                    </a:moveTo>
                    <a:lnTo>
                      <a:pt x="1248" y="588"/>
                    </a:lnTo>
                    <a:lnTo>
                      <a:pt x="1237" y="566"/>
                    </a:lnTo>
                    <a:lnTo>
                      <a:pt x="1216" y="539"/>
                    </a:lnTo>
                    <a:lnTo>
                      <a:pt x="1188" y="517"/>
                    </a:lnTo>
                    <a:lnTo>
                      <a:pt x="1123" y="479"/>
                    </a:lnTo>
                    <a:lnTo>
                      <a:pt x="1042" y="441"/>
                    </a:lnTo>
                    <a:lnTo>
                      <a:pt x="944" y="408"/>
                    </a:lnTo>
                    <a:lnTo>
                      <a:pt x="841" y="381"/>
                    </a:lnTo>
                    <a:lnTo>
                      <a:pt x="727" y="348"/>
                    </a:lnTo>
                    <a:lnTo>
                      <a:pt x="613" y="321"/>
                    </a:lnTo>
                    <a:lnTo>
                      <a:pt x="499" y="294"/>
                    </a:lnTo>
                    <a:lnTo>
                      <a:pt x="391" y="261"/>
                    </a:lnTo>
                    <a:lnTo>
                      <a:pt x="288" y="229"/>
                    </a:lnTo>
                    <a:lnTo>
                      <a:pt x="195" y="196"/>
                    </a:lnTo>
                    <a:lnTo>
                      <a:pt x="119" y="152"/>
                    </a:lnTo>
                    <a:lnTo>
                      <a:pt x="54" y="109"/>
                    </a:lnTo>
                    <a:lnTo>
                      <a:pt x="33" y="87"/>
                    </a:lnTo>
                    <a:lnTo>
                      <a:pt x="16" y="60"/>
                    </a:lnTo>
                    <a:lnTo>
                      <a:pt x="5" y="33"/>
                    </a:lnTo>
                    <a:lnTo>
                      <a:pt x="0" y="0"/>
                    </a:lnTo>
                    <a:lnTo>
                      <a:pt x="0" y="6"/>
                    </a:lnTo>
                    <a:lnTo>
                      <a:pt x="0" y="11"/>
                    </a:lnTo>
                    <a:lnTo>
                      <a:pt x="0" y="38"/>
                    </a:lnTo>
                    <a:lnTo>
                      <a:pt x="5" y="60"/>
                    </a:lnTo>
                    <a:lnTo>
                      <a:pt x="16" y="87"/>
                    </a:lnTo>
                    <a:lnTo>
                      <a:pt x="33" y="114"/>
                    </a:lnTo>
                    <a:lnTo>
                      <a:pt x="54" y="142"/>
                    </a:lnTo>
                    <a:lnTo>
                      <a:pt x="87" y="174"/>
                    </a:lnTo>
                    <a:lnTo>
                      <a:pt x="125" y="207"/>
                    </a:lnTo>
                    <a:lnTo>
                      <a:pt x="179" y="240"/>
                    </a:lnTo>
                    <a:lnTo>
                      <a:pt x="244" y="278"/>
                    </a:lnTo>
                    <a:lnTo>
                      <a:pt x="326" y="310"/>
                    </a:lnTo>
                    <a:lnTo>
                      <a:pt x="418" y="348"/>
                    </a:lnTo>
                    <a:lnTo>
                      <a:pt x="526" y="381"/>
                    </a:lnTo>
                    <a:lnTo>
                      <a:pt x="657" y="414"/>
                    </a:lnTo>
                    <a:lnTo>
                      <a:pt x="749" y="435"/>
                    </a:lnTo>
                    <a:lnTo>
                      <a:pt x="830" y="463"/>
                    </a:lnTo>
                    <a:lnTo>
                      <a:pt x="901" y="490"/>
                    </a:lnTo>
                    <a:lnTo>
                      <a:pt x="966" y="512"/>
                    </a:lnTo>
                    <a:lnTo>
                      <a:pt x="1015" y="539"/>
                    </a:lnTo>
                    <a:lnTo>
                      <a:pt x="1053" y="566"/>
                    </a:lnTo>
                    <a:lnTo>
                      <a:pt x="1080" y="593"/>
                    </a:lnTo>
                    <a:lnTo>
                      <a:pt x="1102" y="620"/>
                    </a:lnTo>
                    <a:lnTo>
                      <a:pt x="1112" y="648"/>
                    </a:lnTo>
                    <a:lnTo>
                      <a:pt x="1118" y="675"/>
                    </a:lnTo>
                    <a:lnTo>
                      <a:pt x="1112" y="697"/>
                    </a:lnTo>
                    <a:lnTo>
                      <a:pt x="1096" y="724"/>
                    </a:lnTo>
                    <a:lnTo>
                      <a:pt x="1080" y="746"/>
                    </a:lnTo>
                    <a:lnTo>
                      <a:pt x="1053" y="767"/>
                    </a:lnTo>
                    <a:lnTo>
                      <a:pt x="1015" y="789"/>
                    </a:lnTo>
                    <a:lnTo>
                      <a:pt x="977" y="811"/>
                    </a:lnTo>
                    <a:lnTo>
                      <a:pt x="1047" y="789"/>
                    </a:lnTo>
                    <a:lnTo>
                      <a:pt x="1107" y="767"/>
                    </a:lnTo>
                    <a:lnTo>
                      <a:pt x="1156" y="746"/>
                    </a:lnTo>
                    <a:lnTo>
                      <a:pt x="1199" y="724"/>
                    </a:lnTo>
                    <a:lnTo>
                      <a:pt x="1226" y="702"/>
                    </a:lnTo>
                    <a:lnTo>
                      <a:pt x="1248" y="675"/>
                    </a:lnTo>
                    <a:lnTo>
                      <a:pt x="1259" y="648"/>
                    </a:lnTo>
                    <a:lnTo>
                      <a:pt x="1259" y="615"/>
                    </a:lnTo>
                    <a:lnTo>
                      <a:pt x="1259" y="615"/>
                    </a:lnTo>
                    <a:close/>
                  </a:path>
                </a:pathLst>
              </a:custGeom>
              <a:gradFill rotWithShape="0">
                <a:gsLst>
                  <a:gs pos="0">
                    <a:schemeClr val="bg1"/>
                  </a:gs>
                  <a:gs pos="100000">
                    <a:schemeClr val="bg1">
                      <a:gamma/>
                      <a:shade val="90980"/>
                      <a:invGamma/>
                    </a:schemeClr>
                  </a:gs>
                </a:gsLst>
                <a:lin ang="2700000" scaled="1"/>
              </a:gradFill>
              <a:ln w="9525">
                <a:noFill/>
                <a:round/>
                <a:headEnd/>
                <a:tailEnd/>
              </a:ln>
            </p:spPr>
            <p:txBody>
              <a:bodyPr/>
              <a:lstStyle/>
              <a:p>
                <a:pPr eaLnBrk="0" hangingPunct="0">
                  <a:defRPr/>
                </a:pPr>
                <a:endParaRPr lang="en-US" sz="1800">
                  <a:solidFill>
                    <a:srgbClr val="FFFFFF"/>
                  </a:solidFill>
                  <a:latin typeface="+mn-lt"/>
                  <a:cs typeface="+mn-cs"/>
                </a:endParaRPr>
              </a:p>
            </p:txBody>
          </p:sp>
          <p:sp>
            <p:nvSpPr>
              <p:cNvPr id="10" name="Freeform 8">
                <a:extLst>
                  <a:ext uri="{FF2B5EF4-FFF2-40B4-BE49-F238E27FC236}">
                    <a16:creationId xmlns:a16="http://schemas.microsoft.com/office/drawing/2014/main" id="{9DB53C6A-BC7A-4D4A-90F9-51C5445EA58A}"/>
                  </a:ext>
                </a:extLst>
              </p:cNvPr>
              <p:cNvSpPr>
                <a:spLocks/>
              </p:cNvSpPr>
              <p:nvPr/>
            </p:nvSpPr>
            <p:spPr bwMode="hidden">
              <a:xfrm>
                <a:off x="2900" y="3346"/>
                <a:ext cx="2849" cy="969"/>
              </a:xfrm>
              <a:custGeom>
                <a:avLst/>
                <a:gdLst/>
                <a:ahLst/>
                <a:cxnLst>
                  <a:cxn ang="0">
                    <a:pos x="92" y="958"/>
                  </a:cxn>
                  <a:cxn ang="0">
                    <a:pos x="0" y="969"/>
                  </a:cxn>
                  <a:cxn ang="0">
                    <a:pos x="391" y="969"/>
                  </a:cxn>
                  <a:cxn ang="0">
                    <a:pos x="434" y="947"/>
                  </a:cxn>
                  <a:cxn ang="0">
                    <a:pos x="483" y="914"/>
                  </a:cxn>
                  <a:cxn ang="0">
                    <a:pos x="554" y="876"/>
                  </a:cxn>
                  <a:cxn ang="0">
                    <a:pos x="635" y="838"/>
                  </a:cxn>
                  <a:cxn ang="0">
                    <a:pos x="727" y="794"/>
                  </a:cxn>
                  <a:cxn ang="0">
                    <a:pos x="836" y="745"/>
                  </a:cxn>
                  <a:cxn ang="0">
                    <a:pos x="961" y="696"/>
                  </a:cxn>
                  <a:cxn ang="0">
                    <a:pos x="1102" y="642"/>
                  </a:cxn>
                  <a:cxn ang="0">
                    <a:pos x="1259" y="582"/>
                  </a:cxn>
                  <a:cxn ang="0">
                    <a:pos x="1433" y="522"/>
                  </a:cxn>
                  <a:cxn ang="0">
                    <a:pos x="1623" y="462"/>
                  </a:cxn>
                  <a:cxn ang="0">
                    <a:pos x="1829" y="403"/>
                  </a:cxn>
                  <a:cxn ang="0">
                    <a:pos x="2057" y="343"/>
                  </a:cxn>
                  <a:cxn ang="0">
                    <a:pos x="2301" y="283"/>
                  </a:cxn>
                  <a:cxn ang="0">
                    <a:pos x="2567" y="223"/>
                  </a:cxn>
                  <a:cxn ang="0">
                    <a:pos x="2849" y="163"/>
                  </a:cxn>
                  <a:cxn ang="0">
                    <a:pos x="2849" y="0"/>
                  </a:cxn>
                  <a:cxn ang="0">
                    <a:pos x="2817" y="16"/>
                  </a:cxn>
                  <a:cxn ang="0">
                    <a:pos x="2773" y="33"/>
                  </a:cxn>
                  <a:cxn ang="0">
                    <a:pos x="2719" y="54"/>
                  </a:cxn>
                  <a:cxn ang="0">
                    <a:pos x="2648" y="76"/>
                  </a:cxn>
                  <a:cxn ang="0">
                    <a:pos x="2572" y="98"/>
                  </a:cxn>
                  <a:cxn ang="0">
                    <a:pos x="2491" y="120"/>
                  </a:cxn>
                  <a:cxn ang="0">
                    <a:pos x="2399" y="147"/>
                  </a:cxn>
                  <a:cxn ang="0">
                    <a:pos x="2301" y="169"/>
                  </a:cxn>
                  <a:cxn ang="0">
                    <a:pos x="2095" y="223"/>
                  </a:cxn>
                  <a:cxn ang="0">
                    <a:pos x="1889" y="277"/>
                  </a:cxn>
                  <a:cxn ang="0">
                    <a:pos x="1688" y="326"/>
                  </a:cxn>
                  <a:cxn ang="0">
                    <a:pos x="1590" y="354"/>
                  </a:cxn>
                  <a:cxn ang="0">
                    <a:pos x="1503" y="381"/>
                  </a:cxn>
                  <a:cxn ang="0">
                    <a:pos x="1107" y="506"/>
                  </a:cxn>
                  <a:cxn ang="0">
                    <a:pos x="912" y="577"/>
                  </a:cxn>
                  <a:cxn ang="0">
                    <a:pos x="727" y="647"/>
                  </a:cxn>
                  <a:cxn ang="0">
                    <a:pos x="548" y="718"/>
                  </a:cxn>
                  <a:cxn ang="0">
                    <a:pos x="380" y="794"/>
                  </a:cxn>
                  <a:cxn ang="0">
                    <a:pos x="228" y="876"/>
                  </a:cxn>
                  <a:cxn ang="0">
                    <a:pos x="92" y="958"/>
                  </a:cxn>
                  <a:cxn ang="0">
                    <a:pos x="92" y="958"/>
                  </a:cxn>
                </a:cxnLst>
                <a:rect l="0" t="0" r="r" b="b"/>
                <a:pathLst>
                  <a:path w="2849" h="969">
                    <a:moveTo>
                      <a:pt x="92" y="958"/>
                    </a:moveTo>
                    <a:lnTo>
                      <a:pt x="0" y="969"/>
                    </a:lnTo>
                    <a:lnTo>
                      <a:pt x="391" y="969"/>
                    </a:lnTo>
                    <a:lnTo>
                      <a:pt x="434" y="947"/>
                    </a:lnTo>
                    <a:lnTo>
                      <a:pt x="483" y="914"/>
                    </a:lnTo>
                    <a:lnTo>
                      <a:pt x="554" y="876"/>
                    </a:lnTo>
                    <a:lnTo>
                      <a:pt x="635" y="838"/>
                    </a:lnTo>
                    <a:lnTo>
                      <a:pt x="727" y="794"/>
                    </a:lnTo>
                    <a:lnTo>
                      <a:pt x="836" y="745"/>
                    </a:lnTo>
                    <a:lnTo>
                      <a:pt x="961" y="696"/>
                    </a:lnTo>
                    <a:lnTo>
                      <a:pt x="1102" y="642"/>
                    </a:lnTo>
                    <a:lnTo>
                      <a:pt x="1259" y="582"/>
                    </a:lnTo>
                    <a:lnTo>
                      <a:pt x="1433" y="522"/>
                    </a:lnTo>
                    <a:lnTo>
                      <a:pt x="1623" y="462"/>
                    </a:lnTo>
                    <a:lnTo>
                      <a:pt x="1829" y="403"/>
                    </a:lnTo>
                    <a:lnTo>
                      <a:pt x="2057" y="343"/>
                    </a:lnTo>
                    <a:lnTo>
                      <a:pt x="2301" y="283"/>
                    </a:lnTo>
                    <a:lnTo>
                      <a:pt x="2567" y="223"/>
                    </a:lnTo>
                    <a:lnTo>
                      <a:pt x="2849" y="163"/>
                    </a:lnTo>
                    <a:lnTo>
                      <a:pt x="2849" y="0"/>
                    </a:lnTo>
                    <a:lnTo>
                      <a:pt x="2817" y="16"/>
                    </a:lnTo>
                    <a:lnTo>
                      <a:pt x="2773" y="33"/>
                    </a:lnTo>
                    <a:lnTo>
                      <a:pt x="2719" y="54"/>
                    </a:lnTo>
                    <a:lnTo>
                      <a:pt x="2648" y="76"/>
                    </a:lnTo>
                    <a:lnTo>
                      <a:pt x="2572" y="98"/>
                    </a:lnTo>
                    <a:lnTo>
                      <a:pt x="2491" y="120"/>
                    </a:lnTo>
                    <a:lnTo>
                      <a:pt x="2399" y="147"/>
                    </a:lnTo>
                    <a:lnTo>
                      <a:pt x="2301" y="169"/>
                    </a:lnTo>
                    <a:lnTo>
                      <a:pt x="2095" y="223"/>
                    </a:lnTo>
                    <a:lnTo>
                      <a:pt x="1889" y="277"/>
                    </a:lnTo>
                    <a:lnTo>
                      <a:pt x="1688" y="326"/>
                    </a:lnTo>
                    <a:lnTo>
                      <a:pt x="1590" y="354"/>
                    </a:lnTo>
                    <a:lnTo>
                      <a:pt x="1503" y="381"/>
                    </a:lnTo>
                    <a:lnTo>
                      <a:pt x="1107" y="506"/>
                    </a:lnTo>
                    <a:lnTo>
                      <a:pt x="912" y="577"/>
                    </a:lnTo>
                    <a:lnTo>
                      <a:pt x="727" y="647"/>
                    </a:lnTo>
                    <a:lnTo>
                      <a:pt x="548" y="718"/>
                    </a:lnTo>
                    <a:lnTo>
                      <a:pt x="380" y="794"/>
                    </a:lnTo>
                    <a:lnTo>
                      <a:pt x="228" y="876"/>
                    </a:lnTo>
                    <a:lnTo>
                      <a:pt x="92" y="958"/>
                    </a:lnTo>
                    <a:lnTo>
                      <a:pt x="92" y="958"/>
                    </a:lnTo>
                    <a:close/>
                  </a:path>
                </a:pathLst>
              </a:custGeom>
              <a:gradFill rotWithShape="0">
                <a:gsLst>
                  <a:gs pos="0">
                    <a:schemeClr val="bg1">
                      <a:gamma/>
                      <a:shade val="81961"/>
                      <a:invGamma/>
                    </a:schemeClr>
                  </a:gs>
                  <a:gs pos="100000">
                    <a:schemeClr val="bg1"/>
                  </a:gs>
                </a:gsLst>
                <a:lin ang="5400000" scaled="1"/>
              </a:gradFill>
              <a:ln w="9525">
                <a:noFill/>
                <a:round/>
                <a:headEnd/>
                <a:tailEnd/>
              </a:ln>
            </p:spPr>
            <p:txBody>
              <a:bodyPr/>
              <a:lstStyle/>
              <a:p>
                <a:pPr eaLnBrk="0" hangingPunct="0">
                  <a:defRPr/>
                </a:pPr>
                <a:endParaRPr lang="en-US" sz="1800">
                  <a:solidFill>
                    <a:srgbClr val="FFFFFF"/>
                  </a:solidFill>
                  <a:latin typeface="+mn-lt"/>
                  <a:cs typeface="+mn-cs"/>
                </a:endParaRPr>
              </a:p>
            </p:txBody>
          </p:sp>
          <p:sp>
            <p:nvSpPr>
              <p:cNvPr id="11" name="Freeform 9">
                <a:extLst>
                  <a:ext uri="{FF2B5EF4-FFF2-40B4-BE49-F238E27FC236}">
                    <a16:creationId xmlns:a16="http://schemas.microsoft.com/office/drawing/2014/main" id="{01ACEFAD-82C9-4DD1-800B-5303858D3459}"/>
                  </a:ext>
                </a:extLst>
              </p:cNvPr>
              <p:cNvSpPr>
                <a:spLocks/>
              </p:cNvSpPr>
              <p:nvPr/>
            </p:nvSpPr>
            <p:spPr bwMode="hidden">
              <a:xfrm>
                <a:off x="2748" y="2230"/>
                <a:ext cx="3007" cy="2085"/>
              </a:xfrm>
              <a:custGeom>
                <a:avLst/>
                <a:gdLst>
                  <a:gd name="T0" fmla="*/ 1433 w 3007"/>
                  <a:gd name="T1" fmla="*/ 474 h 2085"/>
                  <a:gd name="T2" fmla="*/ 1460 w 3007"/>
                  <a:gd name="T3" fmla="*/ 528 h 2085"/>
                  <a:gd name="T4" fmla="*/ 1541 w 3007"/>
                  <a:gd name="T5" fmla="*/ 593 h 2085"/>
                  <a:gd name="T6" fmla="*/ 1715 w 3007"/>
                  <a:gd name="T7" fmla="*/ 670 h 2085"/>
                  <a:gd name="T8" fmla="*/ 1927 w 3007"/>
                  <a:gd name="T9" fmla="*/ 735 h 2085"/>
                  <a:gd name="T10" fmla="*/ 2155 w 3007"/>
                  <a:gd name="T11" fmla="*/ 789 h 2085"/>
                  <a:gd name="T12" fmla="*/ 2372 w 3007"/>
                  <a:gd name="T13" fmla="*/ 849 h 2085"/>
                  <a:gd name="T14" fmla="*/ 2551 w 3007"/>
                  <a:gd name="T15" fmla="*/ 920 h 2085"/>
                  <a:gd name="T16" fmla="*/ 2638 w 3007"/>
                  <a:gd name="T17" fmla="*/ 980 h 2085"/>
                  <a:gd name="T18" fmla="*/ 2676 w 3007"/>
                  <a:gd name="T19" fmla="*/ 1029 h 2085"/>
                  <a:gd name="T20" fmla="*/ 2681 w 3007"/>
                  <a:gd name="T21" fmla="*/ 1083 h 2085"/>
                  <a:gd name="T22" fmla="*/ 2665 w 3007"/>
                  <a:gd name="T23" fmla="*/ 1127 h 2085"/>
                  <a:gd name="T24" fmla="*/ 2616 w 3007"/>
                  <a:gd name="T25" fmla="*/ 1170 h 2085"/>
                  <a:gd name="T26" fmla="*/ 2545 w 3007"/>
                  <a:gd name="T27" fmla="*/ 1208 h 2085"/>
                  <a:gd name="T28" fmla="*/ 2448 w 3007"/>
                  <a:gd name="T29" fmla="*/ 1241 h 2085"/>
                  <a:gd name="T30" fmla="*/ 2328 w 3007"/>
                  <a:gd name="T31" fmla="*/ 1274 h 2085"/>
                  <a:gd name="T32" fmla="*/ 2106 w 3007"/>
                  <a:gd name="T33" fmla="*/ 1328 h 2085"/>
                  <a:gd name="T34" fmla="*/ 1742 w 3007"/>
                  <a:gd name="T35" fmla="*/ 1421 h 2085"/>
                  <a:gd name="T36" fmla="*/ 1308 w 3007"/>
                  <a:gd name="T37" fmla="*/ 1540 h 2085"/>
                  <a:gd name="T38" fmla="*/ 820 w 3007"/>
                  <a:gd name="T39" fmla="*/ 1709 h 2085"/>
                  <a:gd name="T40" fmla="*/ 282 w 3007"/>
                  <a:gd name="T41" fmla="*/ 1943 h 2085"/>
                  <a:gd name="T42" fmla="*/ 152 w 3007"/>
                  <a:gd name="T43" fmla="*/ 2085 h 2085"/>
                  <a:gd name="T44" fmla="*/ 386 w 3007"/>
                  <a:gd name="T45" fmla="*/ 1992 h 2085"/>
                  <a:gd name="T46" fmla="*/ 700 w 3007"/>
                  <a:gd name="T47" fmla="*/ 1834 h 2085"/>
                  <a:gd name="T48" fmla="*/ 1064 w 3007"/>
                  <a:gd name="T49" fmla="*/ 1693 h 2085"/>
                  <a:gd name="T50" fmla="*/ 1661 w 3007"/>
                  <a:gd name="T51" fmla="*/ 1497 h 2085"/>
                  <a:gd name="T52" fmla="*/ 1845 w 3007"/>
                  <a:gd name="T53" fmla="*/ 1442 h 2085"/>
                  <a:gd name="T54" fmla="*/ 2252 w 3007"/>
                  <a:gd name="T55" fmla="*/ 1339 h 2085"/>
                  <a:gd name="T56" fmla="*/ 2551 w 3007"/>
                  <a:gd name="T57" fmla="*/ 1263 h 2085"/>
                  <a:gd name="T58" fmla="*/ 2730 w 3007"/>
                  <a:gd name="T59" fmla="*/ 1214 h 2085"/>
                  <a:gd name="T60" fmla="*/ 2876 w 3007"/>
                  <a:gd name="T61" fmla="*/ 1170 h 2085"/>
                  <a:gd name="T62" fmla="*/ 2974 w 3007"/>
                  <a:gd name="T63" fmla="*/ 1132 h 2085"/>
                  <a:gd name="T64" fmla="*/ 3007 w 3007"/>
                  <a:gd name="T65" fmla="*/ 871 h 2085"/>
                  <a:gd name="T66" fmla="*/ 2860 w 3007"/>
                  <a:gd name="T67" fmla="*/ 844 h 2085"/>
                  <a:gd name="T68" fmla="*/ 2670 w 3007"/>
                  <a:gd name="T69" fmla="*/ 806 h 2085"/>
                  <a:gd name="T70" fmla="*/ 2458 w 3007"/>
                  <a:gd name="T71" fmla="*/ 757 h 2085"/>
                  <a:gd name="T72" fmla="*/ 2138 w 3007"/>
                  <a:gd name="T73" fmla="*/ 670 h 2085"/>
                  <a:gd name="T74" fmla="*/ 1959 w 3007"/>
                  <a:gd name="T75" fmla="*/ 604 h 2085"/>
                  <a:gd name="T76" fmla="*/ 1824 w 3007"/>
                  <a:gd name="T77" fmla="*/ 534 h 2085"/>
                  <a:gd name="T78" fmla="*/ 1769 w 3007"/>
                  <a:gd name="T79" fmla="*/ 474 h 2085"/>
                  <a:gd name="T80" fmla="*/ 1753 w 3007"/>
                  <a:gd name="T81" fmla="*/ 436 h 2085"/>
                  <a:gd name="T82" fmla="*/ 1780 w 3007"/>
                  <a:gd name="T83" fmla="*/ 381 h 2085"/>
                  <a:gd name="T84" fmla="*/ 1862 w 3007"/>
                  <a:gd name="T85" fmla="*/ 316 h 2085"/>
                  <a:gd name="T86" fmla="*/ 1986 w 3007"/>
                  <a:gd name="T87" fmla="*/ 267 h 2085"/>
                  <a:gd name="T88" fmla="*/ 2149 w 3007"/>
                  <a:gd name="T89" fmla="*/ 229 h 2085"/>
                  <a:gd name="T90" fmla="*/ 2431 w 3007"/>
                  <a:gd name="T91" fmla="*/ 180 h 2085"/>
                  <a:gd name="T92" fmla="*/ 2827 w 3007"/>
                  <a:gd name="T93" fmla="*/ 125 h 2085"/>
                  <a:gd name="T94" fmla="*/ 3007 w 3007"/>
                  <a:gd name="T95" fmla="*/ 87 h 2085"/>
                  <a:gd name="T96" fmla="*/ 2909 w 3007"/>
                  <a:gd name="T97" fmla="*/ 22 h 2085"/>
                  <a:gd name="T98" fmla="*/ 2676 w 3007"/>
                  <a:gd name="T99" fmla="*/ 66 h 2085"/>
                  <a:gd name="T100" fmla="*/ 2285 w 3007"/>
                  <a:gd name="T101" fmla="*/ 120 h 2085"/>
                  <a:gd name="T102" fmla="*/ 2030 w 3007"/>
                  <a:gd name="T103" fmla="*/ 158 h 2085"/>
                  <a:gd name="T104" fmla="*/ 1791 w 3007"/>
                  <a:gd name="T105" fmla="*/ 202 h 2085"/>
                  <a:gd name="T106" fmla="*/ 1601 w 3007"/>
                  <a:gd name="T107" fmla="*/ 261 h 2085"/>
                  <a:gd name="T108" fmla="*/ 1471 w 3007"/>
                  <a:gd name="T109" fmla="*/ 338 h 2085"/>
                  <a:gd name="T110" fmla="*/ 1438 w 3007"/>
                  <a:gd name="T111" fmla="*/ 387 h 2085"/>
                  <a:gd name="T112" fmla="*/ 1427 w 3007"/>
                  <a:gd name="T113" fmla="*/ 441 h 2085"/>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3007" h="2085">
                    <a:moveTo>
                      <a:pt x="1427" y="441"/>
                    </a:moveTo>
                    <a:lnTo>
                      <a:pt x="1433" y="474"/>
                    </a:lnTo>
                    <a:lnTo>
                      <a:pt x="1444" y="501"/>
                    </a:lnTo>
                    <a:lnTo>
                      <a:pt x="1460" y="528"/>
                    </a:lnTo>
                    <a:lnTo>
                      <a:pt x="1482" y="550"/>
                    </a:lnTo>
                    <a:lnTo>
                      <a:pt x="1541" y="593"/>
                    </a:lnTo>
                    <a:lnTo>
                      <a:pt x="1623" y="637"/>
                    </a:lnTo>
                    <a:lnTo>
                      <a:pt x="1715" y="670"/>
                    </a:lnTo>
                    <a:lnTo>
                      <a:pt x="1818" y="702"/>
                    </a:lnTo>
                    <a:lnTo>
                      <a:pt x="1927" y="735"/>
                    </a:lnTo>
                    <a:lnTo>
                      <a:pt x="2041" y="762"/>
                    </a:lnTo>
                    <a:lnTo>
                      <a:pt x="2155" y="789"/>
                    </a:lnTo>
                    <a:lnTo>
                      <a:pt x="2269" y="822"/>
                    </a:lnTo>
                    <a:lnTo>
                      <a:pt x="2372" y="849"/>
                    </a:lnTo>
                    <a:lnTo>
                      <a:pt x="2464" y="882"/>
                    </a:lnTo>
                    <a:lnTo>
                      <a:pt x="2551" y="920"/>
                    </a:lnTo>
                    <a:lnTo>
                      <a:pt x="2616" y="958"/>
                    </a:lnTo>
                    <a:lnTo>
                      <a:pt x="2638" y="980"/>
                    </a:lnTo>
                    <a:lnTo>
                      <a:pt x="2659" y="1007"/>
                    </a:lnTo>
                    <a:lnTo>
                      <a:pt x="2676" y="1029"/>
                    </a:lnTo>
                    <a:lnTo>
                      <a:pt x="2681" y="1056"/>
                    </a:lnTo>
                    <a:lnTo>
                      <a:pt x="2681" y="1083"/>
                    </a:lnTo>
                    <a:lnTo>
                      <a:pt x="2676" y="1105"/>
                    </a:lnTo>
                    <a:lnTo>
                      <a:pt x="2665" y="1127"/>
                    </a:lnTo>
                    <a:lnTo>
                      <a:pt x="2643" y="1149"/>
                    </a:lnTo>
                    <a:lnTo>
                      <a:pt x="2616" y="1170"/>
                    </a:lnTo>
                    <a:lnTo>
                      <a:pt x="2583" y="1187"/>
                    </a:lnTo>
                    <a:lnTo>
                      <a:pt x="2545" y="1208"/>
                    </a:lnTo>
                    <a:lnTo>
                      <a:pt x="2502" y="1225"/>
                    </a:lnTo>
                    <a:lnTo>
                      <a:pt x="2448" y="1241"/>
                    </a:lnTo>
                    <a:lnTo>
                      <a:pt x="2388" y="1257"/>
                    </a:lnTo>
                    <a:lnTo>
                      <a:pt x="2328" y="1274"/>
                    </a:lnTo>
                    <a:lnTo>
                      <a:pt x="2258" y="1290"/>
                    </a:lnTo>
                    <a:lnTo>
                      <a:pt x="2106" y="1328"/>
                    </a:lnTo>
                    <a:lnTo>
                      <a:pt x="1932" y="1372"/>
                    </a:lnTo>
                    <a:lnTo>
                      <a:pt x="1742" y="1421"/>
                    </a:lnTo>
                    <a:lnTo>
                      <a:pt x="1531" y="1475"/>
                    </a:lnTo>
                    <a:lnTo>
                      <a:pt x="1308" y="1540"/>
                    </a:lnTo>
                    <a:lnTo>
                      <a:pt x="1069" y="1617"/>
                    </a:lnTo>
                    <a:lnTo>
                      <a:pt x="820" y="1709"/>
                    </a:lnTo>
                    <a:lnTo>
                      <a:pt x="554" y="1818"/>
                    </a:lnTo>
                    <a:lnTo>
                      <a:pt x="282" y="1943"/>
                    </a:lnTo>
                    <a:lnTo>
                      <a:pt x="0" y="2085"/>
                    </a:lnTo>
                    <a:lnTo>
                      <a:pt x="152" y="2085"/>
                    </a:lnTo>
                    <a:lnTo>
                      <a:pt x="244" y="2074"/>
                    </a:lnTo>
                    <a:lnTo>
                      <a:pt x="386" y="1992"/>
                    </a:lnTo>
                    <a:lnTo>
                      <a:pt x="537" y="1910"/>
                    </a:lnTo>
                    <a:lnTo>
                      <a:pt x="700" y="1834"/>
                    </a:lnTo>
                    <a:lnTo>
                      <a:pt x="879" y="1763"/>
                    </a:lnTo>
                    <a:lnTo>
                      <a:pt x="1064" y="1693"/>
                    </a:lnTo>
                    <a:lnTo>
                      <a:pt x="1259" y="1622"/>
                    </a:lnTo>
                    <a:lnTo>
                      <a:pt x="1661" y="1497"/>
                    </a:lnTo>
                    <a:lnTo>
                      <a:pt x="1748" y="1470"/>
                    </a:lnTo>
                    <a:lnTo>
                      <a:pt x="1845" y="1442"/>
                    </a:lnTo>
                    <a:lnTo>
                      <a:pt x="2046" y="1393"/>
                    </a:lnTo>
                    <a:lnTo>
                      <a:pt x="2252" y="1339"/>
                    </a:lnTo>
                    <a:lnTo>
                      <a:pt x="2458" y="1285"/>
                    </a:lnTo>
                    <a:lnTo>
                      <a:pt x="2551" y="1263"/>
                    </a:lnTo>
                    <a:lnTo>
                      <a:pt x="2643" y="1236"/>
                    </a:lnTo>
                    <a:lnTo>
                      <a:pt x="2730" y="1214"/>
                    </a:lnTo>
                    <a:lnTo>
                      <a:pt x="2806" y="1192"/>
                    </a:lnTo>
                    <a:lnTo>
                      <a:pt x="2876" y="1170"/>
                    </a:lnTo>
                    <a:lnTo>
                      <a:pt x="2931" y="1149"/>
                    </a:lnTo>
                    <a:lnTo>
                      <a:pt x="2974" y="1132"/>
                    </a:lnTo>
                    <a:lnTo>
                      <a:pt x="3007" y="1116"/>
                    </a:lnTo>
                    <a:lnTo>
                      <a:pt x="3007" y="871"/>
                    </a:lnTo>
                    <a:lnTo>
                      <a:pt x="2941" y="860"/>
                    </a:lnTo>
                    <a:lnTo>
                      <a:pt x="2860" y="844"/>
                    </a:lnTo>
                    <a:lnTo>
                      <a:pt x="2773" y="827"/>
                    </a:lnTo>
                    <a:lnTo>
                      <a:pt x="2670" y="806"/>
                    </a:lnTo>
                    <a:lnTo>
                      <a:pt x="2567" y="784"/>
                    </a:lnTo>
                    <a:lnTo>
                      <a:pt x="2458" y="757"/>
                    </a:lnTo>
                    <a:lnTo>
                      <a:pt x="2241" y="702"/>
                    </a:lnTo>
                    <a:lnTo>
                      <a:pt x="2138" y="670"/>
                    </a:lnTo>
                    <a:lnTo>
                      <a:pt x="2046" y="637"/>
                    </a:lnTo>
                    <a:lnTo>
                      <a:pt x="1959" y="604"/>
                    </a:lnTo>
                    <a:lnTo>
                      <a:pt x="1883" y="566"/>
                    </a:lnTo>
                    <a:lnTo>
                      <a:pt x="1824" y="534"/>
                    </a:lnTo>
                    <a:lnTo>
                      <a:pt x="1780" y="495"/>
                    </a:lnTo>
                    <a:lnTo>
                      <a:pt x="1769" y="474"/>
                    </a:lnTo>
                    <a:lnTo>
                      <a:pt x="1758" y="457"/>
                    </a:lnTo>
                    <a:lnTo>
                      <a:pt x="1753" y="436"/>
                    </a:lnTo>
                    <a:lnTo>
                      <a:pt x="1758" y="419"/>
                    </a:lnTo>
                    <a:lnTo>
                      <a:pt x="1780" y="381"/>
                    </a:lnTo>
                    <a:lnTo>
                      <a:pt x="1813" y="343"/>
                    </a:lnTo>
                    <a:lnTo>
                      <a:pt x="1862" y="316"/>
                    </a:lnTo>
                    <a:lnTo>
                      <a:pt x="1921" y="289"/>
                    </a:lnTo>
                    <a:lnTo>
                      <a:pt x="1986" y="267"/>
                    </a:lnTo>
                    <a:lnTo>
                      <a:pt x="2062" y="245"/>
                    </a:lnTo>
                    <a:lnTo>
                      <a:pt x="2149" y="229"/>
                    </a:lnTo>
                    <a:lnTo>
                      <a:pt x="2236" y="213"/>
                    </a:lnTo>
                    <a:lnTo>
                      <a:pt x="2431" y="180"/>
                    </a:lnTo>
                    <a:lnTo>
                      <a:pt x="2627" y="158"/>
                    </a:lnTo>
                    <a:lnTo>
                      <a:pt x="2827" y="125"/>
                    </a:lnTo>
                    <a:lnTo>
                      <a:pt x="2920" y="109"/>
                    </a:lnTo>
                    <a:lnTo>
                      <a:pt x="3007" y="87"/>
                    </a:lnTo>
                    <a:lnTo>
                      <a:pt x="3007" y="0"/>
                    </a:lnTo>
                    <a:lnTo>
                      <a:pt x="2909" y="22"/>
                    </a:lnTo>
                    <a:lnTo>
                      <a:pt x="2795" y="44"/>
                    </a:lnTo>
                    <a:lnTo>
                      <a:pt x="2676" y="66"/>
                    </a:lnTo>
                    <a:lnTo>
                      <a:pt x="2551" y="82"/>
                    </a:lnTo>
                    <a:lnTo>
                      <a:pt x="2285" y="120"/>
                    </a:lnTo>
                    <a:lnTo>
                      <a:pt x="2155" y="136"/>
                    </a:lnTo>
                    <a:lnTo>
                      <a:pt x="2030" y="158"/>
                    </a:lnTo>
                    <a:lnTo>
                      <a:pt x="1905" y="174"/>
                    </a:lnTo>
                    <a:lnTo>
                      <a:pt x="1791" y="202"/>
                    </a:lnTo>
                    <a:lnTo>
                      <a:pt x="1688" y="229"/>
                    </a:lnTo>
                    <a:lnTo>
                      <a:pt x="1601" y="261"/>
                    </a:lnTo>
                    <a:lnTo>
                      <a:pt x="1525" y="300"/>
                    </a:lnTo>
                    <a:lnTo>
                      <a:pt x="1471" y="338"/>
                    </a:lnTo>
                    <a:lnTo>
                      <a:pt x="1455" y="359"/>
                    </a:lnTo>
                    <a:lnTo>
                      <a:pt x="1438" y="387"/>
                    </a:lnTo>
                    <a:lnTo>
                      <a:pt x="1427" y="414"/>
                    </a:lnTo>
                    <a:lnTo>
                      <a:pt x="1427" y="44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800"/>
              </a:p>
            </p:txBody>
          </p:sp>
          <p:sp>
            <p:nvSpPr>
              <p:cNvPr id="12" name="Freeform 10">
                <a:extLst>
                  <a:ext uri="{FF2B5EF4-FFF2-40B4-BE49-F238E27FC236}">
                    <a16:creationId xmlns:a16="http://schemas.microsoft.com/office/drawing/2014/main" id="{A29C0D5E-C82A-42D3-A189-373BE61DD7B6}"/>
                  </a:ext>
                </a:extLst>
              </p:cNvPr>
              <p:cNvSpPr>
                <a:spLocks/>
              </p:cNvSpPr>
              <p:nvPr/>
            </p:nvSpPr>
            <p:spPr bwMode="hidden">
              <a:xfrm>
                <a:off x="4501" y="2317"/>
                <a:ext cx="1248" cy="539"/>
              </a:xfrm>
              <a:custGeom>
                <a:avLst/>
                <a:gdLst/>
                <a:ahLst/>
                <a:cxnLst>
                  <a:cxn ang="0">
                    <a:pos x="0" y="332"/>
                  </a:cxn>
                  <a:cxn ang="0">
                    <a:pos x="0" y="360"/>
                  </a:cxn>
                  <a:cxn ang="0">
                    <a:pos x="5" y="387"/>
                  </a:cxn>
                  <a:cxn ang="0">
                    <a:pos x="27" y="414"/>
                  </a:cxn>
                  <a:cxn ang="0">
                    <a:pos x="54" y="436"/>
                  </a:cxn>
                  <a:cxn ang="0">
                    <a:pos x="92" y="463"/>
                  </a:cxn>
                  <a:cxn ang="0">
                    <a:pos x="141" y="490"/>
                  </a:cxn>
                  <a:cxn ang="0">
                    <a:pos x="195" y="512"/>
                  </a:cxn>
                  <a:cxn ang="0">
                    <a:pos x="255" y="539"/>
                  </a:cxn>
                  <a:cxn ang="0">
                    <a:pos x="212" y="517"/>
                  </a:cxn>
                  <a:cxn ang="0">
                    <a:pos x="179" y="490"/>
                  </a:cxn>
                  <a:cxn ang="0">
                    <a:pos x="157" y="468"/>
                  </a:cxn>
                  <a:cxn ang="0">
                    <a:pos x="141" y="447"/>
                  </a:cxn>
                  <a:cxn ang="0">
                    <a:pos x="136" y="425"/>
                  </a:cxn>
                  <a:cxn ang="0">
                    <a:pos x="136" y="403"/>
                  </a:cxn>
                  <a:cxn ang="0">
                    <a:pos x="141" y="381"/>
                  </a:cxn>
                  <a:cxn ang="0">
                    <a:pos x="157" y="365"/>
                  </a:cxn>
                  <a:cxn ang="0">
                    <a:pos x="179" y="343"/>
                  </a:cxn>
                  <a:cxn ang="0">
                    <a:pos x="201" y="327"/>
                  </a:cxn>
                  <a:cxn ang="0">
                    <a:pos x="266" y="294"/>
                  </a:cxn>
                  <a:cxn ang="0">
                    <a:pos x="353" y="262"/>
                  </a:cxn>
                  <a:cxn ang="0">
                    <a:pos x="445" y="234"/>
                  </a:cxn>
                  <a:cxn ang="0">
                    <a:pos x="554" y="213"/>
                  </a:cxn>
                  <a:cxn ang="0">
                    <a:pos x="662" y="191"/>
                  </a:cxn>
                  <a:cxn ang="0">
                    <a:pos x="890" y="153"/>
                  </a:cxn>
                  <a:cxn ang="0">
                    <a:pos x="993" y="136"/>
                  </a:cxn>
                  <a:cxn ang="0">
                    <a:pos x="1091" y="120"/>
                  </a:cxn>
                  <a:cxn ang="0">
                    <a:pos x="1178" y="115"/>
                  </a:cxn>
                  <a:cxn ang="0">
                    <a:pos x="1248" y="104"/>
                  </a:cxn>
                  <a:cxn ang="0">
                    <a:pos x="1248" y="0"/>
                  </a:cxn>
                  <a:cxn ang="0">
                    <a:pos x="1161" y="22"/>
                  </a:cxn>
                  <a:cxn ang="0">
                    <a:pos x="1069" y="38"/>
                  </a:cxn>
                  <a:cxn ang="0">
                    <a:pos x="874" y="71"/>
                  </a:cxn>
                  <a:cxn ang="0">
                    <a:pos x="673" y="93"/>
                  </a:cxn>
                  <a:cxn ang="0">
                    <a:pos x="483" y="126"/>
                  </a:cxn>
                  <a:cxn ang="0">
                    <a:pos x="391" y="142"/>
                  </a:cxn>
                  <a:cxn ang="0">
                    <a:pos x="309" y="158"/>
                  </a:cxn>
                  <a:cxn ang="0">
                    <a:pos x="228" y="180"/>
                  </a:cxn>
                  <a:cxn ang="0">
                    <a:pos x="163" y="202"/>
                  </a:cxn>
                  <a:cxn ang="0">
                    <a:pos x="103" y="229"/>
                  </a:cxn>
                  <a:cxn ang="0">
                    <a:pos x="54" y="256"/>
                  </a:cxn>
                  <a:cxn ang="0">
                    <a:pos x="22" y="294"/>
                  </a:cxn>
                  <a:cxn ang="0">
                    <a:pos x="0" y="332"/>
                  </a:cxn>
                  <a:cxn ang="0">
                    <a:pos x="0" y="332"/>
                  </a:cxn>
                </a:cxnLst>
                <a:rect l="0" t="0" r="r" b="b"/>
                <a:pathLst>
                  <a:path w="1248" h="539">
                    <a:moveTo>
                      <a:pt x="0" y="332"/>
                    </a:moveTo>
                    <a:lnTo>
                      <a:pt x="0" y="360"/>
                    </a:lnTo>
                    <a:lnTo>
                      <a:pt x="5" y="387"/>
                    </a:lnTo>
                    <a:lnTo>
                      <a:pt x="27" y="414"/>
                    </a:lnTo>
                    <a:lnTo>
                      <a:pt x="54" y="436"/>
                    </a:lnTo>
                    <a:lnTo>
                      <a:pt x="92" y="463"/>
                    </a:lnTo>
                    <a:lnTo>
                      <a:pt x="141" y="490"/>
                    </a:lnTo>
                    <a:lnTo>
                      <a:pt x="195" y="512"/>
                    </a:lnTo>
                    <a:lnTo>
                      <a:pt x="255" y="539"/>
                    </a:lnTo>
                    <a:lnTo>
                      <a:pt x="212" y="517"/>
                    </a:lnTo>
                    <a:lnTo>
                      <a:pt x="179" y="490"/>
                    </a:lnTo>
                    <a:lnTo>
                      <a:pt x="157" y="468"/>
                    </a:lnTo>
                    <a:lnTo>
                      <a:pt x="141" y="447"/>
                    </a:lnTo>
                    <a:lnTo>
                      <a:pt x="136" y="425"/>
                    </a:lnTo>
                    <a:lnTo>
                      <a:pt x="136" y="403"/>
                    </a:lnTo>
                    <a:lnTo>
                      <a:pt x="141" y="381"/>
                    </a:lnTo>
                    <a:lnTo>
                      <a:pt x="157" y="365"/>
                    </a:lnTo>
                    <a:lnTo>
                      <a:pt x="179" y="343"/>
                    </a:lnTo>
                    <a:lnTo>
                      <a:pt x="201" y="327"/>
                    </a:lnTo>
                    <a:lnTo>
                      <a:pt x="266" y="294"/>
                    </a:lnTo>
                    <a:lnTo>
                      <a:pt x="353" y="262"/>
                    </a:lnTo>
                    <a:lnTo>
                      <a:pt x="445" y="234"/>
                    </a:lnTo>
                    <a:lnTo>
                      <a:pt x="554" y="213"/>
                    </a:lnTo>
                    <a:lnTo>
                      <a:pt x="662" y="191"/>
                    </a:lnTo>
                    <a:lnTo>
                      <a:pt x="890" y="153"/>
                    </a:lnTo>
                    <a:lnTo>
                      <a:pt x="993" y="136"/>
                    </a:lnTo>
                    <a:lnTo>
                      <a:pt x="1091" y="120"/>
                    </a:lnTo>
                    <a:lnTo>
                      <a:pt x="1178" y="115"/>
                    </a:lnTo>
                    <a:lnTo>
                      <a:pt x="1248" y="104"/>
                    </a:lnTo>
                    <a:lnTo>
                      <a:pt x="1248" y="0"/>
                    </a:lnTo>
                    <a:lnTo>
                      <a:pt x="1161" y="22"/>
                    </a:lnTo>
                    <a:lnTo>
                      <a:pt x="1069" y="38"/>
                    </a:lnTo>
                    <a:lnTo>
                      <a:pt x="874" y="71"/>
                    </a:lnTo>
                    <a:lnTo>
                      <a:pt x="673" y="93"/>
                    </a:lnTo>
                    <a:lnTo>
                      <a:pt x="483" y="126"/>
                    </a:lnTo>
                    <a:lnTo>
                      <a:pt x="391" y="142"/>
                    </a:lnTo>
                    <a:lnTo>
                      <a:pt x="309" y="158"/>
                    </a:lnTo>
                    <a:lnTo>
                      <a:pt x="228" y="180"/>
                    </a:lnTo>
                    <a:lnTo>
                      <a:pt x="163" y="202"/>
                    </a:lnTo>
                    <a:lnTo>
                      <a:pt x="103" y="229"/>
                    </a:lnTo>
                    <a:lnTo>
                      <a:pt x="54" y="256"/>
                    </a:lnTo>
                    <a:lnTo>
                      <a:pt x="22" y="294"/>
                    </a:lnTo>
                    <a:lnTo>
                      <a:pt x="0" y="332"/>
                    </a:lnTo>
                    <a:lnTo>
                      <a:pt x="0" y="332"/>
                    </a:lnTo>
                    <a:close/>
                  </a:path>
                </a:pathLst>
              </a:custGeom>
              <a:gradFill rotWithShape="0">
                <a:gsLst>
                  <a:gs pos="0">
                    <a:schemeClr val="bg1">
                      <a:gamma/>
                      <a:shade val="87843"/>
                      <a:invGamma/>
                    </a:schemeClr>
                  </a:gs>
                  <a:gs pos="100000">
                    <a:schemeClr val="bg1"/>
                  </a:gs>
                </a:gsLst>
                <a:lin ang="2700000" scaled="1"/>
              </a:gradFill>
              <a:ln w="9525">
                <a:noFill/>
                <a:round/>
                <a:headEnd/>
                <a:tailEnd/>
              </a:ln>
            </p:spPr>
            <p:txBody>
              <a:bodyPr/>
              <a:lstStyle/>
              <a:p>
                <a:pPr eaLnBrk="0" hangingPunct="0">
                  <a:defRPr/>
                </a:pPr>
                <a:endParaRPr lang="en-US" sz="1800">
                  <a:solidFill>
                    <a:srgbClr val="FFFFFF"/>
                  </a:solidFill>
                  <a:latin typeface="+mn-lt"/>
                  <a:cs typeface="+mn-cs"/>
                </a:endParaRPr>
              </a:p>
            </p:txBody>
          </p:sp>
        </p:grpSp>
        <p:sp>
          <p:nvSpPr>
            <p:cNvPr id="6" name="Freeform 11">
              <a:extLst>
                <a:ext uri="{FF2B5EF4-FFF2-40B4-BE49-F238E27FC236}">
                  <a16:creationId xmlns:a16="http://schemas.microsoft.com/office/drawing/2014/main" id="{F02E45A5-3717-41FF-8A00-B2D22E1D1DE1}"/>
                </a:ext>
              </a:extLst>
            </p:cNvPr>
            <p:cNvSpPr>
              <a:spLocks/>
            </p:cNvSpPr>
            <p:nvPr/>
          </p:nvSpPr>
          <p:spPr bwMode="hidden">
            <a:xfrm>
              <a:off x="3322" y="1341"/>
              <a:ext cx="1825" cy="1537"/>
            </a:xfrm>
            <a:custGeom>
              <a:avLst/>
              <a:gdLst/>
              <a:ahLst/>
              <a:cxnLst>
                <a:cxn ang="0">
                  <a:pos x="982" y="1061"/>
                </a:cxn>
                <a:cxn ang="0">
                  <a:pos x="1357" y="1012"/>
                </a:cxn>
                <a:cxn ang="0">
                  <a:pos x="1666" y="957"/>
                </a:cxn>
                <a:cxn ang="0">
                  <a:pos x="1916" y="897"/>
                </a:cxn>
                <a:cxn ang="0">
                  <a:pos x="2100" y="832"/>
                </a:cxn>
                <a:cxn ang="0">
                  <a:pos x="2220" y="756"/>
                </a:cxn>
                <a:cxn ang="0">
                  <a:pos x="2285" y="669"/>
                </a:cxn>
                <a:cxn ang="0">
                  <a:pos x="2290" y="560"/>
                </a:cxn>
                <a:cxn ang="0">
                  <a:pos x="2241" y="457"/>
                </a:cxn>
                <a:cxn ang="0">
                  <a:pos x="2144" y="364"/>
                </a:cxn>
                <a:cxn ang="0">
                  <a:pos x="2008" y="277"/>
                </a:cxn>
                <a:cxn ang="0">
                  <a:pos x="1769" y="157"/>
                </a:cxn>
                <a:cxn ang="0">
                  <a:pos x="1612" y="92"/>
                </a:cxn>
                <a:cxn ang="0">
                  <a:pos x="1476" y="43"/>
                </a:cxn>
                <a:cxn ang="0">
                  <a:pos x="1384" y="10"/>
                </a:cxn>
                <a:cxn ang="0">
                  <a:pos x="1346" y="0"/>
                </a:cxn>
                <a:cxn ang="0">
                  <a:pos x="1655" y="119"/>
                </a:cxn>
                <a:cxn ang="0">
                  <a:pos x="1948" y="255"/>
                </a:cxn>
                <a:cxn ang="0">
                  <a:pos x="2068" y="326"/>
                </a:cxn>
                <a:cxn ang="0">
                  <a:pos x="2171" y="402"/>
                </a:cxn>
                <a:cxn ang="0">
                  <a:pos x="2236" y="478"/>
                </a:cxn>
                <a:cxn ang="0">
                  <a:pos x="2263" y="560"/>
                </a:cxn>
                <a:cxn ang="0">
                  <a:pos x="2241" y="636"/>
                </a:cxn>
                <a:cxn ang="0">
                  <a:pos x="2171" y="702"/>
                </a:cxn>
                <a:cxn ang="0">
                  <a:pos x="2062" y="756"/>
                </a:cxn>
                <a:cxn ang="0">
                  <a:pos x="1921" y="800"/>
                </a:cxn>
                <a:cxn ang="0">
                  <a:pos x="1748" y="843"/>
                </a:cxn>
                <a:cxn ang="0">
                  <a:pos x="1351" y="908"/>
                </a:cxn>
                <a:cxn ang="0">
                  <a:pos x="923" y="968"/>
                </a:cxn>
                <a:cxn ang="0">
                  <a:pos x="521" y="1028"/>
                </a:cxn>
                <a:cxn ang="0">
                  <a:pos x="353" y="1066"/>
                </a:cxn>
                <a:cxn ang="0">
                  <a:pos x="206" y="1104"/>
                </a:cxn>
                <a:cxn ang="0">
                  <a:pos x="92" y="1148"/>
                </a:cxn>
                <a:cxn ang="0">
                  <a:pos x="22" y="1202"/>
                </a:cxn>
                <a:cxn ang="0">
                  <a:pos x="0" y="1262"/>
                </a:cxn>
                <a:cxn ang="0">
                  <a:pos x="27" y="1327"/>
                </a:cxn>
                <a:cxn ang="0">
                  <a:pos x="98" y="1382"/>
                </a:cxn>
                <a:cxn ang="0">
                  <a:pos x="196" y="1425"/>
                </a:cxn>
                <a:cxn ang="0">
                  <a:pos x="326" y="1469"/>
                </a:cxn>
                <a:cxn ang="0">
                  <a:pos x="217" y="1414"/>
                </a:cxn>
                <a:cxn ang="0">
                  <a:pos x="147" y="1360"/>
                </a:cxn>
                <a:cxn ang="0">
                  <a:pos x="120" y="1306"/>
                </a:cxn>
                <a:cxn ang="0">
                  <a:pos x="141" y="1257"/>
                </a:cxn>
                <a:cxn ang="0">
                  <a:pos x="212" y="1208"/>
                </a:cxn>
                <a:cxn ang="0">
                  <a:pos x="342" y="1164"/>
                </a:cxn>
                <a:cxn ang="0">
                  <a:pos x="527" y="1121"/>
                </a:cxn>
                <a:cxn ang="0">
                  <a:pos x="771" y="1088"/>
                </a:cxn>
              </a:cxnLst>
              <a:rect l="0" t="0" r="r" b="b"/>
              <a:pathLst>
                <a:path w="2296" h="1469">
                  <a:moveTo>
                    <a:pt x="771" y="1088"/>
                  </a:moveTo>
                  <a:lnTo>
                    <a:pt x="982" y="1061"/>
                  </a:lnTo>
                  <a:lnTo>
                    <a:pt x="1178" y="1034"/>
                  </a:lnTo>
                  <a:lnTo>
                    <a:pt x="1357" y="1012"/>
                  </a:lnTo>
                  <a:lnTo>
                    <a:pt x="1520" y="985"/>
                  </a:lnTo>
                  <a:lnTo>
                    <a:pt x="1666" y="957"/>
                  </a:lnTo>
                  <a:lnTo>
                    <a:pt x="1796" y="930"/>
                  </a:lnTo>
                  <a:lnTo>
                    <a:pt x="1916" y="897"/>
                  </a:lnTo>
                  <a:lnTo>
                    <a:pt x="2013" y="870"/>
                  </a:lnTo>
                  <a:lnTo>
                    <a:pt x="2100" y="832"/>
                  </a:lnTo>
                  <a:lnTo>
                    <a:pt x="2171" y="800"/>
                  </a:lnTo>
                  <a:lnTo>
                    <a:pt x="2220" y="756"/>
                  </a:lnTo>
                  <a:lnTo>
                    <a:pt x="2263" y="712"/>
                  </a:lnTo>
                  <a:lnTo>
                    <a:pt x="2285" y="669"/>
                  </a:lnTo>
                  <a:lnTo>
                    <a:pt x="2296" y="614"/>
                  </a:lnTo>
                  <a:lnTo>
                    <a:pt x="2290" y="560"/>
                  </a:lnTo>
                  <a:lnTo>
                    <a:pt x="2269" y="500"/>
                  </a:lnTo>
                  <a:lnTo>
                    <a:pt x="2241" y="457"/>
                  </a:lnTo>
                  <a:lnTo>
                    <a:pt x="2198" y="408"/>
                  </a:lnTo>
                  <a:lnTo>
                    <a:pt x="2144" y="364"/>
                  </a:lnTo>
                  <a:lnTo>
                    <a:pt x="2079" y="321"/>
                  </a:lnTo>
                  <a:lnTo>
                    <a:pt x="2008" y="277"/>
                  </a:lnTo>
                  <a:lnTo>
                    <a:pt x="1927" y="234"/>
                  </a:lnTo>
                  <a:lnTo>
                    <a:pt x="1769" y="157"/>
                  </a:lnTo>
                  <a:lnTo>
                    <a:pt x="1688" y="125"/>
                  </a:lnTo>
                  <a:lnTo>
                    <a:pt x="1612" y="92"/>
                  </a:lnTo>
                  <a:lnTo>
                    <a:pt x="1536" y="65"/>
                  </a:lnTo>
                  <a:lnTo>
                    <a:pt x="1476" y="43"/>
                  </a:lnTo>
                  <a:lnTo>
                    <a:pt x="1422" y="27"/>
                  </a:lnTo>
                  <a:lnTo>
                    <a:pt x="1384" y="10"/>
                  </a:lnTo>
                  <a:lnTo>
                    <a:pt x="1357" y="5"/>
                  </a:lnTo>
                  <a:lnTo>
                    <a:pt x="1346" y="0"/>
                  </a:lnTo>
                  <a:lnTo>
                    <a:pt x="1498" y="54"/>
                  </a:lnTo>
                  <a:lnTo>
                    <a:pt x="1655" y="119"/>
                  </a:lnTo>
                  <a:lnTo>
                    <a:pt x="1807" y="185"/>
                  </a:lnTo>
                  <a:lnTo>
                    <a:pt x="1948" y="255"/>
                  </a:lnTo>
                  <a:lnTo>
                    <a:pt x="2013" y="288"/>
                  </a:lnTo>
                  <a:lnTo>
                    <a:pt x="2068" y="326"/>
                  </a:lnTo>
                  <a:lnTo>
                    <a:pt x="2122" y="364"/>
                  </a:lnTo>
                  <a:lnTo>
                    <a:pt x="2171" y="402"/>
                  </a:lnTo>
                  <a:lnTo>
                    <a:pt x="2209" y="440"/>
                  </a:lnTo>
                  <a:lnTo>
                    <a:pt x="2236" y="478"/>
                  </a:lnTo>
                  <a:lnTo>
                    <a:pt x="2252" y="522"/>
                  </a:lnTo>
                  <a:lnTo>
                    <a:pt x="2263" y="560"/>
                  </a:lnTo>
                  <a:lnTo>
                    <a:pt x="2258" y="598"/>
                  </a:lnTo>
                  <a:lnTo>
                    <a:pt x="2241" y="636"/>
                  </a:lnTo>
                  <a:lnTo>
                    <a:pt x="2214" y="669"/>
                  </a:lnTo>
                  <a:lnTo>
                    <a:pt x="2171" y="702"/>
                  </a:lnTo>
                  <a:lnTo>
                    <a:pt x="2122" y="729"/>
                  </a:lnTo>
                  <a:lnTo>
                    <a:pt x="2062" y="756"/>
                  </a:lnTo>
                  <a:lnTo>
                    <a:pt x="1997" y="778"/>
                  </a:lnTo>
                  <a:lnTo>
                    <a:pt x="1921" y="800"/>
                  </a:lnTo>
                  <a:lnTo>
                    <a:pt x="1834" y="821"/>
                  </a:lnTo>
                  <a:lnTo>
                    <a:pt x="1748" y="843"/>
                  </a:lnTo>
                  <a:lnTo>
                    <a:pt x="1552" y="876"/>
                  </a:lnTo>
                  <a:lnTo>
                    <a:pt x="1351" y="908"/>
                  </a:lnTo>
                  <a:lnTo>
                    <a:pt x="1134" y="941"/>
                  </a:lnTo>
                  <a:lnTo>
                    <a:pt x="923" y="968"/>
                  </a:lnTo>
                  <a:lnTo>
                    <a:pt x="716" y="995"/>
                  </a:lnTo>
                  <a:lnTo>
                    <a:pt x="521" y="1028"/>
                  </a:lnTo>
                  <a:lnTo>
                    <a:pt x="434" y="1044"/>
                  </a:lnTo>
                  <a:lnTo>
                    <a:pt x="353" y="1066"/>
                  </a:lnTo>
                  <a:lnTo>
                    <a:pt x="277" y="1082"/>
                  </a:lnTo>
                  <a:lnTo>
                    <a:pt x="206" y="1104"/>
                  </a:lnTo>
                  <a:lnTo>
                    <a:pt x="147" y="1126"/>
                  </a:lnTo>
                  <a:lnTo>
                    <a:pt x="92" y="1148"/>
                  </a:lnTo>
                  <a:lnTo>
                    <a:pt x="54" y="1175"/>
                  </a:lnTo>
                  <a:lnTo>
                    <a:pt x="22" y="1202"/>
                  </a:lnTo>
                  <a:lnTo>
                    <a:pt x="6" y="1229"/>
                  </a:lnTo>
                  <a:lnTo>
                    <a:pt x="0" y="1262"/>
                  </a:lnTo>
                  <a:lnTo>
                    <a:pt x="11" y="1295"/>
                  </a:lnTo>
                  <a:lnTo>
                    <a:pt x="27" y="1327"/>
                  </a:lnTo>
                  <a:lnTo>
                    <a:pt x="54" y="1355"/>
                  </a:lnTo>
                  <a:lnTo>
                    <a:pt x="98" y="1382"/>
                  </a:lnTo>
                  <a:lnTo>
                    <a:pt x="141" y="1404"/>
                  </a:lnTo>
                  <a:lnTo>
                    <a:pt x="196" y="1425"/>
                  </a:lnTo>
                  <a:lnTo>
                    <a:pt x="261" y="1447"/>
                  </a:lnTo>
                  <a:lnTo>
                    <a:pt x="326" y="1469"/>
                  </a:lnTo>
                  <a:lnTo>
                    <a:pt x="266" y="1442"/>
                  </a:lnTo>
                  <a:lnTo>
                    <a:pt x="217" y="1414"/>
                  </a:lnTo>
                  <a:lnTo>
                    <a:pt x="174" y="1387"/>
                  </a:lnTo>
                  <a:lnTo>
                    <a:pt x="147" y="1360"/>
                  </a:lnTo>
                  <a:lnTo>
                    <a:pt x="125" y="1333"/>
                  </a:lnTo>
                  <a:lnTo>
                    <a:pt x="120" y="1306"/>
                  </a:lnTo>
                  <a:lnTo>
                    <a:pt x="125" y="1278"/>
                  </a:lnTo>
                  <a:lnTo>
                    <a:pt x="141" y="1257"/>
                  </a:lnTo>
                  <a:lnTo>
                    <a:pt x="174" y="1229"/>
                  </a:lnTo>
                  <a:lnTo>
                    <a:pt x="212" y="1208"/>
                  </a:lnTo>
                  <a:lnTo>
                    <a:pt x="272" y="1186"/>
                  </a:lnTo>
                  <a:lnTo>
                    <a:pt x="342" y="1164"/>
                  </a:lnTo>
                  <a:lnTo>
                    <a:pt x="423" y="1142"/>
                  </a:lnTo>
                  <a:lnTo>
                    <a:pt x="527" y="1121"/>
                  </a:lnTo>
                  <a:lnTo>
                    <a:pt x="641" y="1104"/>
                  </a:lnTo>
                  <a:lnTo>
                    <a:pt x="771" y="1088"/>
                  </a:lnTo>
                  <a:lnTo>
                    <a:pt x="771" y="1088"/>
                  </a:lnTo>
                  <a:close/>
                </a:path>
              </a:pathLst>
            </a:custGeom>
            <a:gradFill rotWithShape="0">
              <a:gsLst>
                <a:gs pos="0">
                  <a:schemeClr val="bg1">
                    <a:gamma/>
                    <a:shade val="84706"/>
                    <a:invGamma/>
                  </a:schemeClr>
                </a:gs>
                <a:gs pos="100000">
                  <a:schemeClr val="bg1"/>
                </a:gs>
              </a:gsLst>
              <a:lin ang="2700000" scaled="1"/>
            </a:gradFill>
            <a:ln w="9525">
              <a:noFill/>
              <a:round/>
              <a:headEnd/>
              <a:tailEnd/>
            </a:ln>
          </p:spPr>
          <p:txBody>
            <a:bodyPr/>
            <a:lstStyle/>
            <a:p>
              <a:pPr eaLnBrk="0" hangingPunct="0">
                <a:defRPr/>
              </a:pPr>
              <a:endParaRPr lang="en-US" sz="1800">
                <a:solidFill>
                  <a:srgbClr val="FFFFFF"/>
                </a:solidFill>
                <a:latin typeface="+mn-lt"/>
                <a:cs typeface="+mn-cs"/>
              </a:endParaRPr>
            </a:p>
          </p:txBody>
        </p:sp>
        <p:sp>
          <p:nvSpPr>
            <p:cNvPr id="7" name="Freeform 12">
              <a:extLst>
                <a:ext uri="{FF2B5EF4-FFF2-40B4-BE49-F238E27FC236}">
                  <a16:creationId xmlns:a16="http://schemas.microsoft.com/office/drawing/2014/main" id="{990CF305-BEF9-426D-80CE-66395734DE24}"/>
                </a:ext>
              </a:extLst>
            </p:cNvPr>
            <p:cNvSpPr>
              <a:spLocks/>
            </p:cNvSpPr>
            <p:nvPr/>
          </p:nvSpPr>
          <p:spPr bwMode="hidden">
            <a:xfrm>
              <a:off x="0" y="0"/>
              <a:ext cx="5758" cy="1776"/>
            </a:xfrm>
            <a:custGeom>
              <a:avLst/>
              <a:gdLst>
                <a:gd name="T0" fmla="*/ 0 w 5740"/>
                <a:gd name="T1" fmla="*/ 0 h 1906"/>
                <a:gd name="T2" fmla="*/ 0 w 5740"/>
                <a:gd name="T3" fmla="*/ 1776 h 1906"/>
                <a:gd name="T4" fmla="*/ 5758 w 5740"/>
                <a:gd name="T5" fmla="*/ 1776 h 1906"/>
                <a:gd name="T6" fmla="*/ 5758 w 5740"/>
                <a:gd name="T7" fmla="*/ 0 h 1906"/>
                <a:gd name="T8" fmla="*/ 0 w 5740"/>
                <a:gd name="T9" fmla="*/ 0 h 1906"/>
                <a:gd name="T10" fmla="*/ 0 w 5740"/>
                <a:gd name="T11" fmla="*/ 0 h 190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5740" h="1906">
                  <a:moveTo>
                    <a:pt x="0" y="0"/>
                  </a:moveTo>
                  <a:lnTo>
                    <a:pt x="0" y="1906"/>
                  </a:lnTo>
                  <a:lnTo>
                    <a:pt x="5740" y="1906"/>
                  </a:lnTo>
                  <a:lnTo>
                    <a:pt x="5740" y="0"/>
                  </a:lnTo>
                  <a:lnTo>
                    <a:pt x="0" y="0"/>
                  </a:lnTo>
                  <a:close/>
                </a:path>
              </a:pathLst>
            </a:custGeom>
            <a:gradFill rotWithShape="0">
              <a:gsLst>
                <a:gs pos="0">
                  <a:schemeClr val="bg2"/>
                </a:gs>
                <a:gs pos="100000">
                  <a:schemeClr val="bg1"/>
                </a:gs>
              </a:gsLst>
              <a:lin ang="54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800"/>
            </a:p>
          </p:txBody>
        </p:sp>
      </p:grpSp>
      <p:sp>
        <p:nvSpPr>
          <p:cNvPr id="13" name="Text Box 16">
            <a:extLst>
              <a:ext uri="{FF2B5EF4-FFF2-40B4-BE49-F238E27FC236}">
                <a16:creationId xmlns:a16="http://schemas.microsoft.com/office/drawing/2014/main" id="{3EF532DA-E89F-48F0-A151-832499F73C86}"/>
              </a:ext>
            </a:extLst>
          </p:cNvPr>
          <p:cNvSpPr txBox="1">
            <a:spLocks noChangeArrowheads="1"/>
          </p:cNvSpPr>
          <p:nvPr/>
        </p:nvSpPr>
        <p:spPr bwMode="auto">
          <a:xfrm>
            <a:off x="11074400" y="304801"/>
            <a:ext cx="711200"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pPr eaLnBrk="0" hangingPunct="0">
              <a:spcBef>
                <a:spcPct val="50000"/>
              </a:spcBef>
              <a:defRPr/>
            </a:pPr>
            <a:endParaRPr lang="en-US" altLang="en-US" sz="1800">
              <a:solidFill>
                <a:srgbClr val="FFFFFF"/>
              </a:solidFill>
              <a:latin typeface="Garamond" pitchFamily="18" charset="0"/>
            </a:endParaRPr>
          </a:p>
        </p:txBody>
      </p:sp>
      <p:sp>
        <p:nvSpPr>
          <p:cNvPr id="14" name="Text Box 17">
            <a:extLst>
              <a:ext uri="{FF2B5EF4-FFF2-40B4-BE49-F238E27FC236}">
                <a16:creationId xmlns:a16="http://schemas.microsoft.com/office/drawing/2014/main" id="{80259560-B936-43AB-BF49-3B05891F196A}"/>
              </a:ext>
            </a:extLst>
          </p:cNvPr>
          <p:cNvSpPr txBox="1">
            <a:spLocks noChangeArrowheads="1"/>
          </p:cNvSpPr>
          <p:nvPr/>
        </p:nvSpPr>
        <p:spPr bwMode="auto">
          <a:xfrm>
            <a:off x="11582400" y="228601"/>
            <a:ext cx="609600"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Calibri" panose="020F0502020204030204" pitchFamily="34" charset="0"/>
                <a:cs typeface="Arial" panose="020B0604020202020204" pitchFamily="34" charset="0"/>
              </a:defRPr>
            </a:lvl1pPr>
            <a:lvl2pPr marL="742950" indent="-285750" eaLnBrk="0" hangingPunct="0">
              <a:defRPr>
                <a:solidFill>
                  <a:schemeClr val="tx1"/>
                </a:solidFill>
                <a:latin typeface="Calibri" panose="020F0502020204030204" pitchFamily="34" charset="0"/>
                <a:cs typeface="Arial" panose="020B0604020202020204" pitchFamily="34" charset="0"/>
              </a:defRPr>
            </a:lvl2pPr>
            <a:lvl3pPr marL="1143000" indent="-228600" eaLnBrk="0" hangingPunct="0">
              <a:defRPr>
                <a:solidFill>
                  <a:schemeClr val="tx1"/>
                </a:solidFill>
                <a:latin typeface="Calibri" panose="020F0502020204030204" pitchFamily="34" charset="0"/>
                <a:cs typeface="Arial" panose="020B0604020202020204" pitchFamily="34" charset="0"/>
              </a:defRPr>
            </a:lvl3pPr>
            <a:lvl4pPr marL="1600200" indent="-228600" eaLnBrk="0" hangingPunct="0">
              <a:defRPr>
                <a:solidFill>
                  <a:schemeClr val="tx1"/>
                </a:solidFill>
                <a:latin typeface="Calibri" panose="020F0502020204030204" pitchFamily="34" charset="0"/>
                <a:cs typeface="Arial" panose="020B0604020202020204" pitchFamily="34" charset="0"/>
              </a:defRPr>
            </a:lvl4pPr>
            <a:lvl5pPr marL="2057400" indent="-228600" eaLnBrk="0" hangingPunct="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spcBef>
                <a:spcPct val="50000"/>
              </a:spcBef>
            </a:pPr>
            <a:fld id="{6305E76F-F263-4BC8-B1CF-6BAA39AA1FC2}" type="slidenum">
              <a:rPr lang="en-US" altLang="en-US" sz="1800">
                <a:solidFill>
                  <a:srgbClr val="FFFFFF"/>
                </a:solidFill>
                <a:latin typeface="Garamond" panose="02020404030301010803" pitchFamily="18" charset="0"/>
              </a:rPr>
              <a:pPr>
                <a:spcBef>
                  <a:spcPct val="50000"/>
                </a:spcBef>
              </a:pPr>
              <a:t>‹#›</a:t>
            </a:fld>
            <a:endParaRPr lang="en-US" altLang="en-US" sz="1800">
              <a:solidFill>
                <a:srgbClr val="FFFFFF"/>
              </a:solidFill>
              <a:latin typeface="Garamond" panose="02020404030301010803" pitchFamily="18" charset="0"/>
            </a:endParaRPr>
          </a:p>
        </p:txBody>
      </p:sp>
      <p:graphicFrame>
        <p:nvGraphicFramePr>
          <p:cNvPr id="15" name="Object 18">
            <a:extLst>
              <a:ext uri="{FF2B5EF4-FFF2-40B4-BE49-F238E27FC236}">
                <a16:creationId xmlns:a16="http://schemas.microsoft.com/office/drawing/2014/main" id="{6FFD474D-6F7F-4D62-8A79-7C099FBB7C6D}"/>
              </a:ext>
            </a:extLst>
          </p:cNvPr>
          <p:cNvGraphicFramePr>
            <a:graphicFrameLocks noChangeAspect="1"/>
          </p:cNvGraphicFramePr>
          <p:nvPr/>
        </p:nvGraphicFramePr>
        <p:xfrm>
          <a:off x="9652000" y="5918200"/>
          <a:ext cx="2540000" cy="939800"/>
        </p:xfrm>
        <a:graphic>
          <a:graphicData uri="http://schemas.openxmlformats.org/presentationml/2006/ole">
            <mc:AlternateContent xmlns:mc="http://schemas.openxmlformats.org/markup-compatibility/2006">
              <mc:Choice xmlns:v="urn:schemas-microsoft-com:vml" Requires="v">
                <p:oleObj spid="_x0000_s6147" name="Bitmap Image" r:id="rId3" imgW="2142857" imgH="1057423" progId="Paint.Picture">
                  <p:embed/>
                </p:oleObj>
              </mc:Choice>
              <mc:Fallback>
                <p:oleObj name="Bitmap Image" r:id="rId3" imgW="2142857" imgH="1057423" progId="Paint.Picture">
                  <p:embed/>
                  <p:pic>
                    <p:nvPicPr>
                      <p:cNvPr id="15" name="Object 18">
                        <a:extLst>
                          <a:ext uri="{FF2B5EF4-FFF2-40B4-BE49-F238E27FC236}">
                            <a16:creationId xmlns:a16="http://schemas.microsoft.com/office/drawing/2014/main" id="{6FFD474D-6F7F-4D62-8A79-7C099FBB7C6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652000" y="5918200"/>
                        <a:ext cx="2540000" cy="939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16" name="Rectangle 2">
            <a:extLst>
              <a:ext uri="{FF2B5EF4-FFF2-40B4-BE49-F238E27FC236}">
                <a16:creationId xmlns:a16="http://schemas.microsoft.com/office/drawing/2014/main" id="{55EE3AA4-F0EA-42FF-B550-C784A1CEC97E}"/>
              </a:ext>
            </a:extLst>
          </p:cNvPr>
          <p:cNvSpPr>
            <a:spLocks noGrp="1" noChangeArrowheads="1"/>
          </p:cNvSpPr>
          <p:nvPr>
            <p:ph type="dt" sz="half" idx="10"/>
          </p:nvPr>
        </p:nvSpPr>
        <p:spPr/>
        <p:txBody>
          <a:bodyPr/>
          <a:lstStyle>
            <a:lvl1pPr fontAlgn="auto">
              <a:spcBef>
                <a:spcPts val="0"/>
              </a:spcBef>
              <a:spcAft>
                <a:spcPts val="0"/>
              </a:spcAft>
              <a:defRPr/>
            </a:lvl1pPr>
          </a:lstStyle>
          <a:p>
            <a:pPr>
              <a:defRPr/>
            </a:pPr>
            <a:endParaRPr lang="en-US"/>
          </a:p>
        </p:txBody>
      </p:sp>
      <p:sp>
        <p:nvSpPr>
          <p:cNvPr id="17" name="Rectangle 3">
            <a:extLst>
              <a:ext uri="{FF2B5EF4-FFF2-40B4-BE49-F238E27FC236}">
                <a16:creationId xmlns:a16="http://schemas.microsoft.com/office/drawing/2014/main" id="{589A5654-BB7E-47BF-88AD-1C46CAB15C1F}"/>
              </a:ext>
            </a:extLst>
          </p:cNvPr>
          <p:cNvSpPr>
            <a:spLocks noGrp="1" noChangeArrowheads="1"/>
          </p:cNvSpPr>
          <p:nvPr>
            <p:ph type="sldNum" sz="quarter" idx="11"/>
          </p:nvPr>
        </p:nvSpPr>
        <p:spPr/>
        <p:txBody>
          <a:bodyPr/>
          <a:lstStyle>
            <a:lvl1pPr>
              <a:defRPr/>
            </a:lvl1pPr>
          </a:lstStyle>
          <a:p>
            <a:fld id="{71378F21-D6DF-4952-BE43-8949771195A6}" type="slidenum">
              <a:rPr lang="en-US" altLang="en-US"/>
              <a:pPr/>
              <a:t>‹#›</a:t>
            </a:fld>
            <a:endParaRPr lang="en-US" altLang="en-US"/>
          </a:p>
        </p:txBody>
      </p:sp>
      <p:sp>
        <p:nvSpPr>
          <p:cNvPr id="18" name="Rectangle 14">
            <a:extLst>
              <a:ext uri="{FF2B5EF4-FFF2-40B4-BE49-F238E27FC236}">
                <a16:creationId xmlns:a16="http://schemas.microsoft.com/office/drawing/2014/main" id="{C247D926-F87B-4C03-B391-3D9C484FC9A0}"/>
              </a:ext>
            </a:extLst>
          </p:cNvPr>
          <p:cNvSpPr>
            <a:spLocks noGrp="1" noChangeArrowheads="1"/>
          </p:cNvSpPr>
          <p:nvPr>
            <p:ph type="ftr" sz="quarter" idx="12"/>
          </p:nvPr>
        </p:nvSpPr>
        <p:spPr/>
        <p:txBody>
          <a:bodyPr/>
          <a:lstStyle>
            <a:lvl1pPr fontAlgn="auto">
              <a:spcBef>
                <a:spcPts val="0"/>
              </a:spcBef>
              <a:spcAft>
                <a:spcPts val="0"/>
              </a:spcAft>
              <a:defRPr/>
            </a:lvl1pPr>
          </a:lstStyle>
          <a:p>
            <a:pPr>
              <a:defRPr/>
            </a:pPr>
            <a:endParaRPr lang="en-US"/>
          </a:p>
        </p:txBody>
      </p:sp>
    </p:spTree>
    <p:extLst>
      <p:ext uri="{BB962C8B-B14F-4D97-AF65-F5344CB8AC3E}">
        <p14:creationId xmlns:p14="http://schemas.microsoft.com/office/powerpoint/2010/main" val="3364865138"/>
      </p:ext>
    </p:extLst>
  </p:cSld>
  <p:clrMapOvr>
    <a:masterClrMapping/>
  </p:clrMapOvr>
  <p:transition>
    <p:random/>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grpSp>
        <p:nvGrpSpPr>
          <p:cNvPr id="5" name="Group 18">
            <a:extLst>
              <a:ext uri="{FF2B5EF4-FFF2-40B4-BE49-F238E27FC236}">
                <a16:creationId xmlns:a16="http://schemas.microsoft.com/office/drawing/2014/main" id="{4CC6B792-33F8-4979-8678-A25B2E1B6DE8}"/>
              </a:ext>
            </a:extLst>
          </p:cNvPr>
          <p:cNvGrpSpPr>
            <a:grpSpLocks/>
          </p:cNvGrpSpPr>
          <p:nvPr/>
        </p:nvGrpSpPr>
        <p:grpSpPr bwMode="auto">
          <a:xfrm>
            <a:off x="1" y="1"/>
            <a:ext cx="12187767" cy="6850063"/>
            <a:chOff x="0" y="0"/>
            <a:chExt cx="5758" cy="4315"/>
          </a:xfrm>
        </p:grpSpPr>
        <p:grpSp>
          <p:nvGrpSpPr>
            <p:cNvPr id="6" name="Group 19">
              <a:extLst>
                <a:ext uri="{FF2B5EF4-FFF2-40B4-BE49-F238E27FC236}">
                  <a16:creationId xmlns:a16="http://schemas.microsoft.com/office/drawing/2014/main" id="{B6D58FF9-706A-4542-829C-DB7333513B2F}"/>
                </a:ext>
              </a:extLst>
            </p:cNvPr>
            <p:cNvGrpSpPr>
              <a:grpSpLocks/>
            </p:cNvGrpSpPr>
            <p:nvPr userDrawn="1"/>
          </p:nvGrpSpPr>
          <p:grpSpPr bwMode="auto">
            <a:xfrm>
              <a:off x="1728" y="2230"/>
              <a:ext cx="4027" cy="2085"/>
              <a:chOff x="1728" y="2230"/>
              <a:chExt cx="4027" cy="2085"/>
            </a:xfrm>
          </p:grpSpPr>
          <p:sp>
            <p:nvSpPr>
              <p:cNvPr id="9" name="Freeform 6">
                <a:extLst>
                  <a:ext uri="{FF2B5EF4-FFF2-40B4-BE49-F238E27FC236}">
                    <a16:creationId xmlns:a16="http://schemas.microsoft.com/office/drawing/2014/main" id="{74813167-3DED-4333-8A45-0B3C6309FB1C}"/>
                  </a:ext>
                </a:extLst>
              </p:cNvPr>
              <p:cNvSpPr>
                <a:spLocks/>
              </p:cNvSpPr>
              <p:nvPr/>
            </p:nvSpPr>
            <p:spPr bwMode="hidden">
              <a:xfrm>
                <a:off x="1728" y="2644"/>
                <a:ext cx="2882" cy="1671"/>
              </a:xfrm>
              <a:custGeom>
                <a:avLst/>
                <a:gdLst/>
                <a:ahLst/>
                <a:cxnLst>
                  <a:cxn ang="0">
                    <a:pos x="2740" y="528"/>
                  </a:cxn>
                  <a:cxn ang="0">
                    <a:pos x="2632" y="484"/>
                  </a:cxn>
                  <a:cxn ang="0">
                    <a:pos x="2480" y="424"/>
                  </a:cxn>
                  <a:cxn ang="0">
                    <a:pos x="2203" y="343"/>
                  </a:cxn>
                  <a:cxn ang="0">
                    <a:pos x="1970" y="277"/>
                  </a:cxn>
                  <a:cxn ang="0">
                    <a:pos x="1807" y="212"/>
                  </a:cxn>
                  <a:cxn ang="0">
                    <a:pos x="1693" y="152"/>
                  </a:cxn>
                  <a:cxn ang="0">
                    <a:pos x="1628" y="103"/>
                  </a:cxn>
                  <a:cxn ang="0">
                    <a:pos x="1590" y="60"/>
                  </a:cxn>
                  <a:cxn ang="0">
                    <a:pos x="1579" y="27"/>
                  </a:cxn>
                  <a:cxn ang="0">
                    <a:pos x="1585" y="0"/>
                  </a:cxn>
                  <a:cxn ang="0">
                    <a:pos x="1557" y="49"/>
                  </a:cxn>
                  <a:cxn ang="0">
                    <a:pos x="1568" y="98"/>
                  </a:cxn>
                  <a:cxn ang="0">
                    <a:pos x="1617" y="141"/>
                  </a:cxn>
                  <a:cxn ang="0">
                    <a:pos x="1688" y="185"/>
                  </a:cxn>
                  <a:cxn ang="0">
                    <a:pos x="1791" y="228"/>
                  </a:cxn>
                  <a:cxn ang="0">
                    <a:pos x="2040" y="310"/>
                  </a:cxn>
                  <a:cxn ang="0">
                    <a:pos x="2285" y="381"/>
                  </a:cxn>
                  <a:cxn ang="0">
                    <a:pos x="2464" y="435"/>
                  </a:cxn>
                  <a:cxn ang="0">
                    <a:pos x="2605" y="484"/>
                  </a:cxn>
                  <a:cxn ang="0">
                    <a:pos x="2708" y="528"/>
                  </a:cxn>
                  <a:cxn ang="0">
                    <a:pos x="2768" y="560"/>
                  </a:cxn>
                  <a:cxn ang="0">
                    <a:pos x="2795" y="593"/>
                  </a:cxn>
                  <a:cxn ang="0">
                    <a:pos x="2795" y="642"/>
                  </a:cxn>
                  <a:cxn ang="0">
                    <a:pos x="2762" y="691"/>
                  </a:cxn>
                  <a:cxn ang="0">
                    <a:pos x="2692" y="735"/>
                  </a:cxn>
                  <a:cxn ang="0">
                    <a:pos x="2589" y="778"/>
                  </a:cxn>
                  <a:cxn ang="0">
                    <a:pos x="2458" y="822"/>
                  </a:cxn>
                  <a:cxn ang="0">
                    <a:pos x="2301" y="865"/>
                  </a:cxn>
                  <a:cxn ang="0">
                    <a:pos x="2030" y="930"/>
                  </a:cxn>
                  <a:cxn ang="0">
                    <a:pos x="1606" y="1034"/>
                  </a:cxn>
                  <a:cxn ang="0">
                    <a:pos x="1145" y="1164"/>
                  </a:cxn>
                  <a:cxn ang="0">
                    <a:pos x="673" y="1328"/>
                  </a:cxn>
                  <a:cxn ang="0">
                    <a:pos x="217" y="1545"/>
                  </a:cxn>
                  <a:cxn ang="0">
                    <a:pos x="353" y="1671"/>
                  </a:cxn>
                  <a:cxn ang="0">
                    <a:pos x="754" y="1469"/>
                  </a:cxn>
                  <a:cxn ang="0">
                    <a:pos x="1145" y="1311"/>
                  </a:cxn>
                  <a:cxn ang="0">
                    <a:pos x="1519" y="1186"/>
                  </a:cxn>
                  <a:cxn ang="0">
                    <a:pos x="1861" y="1083"/>
                  </a:cxn>
                  <a:cxn ang="0">
                    <a:pos x="2165" y="1007"/>
                  </a:cxn>
                  <a:cxn ang="0">
                    <a:pos x="2426" y="947"/>
                  </a:cxn>
                  <a:cxn ang="0">
                    <a:pos x="2626" y="892"/>
                  </a:cxn>
                  <a:cxn ang="0">
                    <a:pos x="2762" y="838"/>
                  </a:cxn>
                  <a:cxn ang="0">
                    <a:pos x="2827" y="794"/>
                  </a:cxn>
                  <a:cxn ang="0">
                    <a:pos x="2865" y="745"/>
                  </a:cxn>
                  <a:cxn ang="0">
                    <a:pos x="2882" y="702"/>
                  </a:cxn>
                  <a:cxn ang="0">
                    <a:pos x="2854" y="620"/>
                  </a:cxn>
                  <a:cxn ang="0">
                    <a:pos x="2800" y="560"/>
                  </a:cxn>
                  <a:cxn ang="0">
                    <a:pos x="2773" y="544"/>
                  </a:cxn>
                </a:cxnLst>
                <a:rect l="0" t="0" r="r" b="b"/>
                <a:pathLst>
                  <a:path w="2882" h="1671">
                    <a:moveTo>
                      <a:pt x="2773" y="544"/>
                    </a:moveTo>
                    <a:lnTo>
                      <a:pt x="2740" y="528"/>
                    </a:lnTo>
                    <a:lnTo>
                      <a:pt x="2692" y="506"/>
                    </a:lnTo>
                    <a:lnTo>
                      <a:pt x="2632" y="484"/>
                    </a:lnTo>
                    <a:lnTo>
                      <a:pt x="2561" y="457"/>
                    </a:lnTo>
                    <a:lnTo>
                      <a:pt x="2480" y="424"/>
                    </a:lnTo>
                    <a:lnTo>
                      <a:pt x="2388" y="397"/>
                    </a:lnTo>
                    <a:lnTo>
                      <a:pt x="2203" y="343"/>
                    </a:lnTo>
                    <a:lnTo>
                      <a:pt x="2078" y="310"/>
                    </a:lnTo>
                    <a:lnTo>
                      <a:pt x="1970" y="277"/>
                    </a:lnTo>
                    <a:lnTo>
                      <a:pt x="1878" y="245"/>
                    </a:lnTo>
                    <a:lnTo>
                      <a:pt x="1807" y="212"/>
                    </a:lnTo>
                    <a:lnTo>
                      <a:pt x="1742" y="179"/>
                    </a:lnTo>
                    <a:lnTo>
                      <a:pt x="1693" y="152"/>
                    </a:lnTo>
                    <a:lnTo>
                      <a:pt x="1655" y="125"/>
                    </a:lnTo>
                    <a:lnTo>
                      <a:pt x="1628" y="103"/>
                    </a:lnTo>
                    <a:lnTo>
                      <a:pt x="1606" y="81"/>
                    </a:lnTo>
                    <a:lnTo>
                      <a:pt x="1590" y="60"/>
                    </a:lnTo>
                    <a:lnTo>
                      <a:pt x="1585" y="43"/>
                    </a:lnTo>
                    <a:lnTo>
                      <a:pt x="1579" y="27"/>
                    </a:lnTo>
                    <a:lnTo>
                      <a:pt x="1585" y="5"/>
                    </a:lnTo>
                    <a:lnTo>
                      <a:pt x="1585" y="0"/>
                    </a:lnTo>
                    <a:lnTo>
                      <a:pt x="1568" y="27"/>
                    </a:lnTo>
                    <a:lnTo>
                      <a:pt x="1557" y="49"/>
                    </a:lnTo>
                    <a:lnTo>
                      <a:pt x="1557" y="76"/>
                    </a:lnTo>
                    <a:lnTo>
                      <a:pt x="1568" y="98"/>
                    </a:lnTo>
                    <a:lnTo>
                      <a:pt x="1590" y="120"/>
                    </a:lnTo>
                    <a:lnTo>
                      <a:pt x="1617" y="141"/>
                    </a:lnTo>
                    <a:lnTo>
                      <a:pt x="1650" y="163"/>
                    </a:lnTo>
                    <a:lnTo>
                      <a:pt x="1688" y="185"/>
                    </a:lnTo>
                    <a:lnTo>
                      <a:pt x="1737" y="207"/>
                    </a:lnTo>
                    <a:lnTo>
                      <a:pt x="1791" y="228"/>
                    </a:lnTo>
                    <a:lnTo>
                      <a:pt x="1905" y="267"/>
                    </a:lnTo>
                    <a:lnTo>
                      <a:pt x="2040" y="310"/>
                    </a:lnTo>
                    <a:lnTo>
                      <a:pt x="2182" y="348"/>
                    </a:lnTo>
                    <a:lnTo>
                      <a:pt x="2285" y="381"/>
                    </a:lnTo>
                    <a:lnTo>
                      <a:pt x="2382" y="408"/>
                    </a:lnTo>
                    <a:lnTo>
                      <a:pt x="2464" y="435"/>
                    </a:lnTo>
                    <a:lnTo>
                      <a:pt x="2540" y="462"/>
                    </a:lnTo>
                    <a:lnTo>
                      <a:pt x="2605" y="484"/>
                    </a:lnTo>
                    <a:lnTo>
                      <a:pt x="2659" y="506"/>
                    </a:lnTo>
                    <a:lnTo>
                      <a:pt x="2708" y="528"/>
                    </a:lnTo>
                    <a:lnTo>
                      <a:pt x="2740" y="544"/>
                    </a:lnTo>
                    <a:lnTo>
                      <a:pt x="2768" y="560"/>
                    </a:lnTo>
                    <a:lnTo>
                      <a:pt x="2784" y="577"/>
                    </a:lnTo>
                    <a:lnTo>
                      <a:pt x="2795" y="593"/>
                    </a:lnTo>
                    <a:lnTo>
                      <a:pt x="2800" y="615"/>
                    </a:lnTo>
                    <a:lnTo>
                      <a:pt x="2795" y="642"/>
                    </a:lnTo>
                    <a:lnTo>
                      <a:pt x="2784" y="664"/>
                    </a:lnTo>
                    <a:lnTo>
                      <a:pt x="2762" y="691"/>
                    </a:lnTo>
                    <a:lnTo>
                      <a:pt x="2730" y="713"/>
                    </a:lnTo>
                    <a:lnTo>
                      <a:pt x="2692" y="735"/>
                    </a:lnTo>
                    <a:lnTo>
                      <a:pt x="2643" y="756"/>
                    </a:lnTo>
                    <a:lnTo>
                      <a:pt x="2589" y="778"/>
                    </a:lnTo>
                    <a:lnTo>
                      <a:pt x="2529" y="800"/>
                    </a:lnTo>
                    <a:lnTo>
                      <a:pt x="2458" y="822"/>
                    </a:lnTo>
                    <a:lnTo>
                      <a:pt x="2382" y="843"/>
                    </a:lnTo>
                    <a:lnTo>
                      <a:pt x="2301" y="865"/>
                    </a:lnTo>
                    <a:lnTo>
                      <a:pt x="2214" y="887"/>
                    </a:lnTo>
                    <a:lnTo>
                      <a:pt x="2030" y="930"/>
                    </a:lnTo>
                    <a:lnTo>
                      <a:pt x="1823" y="979"/>
                    </a:lnTo>
                    <a:lnTo>
                      <a:pt x="1606" y="1034"/>
                    </a:lnTo>
                    <a:lnTo>
                      <a:pt x="1378" y="1094"/>
                    </a:lnTo>
                    <a:lnTo>
                      <a:pt x="1145" y="1164"/>
                    </a:lnTo>
                    <a:lnTo>
                      <a:pt x="912" y="1241"/>
                    </a:lnTo>
                    <a:lnTo>
                      <a:pt x="673" y="1328"/>
                    </a:lnTo>
                    <a:lnTo>
                      <a:pt x="440" y="1431"/>
                    </a:lnTo>
                    <a:lnTo>
                      <a:pt x="217" y="1545"/>
                    </a:lnTo>
                    <a:lnTo>
                      <a:pt x="0" y="1671"/>
                    </a:lnTo>
                    <a:lnTo>
                      <a:pt x="353" y="1671"/>
                    </a:lnTo>
                    <a:lnTo>
                      <a:pt x="554" y="1567"/>
                    </a:lnTo>
                    <a:lnTo>
                      <a:pt x="754" y="1469"/>
                    </a:lnTo>
                    <a:lnTo>
                      <a:pt x="955" y="1388"/>
                    </a:lnTo>
                    <a:lnTo>
                      <a:pt x="1145" y="1311"/>
                    </a:lnTo>
                    <a:lnTo>
                      <a:pt x="1335" y="1241"/>
                    </a:lnTo>
                    <a:lnTo>
                      <a:pt x="1519" y="1186"/>
                    </a:lnTo>
                    <a:lnTo>
                      <a:pt x="1693" y="1132"/>
                    </a:lnTo>
                    <a:lnTo>
                      <a:pt x="1861" y="1083"/>
                    </a:lnTo>
                    <a:lnTo>
                      <a:pt x="2019" y="1045"/>
                    </a:lnTo>
                    <a:lnTo>
                      <a:pt x="2165" y="1007"/>
                    </a:lnTo>
                    <a:lnTo>
                      <a:pt x="2301" y="974"/>
                    </a:lnTo>
                    <a:lnTo>
                      <a:pt x="2426" y="947"/>
                    </a:lnTo>
                    <a:lnTo>
                      <a:pt x="2534" y="914"/>
                    </a:lnTo>
                    <a:lnTo>
                      <a:pt x="2626" y="892"/>
                    </a:lnTo>
                    <a:lnTo>
                      <a:pt x="2702" y="865"/>
                    </a:lnTo>
                    <a:lnTo>
                      <a:pt x="2762" y="838"/>
                    </a:lnTo>
                    <a:lnTo>
                      <a:pt x="2800" y="816"/>
                    </a:lnTo>
                    <a:lnTo>
                      <a:pt x="2827" y="794"/>
                    </a:lnTo>
                    <a:lnTo>
                      <a:pt x="2849" y="767"/>
                    </a:lnTo>
                    <a:lnTo>
                      <a:pt x="2865" y="745"/>
                    </a:lnTo>
                    <a:lnTo>
                      <a:pt x="2876" y="724"/>
                    </a:lnTo>
                    <a:lnTo>
                      <a:pt x="2882" y="702"/>
                    </a:lnTo>
                    <a:lnTo>
                      <a:pt x="2876" y="658"/>
                    </a:lnTo>
                    <a:lnTo>
                      <a:pt x="2854" y="620"/>
                    </a:lnTo>
                    <a:lnTo>
                      <a:pt x="2833" y="588"/>
                    </a:lnTo>
                    <a:lnTo>
                      <a:pt x="2800" y="560"/>
                    </a:lnTo>
                    <a:lnTo>
                      <a:pt x="2773" y="544"/>
                    </a:lnTo>
                    <a:lnTo>
                      <a:pt x="2773" y="544"/>
                    </a:lnTo>
                    <a:close/>
                  </a:path>
                </a:pathLst>
              </a:custGeom>
              <a:gradFill rotWithShape="0">
                <a:gsLst>
                  <a:gs pos="0">
                    <a:schemeClr val="bg1"/>
                  </a:gs>
                  <a:gs pos="100000">
                    <a:schemeClr val="bg1">
                      <a:gamma/>
                      <a:shade val="90980"/>
                      <a:invGamma/>
                    </a:schemeClr>
                  </a:gs>
                </a:gsLst>
                <a:lin ang="0" scaled="1"/>
              </a:gradFill>
              <a:ln w="9525">
                <a:noFill/>
                <a:round/>
                <a:headEnd/>
                <a:tailEnd/>
              </a:ln>
            </p:spPr>
            <p:txBody>
              <a:bodyPr/>
              <a:lstStyle/>
              <a:p>
                <a:pPr eaLnBrk="0" hangingPunct="0">
                  <a:defRPr/>
                </a:pPr>
                <a:endParaRPr lang="en-US" sz="1800">
                  <a:solidFill>
                    <a:srgbClr val="FFFFFF"/>
                  </a:solidFill>
                  <a:latin typeface="+mn-lt"/>
                  <a:cs typeface="+mn-cs"/>
                </a:endParaRPr>
              </a:p>
            </p:txBody>
          </p:sp>
          <p:sp>
            <p:nvSpPr>
              <p:cNvPr id="10" name="Freeform 7">
                <a:extLst>
                  <a:ext uri="{FF2B5EF4-FFF2-40B4-BE49-F238E27FC236}">
                    <a16:creationId xmlns:a16="http://schemas.microsoft.com/office/drawing/2014/main" id="{8616DDCF-B56D-4E54-B416-4A582CC08121}"/>
                  </a:ext>
                </a:extLst>
              </p:cNvPr>
              <p:cNvSpPr>
                <a:spLocks/>
              </p:cNvSpPr>
              <p:nvPr/>
            </p:nvSpPr>
            <p:spPr bwMode="hidden">
              <a:xfrm>
                <a:off x="4170" y="2671"/>
                <a:ext cx="1259" cy="811"/>
              </a:xfrm>
              <a:custGeom>
                <a:avLst/>
                <a:gdLst/>
                <a:ahLst/>
                <a:cxnLst>
                  <a:cxn ang="0">
                    <a:pos x="1259" y="615"/>
                  </a:cxn>
                  <a:cxn ang="0">
                    <a:pos x="1248" y="588"/>
                  </a:cxn>
                  <a:cxn ang="0">
                    <a:pos x="1237" y="566"/>
                  </a:cxn>
                  <a:cxn ang="0">
                    <a:pos x="1216" y="539"/>
                  </a:cxn>
                  <a:cxn ang="0">
                    <a:pos x="1188" y="517"/>
                  </a:cxn>
                  <a:cxn ang="0">
                    <a:pos x="1123" y="479"/>
                  </a:cxn>
                  <a:cxn ang="0">
                    <a:pos x="1042" y="441"/>
                  </a:cxn>
                  <a:cxn ang="0">
                    <a:pos x="944" y="408"/>
                  </a:cxn>
                  <a:cxn ang="0">
                    <a:pos x="841" y="381"/>
                  </a:cxn>
                  <a:cxn ang="0">
                    <a:pos x="727" y="348"/>
                  </a:cxn>
                  <a:cxn ang="0">
                    <a:pos x="613" y="321"/>
                  </a:cxn>
                  <a:cxn ang="0">
                    <a:pos x="499" y="294"/>
                  </a:cxn>
                  <a:cxn ang="0">
                    <a:pos x="391" y="261"/>
                  </a:cxn>
                  <a:cxn ang="0">
                    <a:pos x="288" y="229"/>
                  </a:cxn>
                  <a:cxn ang="0">
                    <a:pos x="195" y="196"/>
                  </a:cxn>
                  <a:cxn ang="0">
                    <a:pos x="119" y="152"/>
                  </a:cxn>
                  <a:cxn ang="0">
                    <a:pos x="54" y="109"/>
                  </a:cxn>
                  <a:cxn ang="0">
                    <a:pos x="33" y="87"/>
                  </a:cxn>
                  <a:cxn ang="0">
                    <a:pos x="16" y="60"/>
                  </a:cxn>
                  <a:cxn ang="0">
                    <a:pos x="5" y="33"/>
                  </a:cxn>
                  <a:cxn ang="0">
                    <a:pos x="0" y="0"/>
                  </a:cxn>
                  <a:cxn ang="0">
                    <a:pos x="0" y="6"/>
                  </a:cxn>
                  <a:cxn ang="0">
                    <a:pos x="0" y="11"/>
                  </a:cxn>
                  <a:cxn ang="0">
                    <a:pos x="0" y="38"/>
                  </a:cxn>
                  <a:cxn ang="0">
                    <a:pos x="5" y="60"/>
                  </a:cxn>
                  <a:cxn ang="0">
                    <a:pos x="16" y="87"/>
                  </a:cxn>
                  <a:cxn ang="0">
                    <a:pos x="33" y="114"/>
                  </a:cxn>
                  <a:cxn ang="0">
                    <a:pos x="54" y="142"/>
                  </a:cxn>
                  <a:cxn ang="0">
                    <a:pos x="87" y="174"/>
                  </a:cxn>
                  <a:cxn ang="0">
                    <a:pos x="125" y="207"/>
                  </a:cxn>
                  <a:cxn ang="0">
                    <a:pos x="179" y="240"/>
                  </a:cxn>
                  <a:cxn ang="0">
                    <a:pos x="244" y="278"/>
                  </a:cxn>
                  <a:cxn ang="0">
                    <a:pos x="326" y="310"/>
                  </a:cxn>
                  <a:cxn ang="0">
                    <a:pos x="418" y="348"/>
                  </a:cxn>
                  <a:cxn ang="0">
                    <a:pos x="526" y="381"/>
                  </a:cxn>
                  <a:cxn ang="0">
                    <a:pos x="657" y="414"/>
                  </a:cxn>
                  <a:cxn ang="0">
                    <a:pos x="749" y="435"/>
                  </a:cxn>
                  <a:cxn ang="0">
                    <a:pos x="830" y="463"/>
                  </a:cxn>
                  <a:cxn ang="0">
                    <a:pos x="901" y="490"/>
                  </a:cxn>
                  <a:cxn ang="0">
                    <a:pos x="966" y="512"/>
                  </a:cxn>
                  <a:cxn ang="0">
                    <a:pos x="1015" y="539"/>
                  </a:cxn>
                  <a:cxn ang="0">
                    <a:pos x="1053" y="566"/>
                  </a:cxn>
                  <a:cxn ang="0">
                    <a:pos x="1080" y="593"/>
                  </a:cxn>
                  <a:cxn ang="0">
                    <a:pos x="1102" y="620"/>
                  </a:cxn>
                  <a:cxn ang="0">
                    <a:pos x="1112" y="648"/>
                  </a:cxn>
                  <a:cxn ang="0">
                    <a:pos x="1118" y="675"/>
                  </a:cxn>
                  <a:cxn ang="0">
                    <a:pos x="1112" y="697"/>
                  </a:cxn>
                  <a:cxn ang="0">
                    <a:pos x="1096" y="724"/>
                  </a:cxn>
                  <a:cxn ang="0">
                    <a:pos x="1080" y="746"/>
                  </a:cxn>
                  <a:cxn ang="0">
                    <a:pos x="1053" y="767"/>
                  </a:cxn>
                  <a:cxn ang="0">
                    <a:pos x="1015" y="789"/>
                  </a:cxn>
                  <a:cxn ang="0">
                    <a:pos x="977" y="811"/>
                  </a:cxn>
                  <a:cxn ang="0">
                    <a:pos x="1047" y="789"/>
                  </a:cxn>
                  <a:cxn ang="0">
                    <a:pos x="1107" y="767"/>
                  </a:cxn>
                  <a:cxn ang="0">
                    <a:pos x="1156" y="746"/>
                  </a:cxn>
                  <a:cxn ang="0">
                    <a:pos x="1199" y="724"/>
                  </a:cxn>
                  <a:cxn ang="0">
                    <a:pos x="1226" y="702"/>
                  </a:cxn>
                  <a:cxn ang="0">
                    <a:pos x="1248" y="675"/>
                  </a:cxn>
                  <a:cxn ang="0">
                    <a:pos x="1259" y="648"/>
                  </a:cxn>
                  <a:cxn ang="0">
                    <a:pos x="1259" y="615"/>
                  </a:cxn>
                  <a:cxn ang="0">
                    <a:pos x="1259" y="615"/>
                  </a:cxn>
                </a:cxnLst>
                <a:rect l="0" t="0" r="r" b="b"/>
                <a:pathLst>
                  <a:path w="1259" h="811">
                    <a:moveTo>
                      <a:pt x="1259" y="615"/>
                    </a:moveTo>
                    <a:lnTo>
                      <a:pt x="1248" y="588"/>
                    </a:lnTo>
                    <a:lnTo>
                      <a:pt x="1237" y="566"/>
                    </a:lnTo>
                    <a:lnTo>
                      <a:pt x="1216" y="539"/>
                    </a:lnTo>
                    <a:lnTo>
                      <a:pt x="1188" y="517"/>
                    </a:lnTo>
                    <a:lnTo>
                      <a:pt x="1123" y="479"/>
                    </a:lnTo>
                    <a:lnTo>
                      <a:pt x="1042" y="441"/>
                    </a:lnTo>
                    <a:lnTo>
                      <a:pt x="944" y="408"/>
                    </a:lnTo>
                    <a:lnTo>
                      <a:pt x="841" y="381"/>
                    </a:lnTo>
                    <a:lnTo>
                      <a:pt x="727" y="348"/>
                    </a:lnTo>
                    <a:lnTo>
                      <a:pt x="613" y="321"/>
                    </a:lnTo>
                    <a:lnTo>
                      <a:pt x="499" y="294"/>
                    </a:lnTo>
                    <a:lnTo>
                      <a:pt x="391" y="261"/>
                    </a:lnTo>
                    <a:lnTo>
                      <a:pt x="288" y="229"/>
                    </a:lnTo>
                    <a:lnTo>
                      <a:pt x="195" y="196"/>
                    </a:lnTo>
                    <a:lnTo>
                      <a:pt x="119" y="152"/>
                    </a:lnTo>
                    <a:lnTo>
                      <a:pt x="54" y="109"/>
                    </a:lnTo>
                    <a:lnTo>
                      <a:pt x="33" y="87"/>
                    </a:lnTo>
                    <a:lnTo>
                      <a:pt x="16" y="60"/>
                    </a:lnTo>
                    <a:lnTo>
                      <a:pt x="5" y="33"/>
                    </a:lnTo>
                    <a:lnTo>
                      <a:pt x="0" y="0"/>
                    </a:lnTo>
                    <a:lnTo>
                      <a:pt x="0" y="6"/>
                    </a:lnTo>
                    <a:lnTo>
                      <a:pt x="0" y="11"/>
                    </a:lnTo>
                    <a:lnTo>
                      <a:pt x="0" y="38"/>
                    </a:lnTo>
                    <a:lnTo>
                      <a:pt x="5" y="60"/>
                    </a:lnTo>
                    <a:lnTo>
                      <a:pt x="16" y="87"/>
                    </a:lnTo>
                    <a:lnTo>
                      <a:pt x="33" y="114"/>
                    </a:lnTo>
                    <a:lnTo>
                      <a:pt x="54" y="142"/>
                    </a:lnTo>
                    <a:lnTo>
                      <a:pt x="87" y="174"/>
                    </a:lnTo>
                    <a:lnTo>
                      <a:pt x="125" y="207"/>
                    </a:lnTo>
                    <a:lnTo>
                      <a:pt x="179" y="240"/>
                    </a:lnTo>
                    <a:lnTo>
                      <a:pt x="244" y="278"/>
                    </a:lnTo>
                    <a:lnTo>
                      <a:pt x="326" y="310"/>
                    </a:lnTo>
                    <a:lnTo>
                      <a:pt x="418" y="348"/>
                    </a:lnTo>
                    <a:lnTo>
                      <a:pt x="526" y="381"/>
                    </a:lnTo>
                    <a:lnTo>
                      <a:pt x="657" y="414"/>
                    </a:lnTo>
                    <a:lnTo>
                      <a:pt x="749" y="435"/>
                    </a:lnTo>
                    <a:lnTo>
                      <a:pt x="830" y="463"/>
                    </a:lnTo>
                    <a:lnTo>
                      <a:pt x="901" y="490"/>
                    </a:lnTo>
                    <a:lnTo>
                      <a:pt x="966" y="512"/>
                    </a:lnTo>
                    <a:lnTo>
                      <a:pt x="1015" y="539"/>
                    </a:lnTo>
                    <a:lnTo>
                      <a:pt x="1053" y="566"/>
                    </a:lnTo>
                    <a:lnTo>
                      <a:pt x="1080" y="593"/>
                    </a:lnTo>
                    <a:lnTo>
                      <a:pt x="1102" y="620"/>
                    </a:lnTo>
                    <a:lnTo>
                      <a:pt x="1112" y="648"/>
                    </a:lnTo>
                    <a:lnTo>
                      <a:pt x="1118" y="675"/>
                    </a:lnTo>
                    <a:lnTo>
                      <a:pt x="1112" y="697"/>
                    </a:lnTo>
                    <a:lnTo>
                      <a:pt x="1096" y="724"/>
                    </a:lnTo>
                    <a:lnTo>
                      <a:pt x="1080" y="746"/>
                    </a:lnTo>
                    <a:lnTo>
                      <a:pt x="1053" y="767"/>
                    </a:lnTo>
                    <a:lnTo>
                      <a:pt x="1015" y="789"/>
                    </a:lnTo>
                    <a:lnTo>
                      <a:pt x="977" y="811"/>
                    </a:lnTo>
                    <a:lnTo>
                      <a:pt x="1047" y="789"/>
                    </a:lnTo>
                    <a:lnTo>
                      <a:pt x="1107" y="767"/>
                    </a:lnTo>
                    <a:lnTo>
                      <a:pt x="1156" y="746"/>
                    </a:lnTo>
                    <a:lnTo>
                      <a:pt x="1199" y="724"/>
                    </a:lnTo>
                    <a:lnTo>
                      <a:pt x="1226" y="702"/>
                    </a:lnTo>
                    <a:lnTo>
                      <a:pt x="1248" y="675"/>
                    </a:lnTo>
                    <a:lnTo>
                      <a:pt x="1259" y="648"/>
                    </a:lnTo>
                    <a:lnTo>
                      <a:pt x="1259" y="615"/>
                    </a:lnTo>
                    <a:lnTo>
                      <a:pt x="1259" y="615"/>
                    </a:lnTo>
                    <a:close/>
                  </a:path>
                </a:pathLst>
              </a:custGeom>
              <a:gradFill rotWithShape="0">
                <a:gsLst>
                  <a:gs pos="0">
                    <a:schemeClr val="bg1"/>
                  </a:gs>
                  <a:gs pos="100000">
                    <a:schemeClr val="bg1">
                      <a:gamma/>
                      <a:shade val="90980"/>
                      <a:invGamma/>
                    </a:schemeClr>
                  </a:gs>
                </a:gsLst>
                <a:lin ang="2700000" scaled="1"/>
              </a:gradFill>
              <a:ln w="9525">
                <a:noFill/>
                <a:round/>
                <a:headEnd/>
                <a:tailEnd/>
              </a:ln>
            </p:spPr>
            <p:txBody>
              <a:bodyPr/>
              <a:lstStyle/>
              <a:p>
                <a:pPr eaLnBrk="0" hangingPunct="0">
                  <a:defRPr/>
                </a:pPr>
                <a:endParaRPr lang="en-US" sz="1800">
                  <a:solidFill>
                    <a:srgbClr val="FFFFFF"/>
                  </a:solidFill>
                  <a:latin typeface="+mn-lt"/>
                  <a:cs typeface="+mn-cs"/>
                </a:endParaRPr>
              </a:p>
            </p:txBody>
          </p:sp>
          <p:sp>
            <p:nvSpPr>
              <p:cNvPr id="11" name="Freeform 8">
                <a:extLst>
                  <a:ext uri="{FF2B5EF4-FFF2-40B4-BE49-F238E27FC236}">
                    <a16:creationId xmlns:a16="http://schemas.microsoft.com/office/drawing/2014/main" id="{140BEA08-E0BE-4ADE-9654-5F4068F4C62F}"/>
                  </a:ext>
                </a:extLst>
              </p:cNvPr>
              <p:cNvSpPr>
                <a:spLocks/>
              </p:cNvSpPr>
              <p:nvPr/>
            </p:nvSpPr>
            <p:spPr bwMode="hidden">
              <a:xfrm>
                <a:off x="2900" y="3346"/>
                <a:ext cx="2849" cy="969"/>
              </a:xfrm>
              <a:custGeom>
                <a:avLst/>
                <a:gdLst/>
                <a:ahLst/>
                <a:cxnLst>
                  <a:cxn ang="0">
                    <a:pos x="92" y="958"/>
                  </a:cxn>
                  <a:cxn ang="0">
                    <a:pos x="0" y="969"/>
                  </a:cxn>
                  <a:cxn ang="0">
                    <a:pos x="391" y="969"/>
                  </a:cxn>
                  <a:cxn ang="0">
                    <a:pos x="434" y="947"/>
                  </a:cxn>
                  <a:cxn ang="0">
                    <a:pos x="483" y="914"/>
                  </a:cxn>
                  <a:cxn ang="0">
                    <a:pos x="554" y="876"/>
                  </a:cxn>
                  <a:cxn ang="0">
                    <a:pos x="635" y="838"/>
                  </a:cxn>
                  <a:cxn ang="0">
                    <a:pos x="727" y="794"/>
                  </a:cxn>
                  <a:cxn ang="0">
                    <a:pos x="836" y="745"/>
                  </a:cxn>
                  <a:cxn ang="0">
                    <a:pos x="961" y="696"/>
                  </a:cxn>
                  <a:cxn ang="0">
                    <a:pos x="1102" y="642"/>
                  </a:cxn>
                  <a:cxn ang="0">
                    <a:pos x="1259" y="582"/>
                  </a:cxn>
                  <a:cxn ang="0">
                    <a:pos x="1433" y="522"/>
                  </a:cxn>
                  <a:cxn ang="0">
                    <a:pos x="1623" y="462"/>
                  </a:cxn>
                  <a:cxn ang="0">
                    <a:pos x="1829" y="403"/>
                  </a:cxn>
                  <a:cxn ang="0">
                    <a:pos x="2057" y="343"/>
                  </a:cxn>
                  <a:cxn ang="0">
                    <a:pos x="2301" y="283"/>
                  </a:cxn>
                  <a:cxn ang="0">
                    <a:pos x="2567" y="223"/>
                  </a:cxn>
                  <a:cxn ang="0">
                    <a:pos x="2849" y="163"/>
                  </a:cxn>
                  <a:cxn ang="0">
                    <a:pos x="2849" y="0"/>
                  </a:cxn>
                  <a:cxn ang="0">
                    <a:pos x="2817" y="16"/>
                  </a:cxn>
                  <a:cxn ang="0">
                    <a:pos x="2773" y="33"/>
                  </a:cxn>
                  <a:cxn ang="0">
                    <a:pos x="2719" y="54"/>
                  </a:cxn>
                  <a:cxn ang="0">
                    <a:pos x="2648" y="76"/>
                  </a:cxn>
                  <a:cxn ang="0">
                    <a:pos x="2572" y="98"/>
                  </a:cxn>
                  <a:cxn ang="0">
                    <a:pos x="2491" y="120"/>
                  </a:cxn>
                  <a:cxn ang="0">
                    <a:pos x="2399" y="147"/>
                  </a:cxn>
                  <a:cxn ang="0">
                    <a:pos x="2301" y="169"/>
                  </a:cxn>
                  <a:cxn ang="0">
                    <a:pos x="2095" y="223"/>
                  </a:cxn>
                  <a:cxn ang="0">
                    <a:pos x="1889" y="277"/>
                  </a:cxn>
                  <a:cxn ang="0">
                    <a:pos x="1688" y="326"/>
                  </a:cxn>
                  <a:cxn ang="0">
                    <a:pos x="1590" y="354"/>
                  </a:cxn>
                  <a:cxn ang="0">
                    <a:pos x="1503" y="381"/>
                  </a:cxn>
                  <a:cxn ang="0">
                    <a:pos x="1107" y="506"/>
                  </a:cxn>
                  <a:cxn ang="0">
                    <a:pos x="912" y="577"/>
                  </a:cxn>
                  <a:cxn ang="0">
                    <a:pos x="727" y="647"/>
                  </a:cxn>
                  <a:cxn ang="0">
                    <a:pos x="548" y="718"/>
                  </a:cxn>
                  <a:cxn ang="0">
                    <a:pos x="380" y="794"/>
                  </a:cxn>
                  <a:cxn ang="0">
                    <a:pos x="228" y="876"/>
                  </a:cxn>
                  <a:cxn ang="0">
                    <a:pos x="92" y="958"/>
                  </a:cxn>
                  <a:cxn ang="0">
                    <a:pos x="92" y="958"/>
                  </a:cxn>
                </a:cxnLst>
                <a:rect l="0" t="0" r="r" b="b"/>
                <a:pathLst>
                  <a:path w="2849" h="969">
                    <a:moveTo>
                      <a:pt x="92" y="958"/>
                    </a:moveTo>
                    <a:lnTo>
                      <a:pt x="0" y="969"/>
                    </a:lnTo>
                    <a:lnTo>
                      <a:pt x="391" y="969"/>
                    </a:lnTo>
                    <a:lnTo>
                      <a:pt x="434" y="947"/>
                    </a:lnTo>
                    <a:lnTo>
                      <a:pt x="483" y="914"/>
                    </a:lnTo>
                    <a:lnTo>
                      <a:pt x="554" y="876"/>
                    </a:lnTo>
                    <a:lnTo>
                      <a:pt x="635" y="838"/>
                    </a:lnTo>
                    <a:lnTo>
                      <a:pt x="727" y="794"/>
                    </a:lnTo>
                    <a:lnTo>
                      <a:pt x="836" y="745"/>
                    </a:lnTo>
                    <a:lnTo>
                      <a:pt x="961" y="696"/>
                    </a:lnTo>
                    <a:lnTo>
                      <a:pt x="1102" y="642"/>
                    </a:lnTo>
                    <a:lnTo>
                      <a:pt x="1259" y="582"/>
                    </a:lnTo>
                    <a:lnTo>
                      <a:pt x="1433" y="522"/>
                    </a:lnTo>
                    <a:lnTo>
                      <a:pt x="1623" y="462"/>
                    </a:lnTo>
                    <a:lnTo>
                      <a:pt x="1829" y="403"/>
                    </a:lnTo>
                    <a:lnTo>
                      <a:pt x="2057" y="343"/>
                    </a:lnTo>
                    <a:lnTo>
                      <a:pt x="2301" y="283"/>
                    </a:lnTo>
                    <a:lnTo>
                      <a:pt x="2567" y="223"/>
                    </a:lnTo>
                    <a:lnTo>
                      <a:pt x="2849" y="163"/>
                    </a:lnTo>
                    <a:lnTo>
                      <a:pt x="2849" y="0"/>
                    </a:lnTo>
                    <a:lnTo>
                      <a:pt x="2817" y="16"/>
                    </a:lnTo>
                    <a:lnTo>
                      <a:pt x="2773" y="33"/>
                    </a:lnTo>
                    <a:lnTo>
                      <a:pt x="2719" y="54"/>
                    </a:lnTo>
                    <a:lnTo>
                      <a:pt x="2648" y="76"/>
                    </a:lnTo>
                    <a:lnTo>
                      <a:pt x="2572" y="98"/>
                    </a:lnTo>
                    <a:lnTo>
                      <a:pt x="2491" y="120"/>
                    </a:lnTo>
                    <a:lnTo>
                      <a:pt x="2399" y="147"/>
                    </a:lnTo>
                    <a:lnTo>
                      <a:pt x="2301" y="169"/>
                    </a:lnTo>
                    <a:lnTo>
                      <a:pt x="2095" y="223"/>
                    </a:lnTo>
                    <a:lnTo>
                      <a:pt x="1889" y="277"/>
                    </a:lnTo>
                    <a:lnTo>
                      <a:pt x="1688" y="326"/>
                    </a:lnTo>
                    <a:lnTo>
                      <a:pt x="1590" y="354"/>
                    </a:lnTo>
                    <a:lnTo>
                      <a:pt x="1503" y="381"/>
                    </a:lnTo>
                    <a:lnTo>
                      <a:pt x="1107" y="506"/>
                    </a:lnTo>
                    <a:lnTo>
                      <a:pt x="912" y="577"/>
                    </a:lnTo>
                    <a:lnTo>
                      <a:pt x="727" y="647"/>
                    </a:lnTo>
                    <a:lnTo>
                      <a:pt x="548" y="718"/>
                    </a:lnTo>
                    <a:lnTo>
                      <a:pt x="380" y="794"/>
                    </a:lnTo>
                    <a:lnTo>
                      <a:pt x="228" y="876"/>
                    </a:lnTo>
                    <a:lnTo>
                      <a:pt x="92" y="958"/>
                    </a:lnTo>
                    <a:lnTo>
                      <a:pt x="92" y="958"/>
                    </a:lnTo>
                    <a:close/>
                  </a:path>
                </a:pathLst>
              </a:custGeom>
              <a:gradFill rotWithShape="0">
                <a:gsLst>
                  <a:gs pos="0">
                    <a:schemeClr val="bg1">
                      <a:gamma/>
                      <a:shade val="81961"/>
                      <a:invGamma/>
                    </a:schemeClr>
                  </a:gs>
                  <a:gs pos="100000">
                    <a:schemeClr val="bg1"/>
                  </a:gs>
                </a:gsLst>
                <a:lin ang="5400000" scaled="1"/>
              </a:gradFill>
              <a:ln w="9525">
                <a:noFill/>
                <a:round/>
                <a:headEnd/>
                <a:tailEnd/>
              </a:ln>
            </p:spPr>
            <p:txBody>
              <a:bodyPr/>
              <a:lstStyle/>
              <a:p>
                <a:pPr eaLnBrk="0" hangingPunct="0">
                  <a:defRPr/>
                </a:pPr>
                <a:endParaRPr lang="en-US" sz="1800">
                  <a:solidFill>
                    <a:srgbClr val="FFFFFF"/>
                  </a:solidFill>
                  <a:latin typeface="+mn-lt"/>
                  <a:cs typeface="+mn-cs"/>
                </a:endParaRPr>
              </a:p>
            </p:txBody>
          </p:sp>
          <p:sp>
            <p:nvSpPr>
              <p:cNvPr id="12" name="Freeform 9">
                <a:extLst>
                  <a:ext uri="{FF2B5EF4-FFF2-40B4-BE49-F238E27FC236}">
                    <a16:creationId xmlns:a16="http://schemas.microsoft.com/office/drawing/2014/main" id="{D325A653-AC08-478D-9953-6E3C165F6F3C}"/>
                  </a:ext>
                </a:extLst>
              </p:cNvPr>
              <p:cNvSpPr>
                <a:spLocks/>
              </p:cNvSpPr>
              <p:nvPr/>
            </p:nvSpPr>
            <p:spPr bwMode="hidden">
              <a:xfrm>
                <a:off x="2748" y="2230"/>
                <a:ext cx="3007" cy="2085"/>
              </a:xfrm>
              <a:custGeom>
                <a:avLst/>
                <a:gdLst>
                  <a:gd name="T0" fmla="*/ 1433 w 3007"/>
                  <a:gd name="T1" fmla="*/ 474 h 2085"/>
                  <a:gd name="T2" fmla="*/ 1460 w 3007"/>
                  <a:gd name="T3" fmla="*/ 528 h 2085"/>
                  <a:gd name="T4" fmla="*/ 1541 w 3007"/>
                  <a:gd name="T5" fmla="*/ 593 h 2085"/>
                  <a:gd name="T6" fmla="*/ 1715 w 3007"/>
                  <a:gd name="T7" fmla="*/ 670 h 2085"/>
                  <a:gd name="T8" fmla="*/ 1927 w 3007"/>
                  <a:gd name="T9" fmla="*/ 735 h 2085"/>
                  <a:gd name="T10" fmla="*/ 2155 w 3007"/>
                  <a:gd name="T11" fmla="*/ 789 h 2085"/>
                  <a:gd name="T12" fmla="*/ 2372 w 3007"/>
                  <a:gd name="T13" fmla="*/ 849 h 2085"/>
                  <a:gd name="T14" fmla="*/ 2551 w 3007"/>
                  <a:gd name="T15" fmla="*/ 920 h 2085"/>
                  <a:gd name="T16" fmla="*/ 2638 w 3007"/>
                  <a:gd name="T17" fmla="*/ 980 h 2085"/>
                  <a:gd name="T18" fmla="*/ 2676 w 3007"/>
                  <a:gd name="T19" fmla="*/ 1029 h 2085"/>
                  <a:gd name="T20" fmla="*/ 2681 w 3007"/>
                  <a:gd name="T21" fmla="*/ 1083 h 2085"/>
                  <a:gd name="T22" fmla="*/ 2665 w 3007"/>
                  <a:gd name="T23" fmla="*/ 1127 h 2085"/>
                  <a:gd name="T24" fmla="*/ 2616 w 3007"/>
                  <a:gd name="T25" fmla="*/ 1170 h 2085"/>
                  <a:gd name="T26" fmla="*/ 2545 w 3007"/>
                  <a:gd name="T27" fmla="*/ 1208 h 2085"/>
                  <a:gd name="T28" fmla="*/ 2448 w 3007"/>
                  <a:gd name="T29" fmla="*/ 1241 h 2085"/>
                  <a:gd name="T30" fmla="*/ 2328 w 3007"/>
                  <a:gd name="T31" fmla="*/ 1274 h 2085"/>
                  <a:gd name="T32" fmla="*/ 2106 w 3007"/>
                  <a:gd name="T33" fmla="*/ 1328 h 2085"/>
                  <a:gd name="T34" fmla="*/ 1742 w 3007"/>
                  <a:gd name="T35" fmla="*/ 1421 h 2085"/>
                  <a:gd name="T36" fmla="*/ 1308 w 3007"/>
                  <a:gd name="T37" fmla="*/ 1540 h 2085"/>
                  <a:gd name="T38" fmla="*/ 820 w 3007"/>
                  <a:gd name="T39" fmla="*/ 1709 h 2085"/>
                  <a:gd name="T40" fmla="*/ 282 w 3007"/>
                  <a:gd name="T41" fmla="*/ 1943 h 2085"/>
                  <a:gd name="T42" fmla="*/ 152 w 3007"/>
                  <a:gd name="T43" fmla="*/ 2085 h 2085"/>
                  <a:gd name="T44" fmla="*/ 386 w 3007"/>
                  <a:gd name="T45" fmla="*/ 1992 h 2085"/>
                  <a:gd name="T46" fmla="*/ 700 w 3007"/>
                  <a:gd name="T47" fmla="*/ 1834 h 2085"/>
                  <a:gd name="T48" fmla="*/ 1064 w 3007"/>
                  <a:gd name="T49" fmla="*/ 1693 h 2085"/>
                  <a:gd name="T50" fmla="*/ 1661 w 3007"/>
                  <a:gd name="T51" fmla="*/ 1497 h 2085"/>
                  <a:gd name="T52" fmla="*/ 1845 w 3007"/>
                  <a:gd name="T53" fmla="*/ 1442 h 2085"/>
                  <a:gd name="T54" fmla="*/ 2252 w 3007"/>
                  <a:gd name="T55" fmla="*/ 1339 h 2085"/>
                  <a:gd name="T56" fmla="*/ 2551 w 3007"/>
                  <a:gd name="T57" fmla="*/ 1263 h 2085"/>
                  <a:gd name="T58" fmla="*/ 2730 w 3007"/>
                  <a:gd name="T59" fmla="*/ 1214 h 2085"/>
                  <a:gd name="T60" fmla="*/ 2876 w 3007"/>
                  <a:gd name="T61" fmla="*/ 1170 h 2085"/>
                  <a:gd name="T62" fmla="*/ 2974 w 3007"/>
                  <a:gd name="T63" fmla="*/ 1132 h 2085"/>
                  <a:gd name="T64" fmla="*/ 3007 w 3007"/>
                  <a:gd name="T65" fmla="*/ 871 h 2085"/>
                  <a:gd name="T66" fmla="*/ 2860 w 3007"/>
                  <a:gd name="T67" fmla="*/ 844 h 2085"/>
                  <a:gd name="T68" fmla="*/ 2670 w 3007"/>
                  <a:gd name="T69" fmla="*/ 806 h 2085"/>
                  <a:gd name="T70" fmla="*/ 2458 w 3007"/>
                  <a:gd name="T71" fmla="*/ 757 h 2085"/>
                  <a:gd name="T72" fmla="*/ 2138 w 3007"/>
                  <a:gd name="T73" fmla="*/ 670 h 2085"/>
                  <a:gd name="T74" fmla="*/ 1959 w 3007"/>
                  <a:gd name="T75" fmla="*/ 604 h 2085"/>
                  <a:gd name="T76" fmla="*/ 1824 w 3007"/>
                  <a:gd name="T77" fmla="*/ 534 h 2085"/>
                  <a:gd name="T78" fmla="*/ 1769 w 3007"/>
                  <a:gd name="T79" fmla="*/ 474 h 2085"/>
                  <a:gd name="T80" fmla="*/ 1753 w 3007"/>
                  <a:gd name="T81" fmla="*/ 436 h 2085"/>
                  <a:gd name="T82" fmla="*/ 1780 w 3007"/>
                  <a:gd name="T83" fmla="*/ 381 h 2085"/>
                  <a:gd name="T84" fmla="*/ 1862 w 3007"/>
                  <a:gd name="T85" fmla="*/ 316 h 2085"/>
                  <a:gd name="T86" fmla="*/ 1986 w 3007"/>
                  <a:gd name="T87" fmla="*/ 267 h 2085"/>
                  <a:gd name="T88" fmla="*/ 2149 w 3007"/>
                  <a:gd name="T89" fmla="*/ 229 h 2085"/>
                  <a:gd name="T90" fmla="*/ 2431 w 3007"/>
                  <a:gd name="T91" fmla="*/ 180 h 2085"/>
                  <a:gd name="T92" fmla="*/ 2827 w 3007"/>
                  <a:gd name="T93" fmla="*/ 125 h 2085"/>
                  <a:gd name="T94" fmla="*/ 3007 w 3007"/>
                  <a:gd name="T95" fmla="*/ 87 h 2085"/>
                  <a:gd name="T96" fmla="*/ 2909 w 3007"/>
                  <a:gd name="T97" fmla="*/ 22 h 2085"/>
                  <a:gd name="T98" fmla="*/ 2676 w 3007"/>
                  <a:gd name="T99" fmla="*/ 66 h 2085"/>
                  <a:gd name="T100" fmla="*/ 2285 w 3007"/>
                  <a:gd name="T101" fmla="*/ 120 h 2085"/>
                  <a:gd name="T102" fmla="*/ 2030 w 3007"/>
                  <a:gd name="T103" fmla="*/ 158 h 2085"/>
                  <a:gd name="T104" fmla="*/ 1791 w 3007"/>
                  <a:gd name="T105" fmla="*/ 202 h 2085"/>
                  <a:gd name="T106" fmla="*/ 1601 w 3007"/>
                  <a:gd name="T107" fmla="*/ 261 h 2085"/>
                  <a:gd name="T108" fmla="*/ 1471 w 3007"/>
                  <a:gd name="T109" fmla="*/ 338 h 2085"/>
                  <a:gd name="T110" fmla="*/ 1438 w 3007"/>
                  <a:gd name="T111" fmla="*/ 387 h 2085"/>
                  <a:gd name="T112" fmla="*/ 1427 w 3007"/>
                  <a:gd name="T113" fmla="*/ 441 h 2085"/>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3007" h="2085">
                    <a:moveTo>
                      <a:pt x="1427" y="441"/>
                    </a:moveTo>
                    <a:lnTo>
                      <a:pt x="1433" y="474"/>
                    </a:lnTo>
                    <a:lnTo>
                      <a:pt x="1444" y="501"/>
                    </a:lnTo>
                    <a:lnTo>
                      <a:pt x="1460" y="528"/>
                    </a:lnTo>
                    <a:lnTo>
                      <a:pt x="1482" y="550"/>
                    </a:lnTo>
                    <a:lnTo>
                      <a:pt x="1541" y="593"/>
                    </a:lnTo>
                    <a:lnTo>
                      <a:pt x="1623" y="637"/>
                    </a:lnTo>
                    <a:lnTo>
                      <a:pt x="1715" y="670"/>
                    </a:lnTo>
                    <a:lnTo>
                      <a:pt x="1818" y="702"/>
                    </a:lnTo>
                    <a:lnTo>
                      <a:pt x="1927" y="735"/>
                    </a:lnTo>
                    <a:lnTo>
                      <a:pt x="2041" y="762"/>
                    </a:lnTo>
                    <a:lnTo>
                      <a:pt x="2155" y="789"/>
                    </a:lnTo>
                    <a:lnTo>
                      <a:pt x="2269" y="822"/>
                    </a:lnTo>
                    <a:lnTo>
                      <a:pt x="2372" y="849"/>
                    </a:lnTo>
                    <a:lnTo>
                      <a:pt x="2464" y="882"/>
                    </a:lnTo>
                    <a:lnTo>
                      <a:pt x="2551" y="920"/>
                    </a:lnTo>
                    <a:lnTo>
                      <a:pt x="2616" y="958"/>
                    </a:lnTo>
                    <a:lnTo>
                      <a:pt x="2638" y="980"/>
                    </a:lnTo>
                    <a:lnTo>
                      <a:pt x="2659" y="1007"/>
                    </a:lnTo>
                    <a:lnTo>
                      <a:pt x="2676" y="1029"/>
                    </a:lnTo>
                    <a:lnTo>
                      <a:pt x="2681" y="1056"/>
                    </a:lnTo>
                    <a:lnTo>
                      <a:pt x="2681" y="1083"/>
                    </a:lnTo>
                    <a:lnTo>
                      <a:pt x="2676" y="1105"/>
                    </a:lnTo>
                    <a:lnTo>
                      <a:pt x="2665" y="1127"/>
                    </a:lnTo>
                    <a:lnTo>
                      <a:pt x="2643" y="1149"/>
                    </a:lnTo>
                    <a:lnTo>
                      <a:pt x="2616" y="1170"/>
                    </a:lnTo>
                    <a:lnTo>
                      <a:pt x="2583" y="1187"/>
                    </a:lnTo>
                    <a:lnTo>
                      <a:pt x="2545" y="1208"/>
                    </a:lnTo>
                    <a:lnTo>
                      <a:pt x="2502" y="1225"/>
                    </a:lnTo>
                    <a:lnTo>
                      <a:pt x="2448" y="1241"/>
                    </a:lnTo>
                    <a:lnTo>
                      <a:pt x="2388" y="1257"/>
                    </a:lnTo>
                    <a:lnTo>
                      <a:pt x="2328" y="1274"/>
                    </a:lnTo>
                    <a:lnTo>
                      <a:pt x="2258" y="1290"/>
                    </a:lnTo>
                    <a:lnTo>
                      <a:pt x="2106" y="1328"/>
                    </a:lnTo>
                    <a:lnTo>
                      <a:pt x="1932" y="1372"/>
                    </a:lnTo>
                    <a:lnTo>
                      <a:pt x="1742" y="1421"/>
                    </a:lnTo>
                    <a:lnTo>
                      <a:pt x="1531" y="1475"/>
                    </a:lnTo>
                    <a:lnTo>
                      <a:pt x="1308" y="1540"/>
                    </a:lnTo>
                    <a:lnTo>
                      <a:pt x="1069" y="1617"/>
                    </a:lnTo>
                    <a:lnTo>
                      <a:pt x="820" y="1709"/>
                    </a:lnTo>
                    <a:lnTo>
                      <a:pt x="554" y="1818"/>
                    </a:lnTo>
                    <a:lnTo>
                      <a:pt x="282" y="1943"/>
                    </a:lnTo>
                    <a:lnTo>
                      <a:pt x="0" y="2085"/>
                    </a:lnTo>
                    <a:lnTo>
                      <a:pt x="152" y="2085"/>
                    </a:lnTo>
                    <a:lnTo>
                      <a:pt x="244" y="2074"/>
                    </a:lnTo>
                    <a:lnTo>
                      <a:pt x="386" y="1992"/>
                    </a:lnTo>
                    <a:lnTo>
                      <a:pt x="537" y="1910"/>
                    </a:lnTo>
                    <a:lnTo>
                      <a:pt x="700" y="1834"/>
                    </a:lnTo>
                    <a:lnTo>
                      <a:pt x="879" y="1763"/>
                    </a:lnTo>
                    <a:lnTo>
                      <a:pt x="1064" y="1693"/>
                    </a:lnTo>
                    <a:lnTo>
                      <a:pt x="1259" y="1622"/>
                    </a:lnTo>
                    <a:lnTo>
                      <a:pt x="1661" y="1497"/>
                    </a:lnTo>
                    <a:lnTo>
                      <a:pt x="1748" y="1470"/>
                    </a:lnTo>
                    <a:lnTo>
                      <a:pt x="1845" y="1442"/>
                    </a:lnTo>
                    <a:lnTo>
                      <a:pt x="2046" y="1393"/>
                    </a:lnTo>
                    <a:lnTo>
                      <a:pt x="2252" y="1339"/>
                    </a:lnTo>
                    <a:lnTo>
                      <a:pt x="2458" y="1285"/>
                    </a:lnTo>
                    <a:lnTo>
                      <a:pt x="2551" y="1263"/>
                    </a:lnTo>
                    <a:lnTo>
                      <a:pt x="2643" y="1236"/>
                    </a:lnTo>
                    <a:lnTo>
                      <a:pt x="2730" y="1214"/>
                    </a:lnTo>
                    <a:lnTo>
                      <a:pt x="2806" y="1192"/>
                    </a:lnTo>
                    <a:lnTo>
                      <a:pt x="2876" y="1170"/>
                    </a:lnTo>
                    <a:lnTo>
                      <a:pt x="2931" y="1149"/>
                    </a:lnTo>
                    <a:lnTo>
                      <a:pt x="2974" y="1132"/>
                    </a:lnTo>
                    <a:lnTo>
                      <a:pt x="3007" y="1116"/>
                    </a:lnTo>
                    <a:lnTo>
                      <a:pt x="3007" y="871"/>
                    </a:lnTo>
                    <a:lnTo>
                      <a:pt x="2941" y="860"/>
                    </a:lnTo>
                    <a:lnTo>
                      <a:pt x="2860" y="844"/>
                    </a:lnTo>
                    <a:lnTo>
                      <a:pt x="2773" y="827"/>
                    </a:lnTo>
                    <a:lnTo>
                      <a:pt x="2670" y="806"/>
                    </a:lnTo>
                    <a:lnTo>
                      <a:pt x="2567" y="784"/>
                    </a:lnTo>
                    <a:lnTo>
                      <a:pt x="2458" y="757"/>
                    </a:lnTo>
                    <a:lnTo>
                      <a:pt x="2241" y="702"/>
                    </a:lnTo>
                    <a:lnTo>
                      <a:pt x="2138" y="670"/>
                    </a:lnTo>
                    <a:lnTo>
                      <a:pt x="2046" y="637"/>
                    </a:lnTo>
                    <a:lnTo>
                      <a:pt x="1959" y="604"/>
                    </a:lnTo>
                    <a:lnTo>
                      <a:pt x="1883" y="566"/>
                    </a:lnTo>
                    <a:lnTo>
                      <a:pt x="1824" y="534"/>
                    </a:lnTo>
                    <a:lnTo>
                      <a:pt x="1780" y="495"/>
                    </a:lnTo>
                    <a:lnTo>
                      <a:pt x="1769" y="474"/>
                    </a:lnTo>
                    <a:lnTo>
                      <a:pt x="1758" y="457"/>
                    </a:lnTo>
                    <a:lnTo>
                      <a:pt x="1753" y="436"/>
                    </a:lnTo>
                    <a:lnTo>
                      <a:pt x="1758" y="419"/>
                    </a:lnTo>
                    <a:lnTo>
                      <a:pt x="1780" y="381"/>
                    </a:lnTo>
                    <a:lnTo>
                      <a:pt x="1813" y="343"/>
                    </a:lnTo>
                    <a:lnTo>
                      <a:pt x="1862" y="316"/>
                    </a:lnTo>
                    <a:lnTo>
                      <a:pt x="1921" y="289"/>
                    </a:lnTo>
                    <a:lnTo>
                      <a:pt x="1986" y="267"/>
                    </a:lnTo>
                    <a:lnTo>
                      <a:pt x="2062" y="245"/>
                    </a:lnTo>
                    <a:lnTo>
                      <a:pt x="2149" y="229"/>
                    </a:lnTo>
                    <a:lnTo>
                      <a:pt x="2236" y="213"/>
                    </a:lnTo>
                    <a:lnTo>
                      <a:pt x="2431" y="180"/>
                    </a:lnTo>
                    <a:lnTo>
                      <a:pt x="2627" y="158"/>
                    </a:lnTo>
                    <a:lnTo>
                      <a:pt x="2827" y="125"/>
                    </a:lnTo>
                    <a:lnTo>
                      <a:pt x="2920" y="109"/>
                    </a:lnTo>
                    <a:lnTo>
                      <a:pt x="3007" y="87"/>
                    </a:lnTo>
                    <a:lnTo>
                      <a:pt x="3007" y="0"/>
                    </a:lnTo>
                    <a:lnTo>
                      <a:pt x="2909" y="22"/>
                    </a:lnTo>
                    <a:lnTo>
                      <a:pt x="2795" y="44"/>
                    </a:lnTo>
                    <a:lnTo>
                      <a:pt x="2676" y="66"/>
                    </a:lnTo>
                    <a:lnTo>
                      <a:pt x="2551" y="82"/>
                    </a:lnTo>
                    <a:lnTo>
                      <a:pt x="2285" y="120"/>
                    </a:lnTo>
                    <a:lnTo>
                      <a:pt x="2155" y="136"/>
                    </a:lnTo>
                    <a:lnTo>
                      <a:pt x="2030" y="158"/>
                    </a:lnTo>
                    <a:lnTo>
                      <a:pt x="1905" y="174"/>
                    </a:lnTo>
                    <a:lnTo>
                      <a:pt x="1791" y="202"/>
                    </a:lnTo>
                    <a:lnTo>
                      <a:pt x="1688" y="229"/>
                    </a:lnTo>
                    <a:lnTo>
                      <a:pt x="1601" y="261"/>
                    </a:lnTo>
                    <a:lnTo>
                      <a:pt x="1525" y="300"/>
                    </a:lnTo>
                    <a:lnTo>
                      <a:pt x="1471" y="338"/>
                    </a:lnTo>
                    <a:lnTo>
                      <a:pt x="1455" y="359"/>
                    </a:lnTo>
                    <a:lnTo>
                      <a:pt x="1438" y="387"/>
                    </a:lnTo>
                    <a:lnTo>
                      <a:pt x="1427" y="414"/>
                    </a:lnTo>
                    <a:lnTo>
                      <a:pt x="1427" y="44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800"/>
              </a:p>
            </p:txBody>
          </p:sp>
          <p:sp>
            <p:nvSpPr>
              <p:cNvPr id="13" name="Freeform 10">
                <a:extLst>
                  <a:ext uri="{FF2B5EF4-FFF2-40B4-BE49-F238E27FC236}">
                    <a16:creationId xmlns:a16="http://schemas.microsoft.com/office/drawing/2014/main" id="{A06D09B0-66B8-4035-8C39-21B8AAC8F6C8}"/>
                  </a:ext>
                </a:extLst>
              </p:cNvPr>
              <p:cNvSpPr>
                <a:spLocks/>
              </p:cNvSpPr>
              <p:nvPr/>
            </p:nvSpPr>
            <p:spPr bwMode="hidden">
              <a:xfrm>
                <a:off x="4501" y="2317"/>
                <a:ext cx="1248" cy="539"/>
              </a:xfrm>
              <a:custGeom>
                <a:avLst/>
                <a:gdLst/>
                <a:ahLst/>
                <a:cxnLst>
                  <a:cxn ang="0">
                    <a:pos x="0" y="332"/>
                  </a:cxn>
                  <a:cxn ang="0">
                    <a:pos x="0" y="360"/>
                  </a:cxn>
                  <a:cxn ang="0">
                    <a:pos x="5" y="387"/>
                  </a:cxn>
                  <a:cxn ang="0">
                    <a:pos x="27" y="414"/>
                  </a:cxn>
                  <a:cxn ang="0">
                    <a:pos x="54" y="436"/>
                  </a:cxn>
                  <a:cxn ang="0">
                    <a:pos x="92" y="463"/>
                  </a:cxn>
                  <a:cxn ang="0">
                    <a:pos x="141" y="490"/>
                  </a:cxn>
                  <a:cxn ang="0">
                    <a:pos x="195" y="512"/>
                  </a:cxn>
                  <a:cxn ang="0">
                    <a:pos x="255" y="539"/>
                  </a:cxn>
                  <a:cxn ang="0">
                    <a:pos x="212" y="517"/>
                  </a:cxn>
                  <a:cxn ang="0">
                    <a:pos x="179" y="490"/>
                  </a:cxn>
                  <a:cxn ang="0">
                    <a:pos x="157" y="468"/>
                  </a:cxn>
                  <a:cxn ang="0">
                    <a:pos x="141" y="447"/>
                  </a:cxn>
                  <a:cxn ang="0">
                    <a:pos x="136" y="425"/>
                  </a:cxn>
                  <a:cxn ang="0">
                    <a:pos x="136" y="403"/>
                  </a:cxn>
                  <a:cxn ang="0">
                    <a:pos x="141" y="381"/>
                  </a:cxn>
                  <a:cxn ang="0">
                    <a:pos x="157" y="365"/>
                  </a:cxn>
                  <a:cxn ang="0">
                    <a:pos x="179" y="343"/>
                  </a:cxn>
                  <a:cxn ang="0">
                    <a:pos x="201" y="327"/>
                  </a:cxn>
                  <a:cxn ang="0">
                    <a:pos x="266" y="294"/>
                  </a:cxn>
                  <a:cxn ang="0">
                    <a:pos x="353" y="262"/>
                  </a:cxn>
                  <a:cxn ang="0">
                    <a:pos x="445" y="234"/>
                  </a:cxn>
                  <a:cxn ang="0">
                    <a:pos x="554" y="213"/>
                  </a:cxn>
                  <a:cxn ang="0">
                    <a:pos x="662" y="191"/>
                  </a:cxn>
                  <a:cxn ang="0">
                    <a:pos x="890" y="153"/>
                  </a:cxn>
                  <a:cxn ang="0">
                    <a:pos x="993" y="136"/>
                  </a:cxn>
                  <a:cxn ang="0">
                    <a:pos x="1091" y="120"/>
                  </a:cxn>
                  <a:cxn ang="0">
                    <a:pos x="1178" y="115"/>
                  </a:cxn>
                  <a:cxn ang="0">
                    <a:pos x="1248" y="104"/>
                  </a:cxn>
                  <a:cxn ang="0">
                    <a:pos x="1248" y="0"/>
                  </a:cxn>
                  <a:cxn ang="0">
                    <a:pos x="1161" y="22"/>
                  </a:cxn>
                  <a:cxn ang="0">
                    <a:pos x="1069" y="38"/>
                  </a:cxn>
                  <a:cxn ang="0">
                    <a:pos x="874" y="71"/>
                  </a:cxn>
                  <a:cxn ang="0">
                    <a:pos x="673" y="93"/>
                  </a:cxn>
                  <a:cxn ang="0">
                    <a:pos x="483" y="126"/>
                  </a:cxn>
                  <a:cxn ang="0">
                    <a:pos x="391" y="142"/>
                  </a:cxn>
                  <a:cxn ang="0">
                    <a:pos x="309" y="158"/>
                  </a:cxn>
                  <a:cxn ang="0">
                    <a:pos x="228" y="180"/>
                  </a:cxn>
                  <a:cxn ang="0">
                    <a:pos x="163" y="202"/>
                  </a:cxn>
                  <a:cxn ang="0">
                    <a:pos x="103" y="229"/>
                  </a:cxn>
                  <a:cxn ang="0">
                    <a:pos x="54" y="256"/>
                  </a:cxn>
                  <a:cxn ang="0">
                    <a:pos x="22" y="294"/>
                  </a:cxn>
                  <a:cxn ang="0">
                    <a:pos x="0" y="332"/>
                  </a:cxn>
                  <a:cxn ang="0">
                    <a:pos x="0" y="332"/>
                  </a:cxn>
                </a:cxnLst>
                <a:rect l="0" t="0" r="r" b="b"/>
                <a:pathLst>
                  <a:path w="1248" h="539">
                    <a:moveTo>
                      <a:pt x="0" y="332"/>
                    </a:moveTo>
                    <a:lnTo>
                      <a:pt x="0" y="360"/>
                    </a:lnTo>
                    <a:lnTo>
                      <a:pt x="5" y="387"/>
                    </a:lnTo>
                    <a:lnTo>
                      <a:pt x="27" y="414"/>
                    </a:lnTo>
                    <a:lnTo>
                      <a:pt x="54" y="436"/>
                    </a:lnTo>
                    <a:lnTo>
                      <a:pt x="92" y="463"/>
                    </a:lnTo>
                    <a:lnTo>
                      <a:pt x="141" y="490"/>
                    </a:lnTo>
                    <a:lnTo>
                      <a:pt x="195" y="512"/>
                    </a:lnTo>
                    <a:lnTo>
                      <a:pt x="255" y="539"/>
                    </a:lnTo>
                    <a:lnTo>
                      <a:pt x="212" y="517"/>
                    </a:lnTo>
                    <a:lnTo>
                      <a:pt x="179" y="490"/>
                    </a:lnTo>
                    <a:lnTo>
                      <a:pt x="157" y="468"/>
                    </a:lnTo>
                    <a:lnTo>
                      <a:pt x="141" y="447"/>
                    </a:lnTo>
                    <a:lnTo>
                      <a:pt x="136" y="425"/>
                    </a:lnTo>
                    <a:lnTo>
                      <a:pt x="136" y="403"/>
                    </a:lnTo>
                    <a:lnTo>
                      <a:pt x="141" y="381"/>
                    </a:lnTo>
                    <a:lnTo>
                      <a:pt x="157" y="365"/>
                    </a:lnTo>
                    <a:lnTo>
                      <a:pt x="179" y="343"/>
                    </a:lnTo>
                    <a:lnTo>
                      <a:pt x="201" y="327"/>
                    </a:lnTo>
                    <a:lnTo>
                      <a:pt x="266" y="294"/>
                    </a:lnTo>
                    <a:lnTo>
                      <a:pt x="353" y="262"/>
                    </a:lnTo>
                    <a:lnTo>
                      <a:pt x="445" y="234"/>
                    </a:lnTo>
                    <a:lnTo>
                      <a:pt x="554" y="213"/>
                    </a:lnTo>
                    <a:lnTo>
                      <a:pt x="662" y="191"/>
                    </a:lnTo>
                    <a:lnTo>
                      <a:pt x="890" y="153"/>
                    </a:lnTo>
                    <a:lnTo>
                      <a:pt x="993" y="136"/>
                    </a:lnTo>
                    <a:lnTo>
                      <a:pt x="1091" y="120"/>
                    </a:lnTo>
                    <a:lnTo>
                      <a:pt x="1178" y="115"/>
                    </a:lnTo>
                    <a:lnTo>
                      <a:pt x="1248" y="104"/>
                    </a:lnTo>
                    <a:lnTo>
                      <a:pt x="1248" y="0"/>
                    </a:lnTo>
                    <a:lnTo>
                      <a:pt x="1161" y="22"/>
                    </a:lnTo>
                    <a:lnTo>
                      <a:pt x="1069" y="38"/>
                    </a:lnTo>
                    <a:lnTo>
                      <a:pt x="874" y="71"/>
                    </a:lnTo>
                    <a:lnTo>
                      <a:pt x="673" y="93"/>
                    </a:lnTo>
                    <a:lnTo>
                      <a:pt x="483" y="126"/>
                    </a:lnTo>
                    <a:lnTo>
                      <a:pt x="391" y="142"/>
                    </a:lnTo>
                    <a:lnTo>
                      <a:pt x="309" y="158"/>
                    </a:lnTo>
                    <a:lnTo>
                      <a:pt x="228" y="180"/>
                    </a:lnTo>
                    <a:lnTo>
                      <a:pt x="163" y="202"/>
                    </a:lnTo>
                    <a:lnTo>
                      <a:pt x="103" y="229"/>
                    </a:lnTo>
                    <a:lnTo>
                      <a:pt x="54" y="256"/>
                    </a:lnTo>
                    <a:lnTo>
                      <a:pt x="22" y="294"/>
                    </a:lnTo>
                    <a:lnTo>
                      <a:pt x="0" y="332"/>
                    </a:lnTo>
                    <a:lnTo>
                      <a:pt x="0" y="332"/>
                    </a:lnTo>
                    <a:close/>
                  </a:path>
                </a:pathLst>
              </a:custGeom>
              <a:gradFill rotWithShape="0">
                <a:gsLst>
                  <a:gs pos="0">
                    <a:schemeClr val="bg1">
                      <a:gamma/>
                      <a:shade val="87843"/>
                      <a:invGamma/>
                    </a:schemeClr>
                  </a:gs>
                  <a:gs pos="100000">
                    <a:schemeClr val="bg1"/>
                  </a:gs>
                </a:gsLst>
                <a:lin ang="2700000" scaled="1"/>
              </a:gradFill>
              <a:ln w="9525">
                <a:noFill/>
                <a:round/>
                <a:headEnd/>
                <a:tailEnd/>
              </a:ln>
            </p:spPr>
            <p:txBody>
              <a:bodyPr/>
              <a:lstStyle/>
              <a:p>
                <a:pPr eaLnBrk="0" hangingPunct="0">
                  <a:defRPr/>
                </a:pPr>
                <a:endParaRPr lang="en-US" sz="1800">
                  <a:solidFill>
                    <a:srgbClr val="FFFFFF"/>
                  </a:solidFill>
                  <a:latin typeface="+mn-lt"/>
                  <a:cs typeface="+mn-cs"/>
                </a:endParaRPr>
              </a:p>
            </p:txBody>
          </p:sp>
        </p:grpSp>
        <p:sp>
          <p:nvSpPr>
            <p:cNvPr id="7" name="Freeform 11">
              <a:extLst>
                <a:ext uri="{FF2B5EF4-FFF2-40B4-BE49-F238E27FC236}">
                  <a16:creationId xmlns:a16="http://schemas.microsoft.com/office/drawing/2014/main" id="{C23F8959-97E0-4892-89AB-8C971F367674}"/>
                </a:ext>
              </a:extLst>
            </p:cNvPr>
            <p:cNvSpPr>
              <a:spLocks/>
            </p:cNvSpPr>
            <p:nvPr/>
          </p:nvSpPr>
          <p:spPr bwMode="hidden">
            <a:xfrm>
              <a:off x="3322" y="1341"/>
              <a:ext cx="1825" cy="1537"/>
            </a:xfrm>
            <a:custGeom>
              <a:avLst/>
              <a:gdLst/>
              <a:ahLst/>
              <a:cxnLst>
                <a:cxn ang="0">
                  <a:pos x="982" y="1061"/>
                </a:cxn>
                <a:cxn ang="0">
                  <a:pos x="1357" y="1012"/>
                </a:cxn>
                <a:cxn ang="0">
                  <a:pos x="1666" y="957"/>
                </a:cxn>
                <a:cxn ang="0">
                  <a:pos x="1916" y="897"/>
                </a:cxn>
                <a:cxn ang="0">
                  <a:pos x="2100" y="832"/>
                </a:cxn>
                <a:cxn ang="0">
                  <a:pos x="2220" y="756"/>
                </a:cxn>
                <a:cxn ang="0">
                  <a:pos x="2285" y="669"/>
                </a:cxn>
                <a:cxn ang="0">
                  <a:pos x="2290" y="560"/>
                </a:cxn>
                <a:cxn ang="0">
                  <a:pos x="2241" y="457"/>
                </a:cxn>
                <a:cxn ang="0">
                  <a:pos x="2144" y="364"/>
                </a:cxn>
                <a:cxn ang="0">
                  <a:pos x="2008" y="277"/>
                </a:cxn>
                <a:cxn ang="0">
                  <a:pos x="1769" y="157"/>
                </a:cxn>
                <a:cxn ang="0">
                  <a:pos x="1612" y="92"/>
                </a:cxn>
                <a:cxn ang="0">
                  <a:pos x="1476" y="43"/>
                </a:cxn>
                <a:cxn ang="0">
                  <a:pos x="1384" y="10"/>
                </a:cxn>
                <a:cxn ang="0">
                  <a:pos x="1346" y="0"/>
                </a:cxn>
                <a:cxn ang="0">
                  <a:pos x="1655" y="119"/>
                </a:cxn>
                <a:cxn ang="0">
                  <a:pos x="1948" y="255"/>
                </a:cxn>
                <a:cxn ang="0">
                  <a:pos x="2068" y="326"/>
                </a:cxn>
                <a:cxn ang="0">
                  <a:pos x="2171" y="402"/>
                </a:cxn>
                <a:cxn ang="0">
                  <a:pos x="2236" y="478"/>
                </a:cxn>
                <a:cxn ang="0">
                  <a:pos x="2263" y="560"/>
                </a:cxn>
                <a:cxn ang="0">
                  <a:pos x="2241" y="636"/>
                </a:cxn>
                <a:cxn ang="0">
                  <a:pos x="2171" y="702"/>
                </a:cxn>
                <a:cxn ang="0">
                  <a:pos x="2062" y="756"/>
                </a:cxn>
                <a:cxn ang="0">
                  <a:pos x="1921" y="800"/>
                </a:cxn>
                <a:cxn ang="0">
                  <a:pos x="1748" y="843"/>
                </a:cxn>
                <a:cxn ang="0">
                  <a:pos x="1351" y="908"/>
                </a:cxn>
                <a:cxn ang="0">
                  <a:pos x="923" y="968"/>
                </a:cxn>
                <a:cxn ang="0">
                  <a:pos x="521" y="1028"/>
                </a:cxn>
                <a:cxn ang="0">
                  <a:pos x="353" y="1066"/>
                </a:cxn>
                <a:cxn ang="0">
                  <a:pos x="206" y="1104"/>
                </a:cxn>
                <a:cxn ang="0">
                  <a:pos x="92" y="1148"/>
                </a:cxn>
                <a:cxn ang="0">
                  <a:pos x="22" y="1202"/>
                </a:cxn>
                <a:cxn ang="0">
                  <a:pos x="0" y="1262"/>
                </a:cxn>
                <a:cxn ang="0">
                  <a:pos x="27" y="1327"/>
                </a:cxn>
                <a:cxn ang="0">
                  <a:pos x="98" y="1382"/>
                </a:cxn>
                <a:cxn ang="0">
                  <a:pos x="196" y="1425"/>
                </a:cxn>
                <a:cxn ang="0">
                  <a:pos x="326" y="1469"/>
                </a:cxn>
                <a:cxn ang="0">
                  <a:pos x="217" y="1414"/>
                </a:cxn>
                <a:cxn ang="0">
                  <a:pos x="147" y="1360"/>
                </a:cxn>
                <a:cxn ang="0">
                  <a:pos x="120" y="1306"/>
                </a:cxn>
                <a:cxn ang="0">
                  <a:pos x="141" y="1257"/>
                </a:cxn>
                <a:cxn ang="0">
                  <a:pos x="212" y="1208"/>
                </a:cxn>
                <a:cxn ang="0">
                  <a:pos x="342" y="1164"/>
                </a:cxn>
                <a:cxn ang="0">
                  <a:pos x="527" y="1121"/>
                </a:cxn>
                <a:cxn ang="0">
                  <a:pos x="771" y="1088"/>
                </a:cxn>
              </a:cxnLst>
              <a:rect l="0" t="0" r="r" b="b"/>
              <a:pathLst>
                <a:path w="2296" h="1469">
                  <a:moveTo>
                    <a:pt x="771" y="1088"/>
                  </a:moveTo>
                  <a:lnTo>
                    <a:pt x="982" y="1061"/>
                  </a:lnTo>
                  <a:lnTo>
                    <a:pt x="1178" y="1034"/>
                  </a:lnTo>
                  <a:lnTo>
                    <a:pt x="1357" y="1012"/>
                  </a:lnTo>
                  <a:lnTo>
                    <a:pt x="1520" y="985"/>
                  </a:lnTo>
                  <a:lnTo>
                    <a:pt x="1666" y="957"/>
                  </a:lnTo>
                  <a:lnTo>
                    <a:pt x="1796" y="930"/>
                  </a:lnTo>
                  <a:lnTo>
                    <a:pt x="1916" y="897"/>
                  </a:lnTo>
                  <a:lnTo>
                    <a:pt x="2013" y="870"/>
                  </a:lnTo>
                  <a:lnTo>
                    <a:pt x="2100" y="832"/>
                  </a:lnTo>
                  <a:lnTo>
                    <a:pt x="2171" y="800"/>
                  </a:lnTo>
                  <a:lnTo>
                    <a:pt x="2220" y="756"/>
                  </a:lnTo>
                  <a:lnTo>
                    <a:pt x="2263" y="712"/>
                  </a:lnTo>
                  <a:lnTo>
                    <a:pt x="2285" y="669"/>
                  </a:lnTo>
                  <a:lnTo>
                    <a:pt x="2296" y="614"/>
                  </a:lnTo>
                  <a:lnTo>
                    <a:pt x="2290" y="560"/>
                  </a:lnTo>
                  <a:lnTo>
                    <a:pt x="2269" y="500"/>
                  </a:lnTo>
                  <a:lnTo>
                    <a:pt x="2241" y="457"/>
                  </a:lnTo>
                  <a:lnTo>
                    <a:pt x="2198" y="408"/>
                  </a:lnTo>
                  <a:lnTo>
                    <a:pt x="2144" y="364"/>
                  </a:lnTo>
                  <a:lnTo>
                    <a:pt x="2079" y="321"/>
                  </a:lnTo>
                  <a:lnTo>
                    <a:pt x="2008" y="277"/>
                  </a:lnTo>
                  <a:lnTo>
                    <a:pt x="1927" y="234"/>
                  </a:lnTo>
                  <a:lnTo>
                    <a:pt x="1769" y="157"/>
                  </a:lnTo>
                  <a:lnTo>
                    <a:pt x="1688" y="125"/>
                  </a:lnTo>
                  <a:lnTo>
                    <a:pt x="1612" y="92"/>
                  </a:lnTo>
                  <a:lnTo>
                    <a:pt x="1536" y="65"/>
                  </a:lnTo>
                  <a:lnTo>
                    <a:pt x="1476" y="43"/>
                  </a:lnTo>
                  <a:lnTo>
                    <a:pt x="1422" y="27"/>
                  </a:lnTo>
                  <a:lnTo>
                    <a:pt x="1384" y="10"/>
                  </a:lnTo>
                  <a:lnTo>
                    <a:pt x="1357" y="5"/>
                  </a:lnTo>
                  <a:lnTo>
                    <a:pt x="1346" y="0"/>
                  </a:lnTo>
                  <a:lnTo>
                    <a:pt x="1498" y="54"/>
                  </a:lnTo>
                  <a:lnTo>
                    <a:pt x="1655" y="119"/>
                  </a:lnTo>
                  <a:lnTo>
                    <a:pt x="1807" y="185"/>
                  </a:lnTo>
                  <a:lnTo>
                    <a:pt x="1948" y="255"/>
                  </a:lnTo>
                  <a:lnTo>
                    <a:pt x="2013" y="288"/>
                  </a:lnTo>
                  <a:lnTo>
                    <a:pt x="2068" y="326"/>
                  </a:lnTo>
                  <a:lnTo>
                    <a:pt x="2122" y="364"/>
                  </a:lnTo>
                  <a:lnTo>
                    <a:pt x="2171" y="402"/>
                  </a:lnTo>
                  <a:lnTo>
                    <a:pt x="2209" y="440"/>
                  </a:lnTo>
                  <a:lnTo>
                    <a:pt x="2236" y="478"/>
                  </a:lnTo>
                  <a:lnTo>
                    <a:pt x="2252" y="522"/>
                  </a:lnTo>
                  <a:lnTo>
                    <a:pt x="2263" y="560"/>
                  </a:lnTo>
                  <a:lnTo>
                    <a:pt x="2258" y="598"/>
                  </a:lnTo>
                  <a:lnTo>
                    <a:pt x="2241" y="636"/>
                  </a:lnTo>
                  <a:lnTo>
                    <a:pt x="2214" y="669"/>
                  </a:lnTo>
                  <a:lnTo>
                    <a:pt x="2171" y="702"/>
                  </a:lnTo>
                  <a:lnTo>
                    <a:pt x="2122" y="729"/>
                  </a:lnTo>
                  <a:lnTo>
                    <a:pt x="2062" y="756"/>
                  </a:lnTo>
                  <a:lnTo>
                    <a:pt x="1997" y="778"/>
                  </a:lnTo>
                  <a:lnTo>
                    <a:pt x="1921" y="800"/>
                  </a:lnTo>
                  <a:lnTo>
                    <a:pt x="1834" y="821"/>
                  </a:lnTo>
                  <a:lnTo>
                    <a:pt x="1748" y="843"/>
                  </a:lnTo>
                  <a:lnTo>
                    <a:pt x="1552" y="876"/>
                  </a:lnTo>
                  <a:lnTo>
                    <a:pt x="1351" y="908"/>
                  </a:lnTo>
                  <a:lnTo>
                    <a:pt x="1134" y="941"/>
                  </a:lnTo>
                  <a:lnTo>
                    <a:pt x="923" y="968"/>
                  </a:lnTo>
                  <a:lnTo>
                    <a:pt x="716" y="995"/>
                  </a:lnTo>
                  <a:lnTo>
                    <a:pt x="521" y="1028"/>
                  </a:lnTo>
                  <a:lnTo>
                    <a:pt x="434" y="1044"/>
                  </a:lnTo>
                  <a:lnTo>
                    <a:pt x="353" y="1066"/>
                  </a:lnTo>
                  <a:lnTo>
                    <a:pt x="277" y="1082"/>
                  </a:lnTo>
                  <a:lnTo>
                    <a:pt x="206" y="1104"/>
                  </a:lnTo>
                  <a:lnTo>
                    <a:pt x="147" y="1126"/>
                  </a:lnTo>
                  <a:lnTo>
                    <a:pt x="92" y="1148"/>
                  </a:lnTo>
                  <a:lnTo>
                    <a:pt x="54" y="1175"/>
                  </a:lnTo>
                  <a:lnTo>
                    <a:pt x="22" y="1202"/>
                  </a:lnTo>
                  <a:lnTo>
                    <a:pt x="6" y="1229"/>
                  </a:lnTo>
                  <a:lnTo>
                    <a:pt x="0" y="1262"/>
                  </a:lnTo>
                  <a:lnTo>
                    <a:pt x="11" y="1295"/>
                  </a:lnTo>
                  <a:lnTo>
                    <a:pt x="27" y="1327"/>
                  </a:lnTo>
                  <a:lnTo>
                    <a:pt x="54" y="1355"/>
                  </a:lnTo>
                  <a:lnTo>
                    <a:pt x="98" y="1382"/>
                  </a:lnTo>
                  <a:lnTo>
                    <a:pt x="141" y="1404"/>
                  </a:lnTo>
                  <a:lnTo>
                    <a:pt x="196" y="1425"/>
                  </a:lnTo>
                  <a:lnTo>
                    <a:pt x="261" y="1447"/>
                  </a:lnTo>
                  <a:lnTo>
                    <a:pt x="326" y="1469"/>
                  </a:lnTo>
                  <a:lnTo>
                    <a:pt x="266" y="1442"/>
                  </a:lnTo>
                  <a:lnTo>
                    <a:pt x="217" y="1414"/>
                  </a:lnTo>
                  <a:lnTo>
                    <a:pt x="174" y="1387"/>
                  </a:lnTo>
                  <a:lnTo>
                    <a:pt x="147" y="1360"/>
                  </a:lnTo>
                  <a:lnTo>
                    <a:pt x="125" y="1333"/>
                  </a:lnTo>
                  <a:lnTo>
                    <a:pt x="120" y="1306"/>
                  </a:lnTo>
                  <a:lnTo>
                    <a:pt x="125" y="1278"/>
                  </a:lnTo>
                  <a:lnTo>
                    <a:pt x="141" y="1257"/>
                  </a:lnTo>
                  <a:lnTo>
                    <a:pt x="174" y="1229"/>
                  </a:lnTo>
                  <a:lnTo>
                    <a:pt x="212" y="1208"/>
                  </a:lnTo>
                  <a:lnTo>
                    <a:pt x="272" y="1186"/>
                  </a:lnTo>
                  <a:lnTo>
                    <a:pt x="342" y="1164"/>
                  </a:lnTo>
                  <a:lnTo>
                    <a:pt x="423" y="1142"/>
                  </a:lnTo>
                  <a:lnTo>
                    <a:pt x="527" y="1121"/>
                  </a:lnTo>
                  <a:lnTo>
                    <a:pt x="641" y="1104"/>
                  </a:lnTo>
                  <a:lnTo>
                    <a:pt x="771" y="1088"/>
                  </a:lnTo>
                  <a:lnTo>
                    <a:pt x="771" y="1088"/>
                  </a:lnTo>
                  <a:close/>
                </a:path>
              </a:pathLst>
            </a:custGeom>
            <a:gradFill rotWithShape="0">
              <a:gsLst>
                <a:gs pos="0">
                  <a:schemeClr val="bg1">
                    <a:gamma/>
                    <a:shade val="84706"/>
                    <a:invGamma/>
                  </a:schemeClr>
                </a:gs>
                <a:gs pos="100000">
                  <a:schemeClr val="bg1"/>
                </a:gs>
              </a:gsLst>
              <a:lin ang="2700000" scaled="1"/>
            </a:gradFill>
            <a:ln w="9525">
              <a:noFill/>
              <a:round/>
              <a:headEnd/>
              <a:tailEnd/>
            </a:ln>
          </p:spPr>
          <p:txBody>
            <a:bodyPr/>
            <a:lstStyle/>
            <a:p>
              <a:pPr eaLnBrk="0" hangingPunct="0">
                <a:defRPr/>
              </a:pPr>
              <a:endParaRPr lang="en-US" sz="1800">
                <a:solidFill>
                  <a:srgbClr val="FFFFFF"/>
                </a:solidFill>
                <a:latin typeface="+mn-lt"/>
                <a:cs typeface="+mn-cs"/>
              </a:endParaRPr>
            </a:p>
          </p:txBody>
        </p:sp>
        <p:sp>
          <p:nvSpPr>
            <p:cNvPr id="8" name="Freeform 12">
              <a:extLst>
                <a:ext uri="{FF2B5EF4-FFF2-40B4-BE49-F238E27FC236}">
                  <a16:creationId xmlns:a16="http://schemas.microsoft.com/office/drawing/2014/main" id="{A1CEDC61-831E-4F33-A7E0-B81117620E44}"/>
                </a:ext>
              </a:extLst>
            </p:cNvPr>
            <p:cNvSpPr>
              <a:spLocks/>
            </p:cNvSpPr>
            <p:nvPr/>
          </p:nvSpPr>
          <p:spPr bwMode="hidden">
            <a:xfrm>
              <a:off x="0" y="0"/>
              <a:ext cx="5758" cy="1776"/>
            </a:xfrm>
            <a:custGeom>
              <a:avLst/>
              <a:gdLst>
                <a:gd name="T0" fmla="*/ 0 w 5740"/>
                <a:gd name="T1" fmla="*/ 0 h 1906"/>
                <a:gd name="T2" fmla="*/ 0 w 5740"/>
                <a:gd name="T3" fmla="*/ 1776 h 1906"/>
                <a:gd name="T4" fmla="*/ 5758 w 5740"/>
                <a:gd name="T5" fmla="*/ 1776 h 1906"/>
                <a:gd name="T6" fmla="*/ 5758 w 5740"/>
                <a:gd name="T7" fmla="*/ 0 h 1906"/>
                <a:gd name="T8" fmla="*/ 0 w 5740"/>
                <a:gd name="T9" fmla="*/ 0 h 1906"/>
                <a:gd name="T10" fmla="*/ 0 w 5740"/>
                <a:gd name="T11" fmla="*/ 0 h 190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5740" h="1906">
                  <a:moveTo>
                    <a:pt x="0" y="0"/>
                  </a:moveTo>
                  <a:lnTo>
                    <a:pt x="0" y="1906"/>
                  </a:lnTo>
                  <a:lnTo>
                    <a:pt x="5740" y="1906"/>
                  </a:lnTo>
                  <a:lnTo>
                    <a:pt x="5740" y="0"/>
                  </a:lnTo>
                  <a:lnTo>
                    <a:pt x="0" y="0"/>
                  </a:lnTo>
                  <a:close/>
                </a:path>
              </a:pathLst>
            </a:custGeom>
            <a:gradFill rotWithShape="0">
              <a:gsLst>
                <a:gs pos="0">
                  <a:schemeClr val="bg2"/>
                </a:gs>
                <a:gs pos="100000">
                  <a:schemeClr val="bg1"/>
                </a:gs>
              </a:gsLst>
              <a:lin ang="54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800"/>
            </a:p>
          </p:txBody>
        </p:sp>
      </p:grpSp>
      <p:sp>
        <p:nvSpPr>
          <p:cNvPr id="14" name="Text Box 16">
            <a:extLst>
              <a:ext uri="{FF2B5EF4-FFF2-40B4-BE49-F238E27FC236}">
                <a16:creationId xmlns:a16="http://schemas.microsoft.com/office/drawing/2014/main" id="{6EFA1FE4-4B2C-4652-9982-65DC393F8DA5}"/>
              </a:ext>
            </a:extLst>
          </p:cNvPr>
          <p:cNvSpPr txBox="1">
            <a:spLocks noChangeArrowheads="1"/>
          </p:cNvSpPr>
          <p:nvPr/>
        </p:nvSpPr>
        <p:spPr bwMode="auto">
          <a:xfrm>
            <a:off x="11074400" y="304801"/>
            <a:ext cx="711200"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pPr eaLnBrk="0" hangingPunct="0">
              <a:spcBef>
                <a:spcPct val="50000"/>
              </a:spcBef>
              <a:defRPr/>
            </a:pPr>
            <a:endParaRPr lang="en-US" altLang="en-US" sz="1800">
              <a:solidFill>
                <a:srgbClr val="FFFFFF"/>
              </a:solidFill>
              <a:latin typeface="Garamond" pitchFamily="18" charset="0"/>
            </a:endParaRPr>
          </a:p>
        </p:txBody>
      </p:sp>
      <p:sp>
        <p:nvSpPr>
          <p:cNvPr id="15" name="Text Box 17">
            <a:extLst>
              <a:ext uri="{FF2B5EF4-FFF2-40B4-BE49-F238E27FC236}">
                <a16:creationId xmlns:a16="http://schemas.microsoft.com/office/drawing/2014/main" id="{9435FB93-7A94-498E-BC69-C613843B713E}"/>
              </a:ext>
            </a:extLst>
          </p:cNvPr>
          <p:cNvSpPr txBox="1">
            <a:spLocks noChangeArrowheads="1"/>
          </p:cNvSpPr>
          <p:nvPr/>
        </p:nvSpPr>
        <p:spPr bwMode="auto">
          <a:xfrm>
            <a:off x="11582400" y="228601"/>
            <a:ext cx="609600"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Calibri" panose="020F0502020204030204" pitchFamily="34" charset="0"/>
                <a:cs typeface="Arial" panose="020B0604020202020204" pitchFamily="34" charset="0"/>
              </a:defRPr>
            </a:lvl1pPr>
            <a:lvl2pPr marL="742950" indent="-285750" eaLnBrk="0" hangingPunct="0">
              <a:defRPr>
                <a:solidFill>
                  <a:schemeClr val="tx1"/>
                </a:solidFill>
                <a:latin typeface="Calibri" panose="020F0502020204030204" pitchFamily="34" charset="0"/>
                <a:cs typeface="Arial" panose="020B0604020202020204" pitchFamily="34" charset="0"/>
              </a:defRPr>
            </a:lvl2pPr>
            <a:lvl3pPr marL="1143000" indent="-228600" eaLnBrk="0" hangingPunct="0">
              <a:defRPr>
                <a:solidFill>
                  <a:schemeClr val="tx1"/>
                </a:solidFill>
                <a:latin typeface="Calibri" panose="020F0502020204030204" pitchFamily="34" charset="0"/>
                <a:cs typeface="Arial" panose="020B0604020202020204" pitchFamily="34" charset="0"/>
              </a:defRPr>
            </a:lvl3pPr>
            <a:lvl4pPr marL="1600200" indent="-228600" eaLnBrk="0" hangingPunct="0">
              <a:defRPr>
                <a:solidFill>
                  <a:schemeClr val="tx1"/>
                </a:solidFill>
                <a:latin typeface="Calibri" panose="020F0502020204030204" pitchFamily="34" charset="0"/>
                <a:cs typeface="Arial" panose="020B0604020202020204" pitchFamily="34" charset="0"/>
              </a:defRPr>
            </a:lvl4pPr>
            <a:lvl5pPr marL="2057400" indent="-228600" eaLnBrk="0" hangingPunct="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spcBef>
                <a:spcPct val="50000"/>
              </a:spcBef>
            </a:pPr>
            <a:fld id="{898C83E5-6C80-4896-A12F-E7A7554F75FC}" type="slidenum">
              <a:rPr lang="en-US" altLang="en-US" sz="1800">
                <a:solidFill>
                  <a:srgbClr val="FFFFFF"/>
                </a:solidFill>
                <a:latin typeface="Garamond" panose="02020404030301010803" pitchFamily="18" charset="0"/>
              </a:rPr>
              <a:pPr>
                <a:spcBef>
                  <a:spcPct val="50000"/>
                </a:spcBef>
              </a:pPr>
              <a:t>‹#›</a:t>
            </a:fld>
            <a:endParaRPr lang="en-US" altLang="en-US" sz="1800">
              <a:solidFill>
                <a:srgbClr val="FFFFFF"/>
              </a:solidFill>
              <a:latin typeface="Garamond" panose="02020404030301010803" pitchFamily="18" charset="0"/>
            </a:endParaRPr>
          </a:p>
        </p:txBody>
      </p:sp>
      <p:graphicFrame>
        <p:nvGraphicFramePr>
          <p:cNvPr id="16" name="Object 18">
            <a:extLst>
              <a:ext uri="{FF2B5EF4-FFF2-40B4-BE49-F238E27FC236}">
                <a16:creationId xmlns:a16="http://schemas.microsoft.com/office/drawing/2014/main" id="{D63B9630-5701-4BE3-B4AB-5A2579F69E41}"/>
              </a:ext>
            </a:extLst>
          </p:cNvPr>
          <p:cNvGraphicFramePr>
            <a:graphicFrameLocks noChangeAspect="1"/>
          </p:cNvGraphicFramePr>
          <p:nvPr/>
        </p:nvGraphicFramePr>
        <p:xfrm>
          <a:off x="9652000" y="5918200"/>
          <a:ext cx="2540000" cy="939800"/>
        </p:xfrm>
        <a:graphic>
          <a:graphicData uri="http://schemas.openxmlformats.org/presentationml/2006/ole">
            <mc:AlternateContent xmlns:mc="http://schemas.openxmlformats.org/markup-compatibility/2006">
              <mc:Choice xmlns:v="urn:schemas-microsoft-com:vml" Requires="v">
                <p:oleObj spid="_x0000_s7171" name="Bitmap Image" r:id="rId3" imgW="2142857" imgH="1057423" progId="Paint.Picture">
                  <p:embed/>
                </p:oleObj>
              </mc:Choice>
              <mc:Fallback>
                <p:oleObj name="Bitmap Image" r:id="rId3" imgW="2142857" imgH="1057423" progId="Paint.Picture">
                  <p:embed/>
                  <p:pic>
                    <p:nvPicPr>
                      <p:cNvPr id="16" name="Object 18">
                        <a:extLst>
                          <a:ext uri="{FF2B5EF4-FFF2-40B4-BE49-F238E27FC236}">
                            <a16:creationId xmlns:a16="http://schemas.microsoft.com/office/drawing/2014/main" id="{D63B9630-5701-4BE3-B4AB-5A2579F69E4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652000" y="5918200"/>
                        <a:ext cx="2540000" cy="939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Rectangle 2">
            <a:extLst>
              <a:ext uri="{FF2B5EF4-FFF2-40B4-BE49-F238E27FC236}">
                <a16:creationId xmlns:a16="http://schemas.microsoft.com/office/drawing/2014/main" id="{6A44A27F-7BC1-414C-BB65-6AB1CA90620C}"/>
              </a:ext>
            </a:extLst>
          </p:cNvPr>
          <p:cNvSpPr>
            <a:spLocks noGrp="1" noChangeArrowheads="1"/>
          </p:cNvSpPr>
          <p:nvPr>
            <p:ph type="dt" sz="half" idx="10"/>
          </p:nvPr>
        </p:nvSpPr>
        <p:spPr/>
        <p:txBody>
          <a:bodyPr/>
          <a:lstStyle>
            <a:lvl1pPr fontAlgn="auto">
              <a:spcBef>
                <a:spcPts val="0"/>
              </a:spcBef>
              <a:spcAft>
                <a:spcPts val="0"/>
              </a:spcAft>
              <a:defRPr/>
            </a:lvl1pPr>
          </a:lstStyle>
          <a:p>
            <a:pPr>
              <a:defRPr/>
            </a:pPr>
            <a:endParaRPr lang="en-US"/>
          </a:p>
        </p:txBody>
      </p:sp>
      <p:sp>
        <p:nvSpPr>
          <p:cNvPr id="18" name="Rectangle 3">
            <a:extLst>
              <a:ext uri="{FF2B5EF4-FFF2-40B4-BE49-F238E27FC236}">
                <a16:creationId xmlns:a16="http://schemas.microsoft.com/office/drawing/2014/main" id="{6A943248-0FAE-4DCF-9165-996AF65F0B4C}"/>
              </a:ext>
            </a:extLst>
          </p:cNvPr>
          <p:cNvSpPr>
            <a:spLocks noGrp="1" noChangeArrowheads="1"/>
          </p:cNvSpPr>
          <p:nvPr>
            <p:ph type="sldNum" sz="quarter" idx="11"/>
          </p:nvPr>
        </p:nvSpPr>
        <p:spPr/>
        <p:txBody>
          <a:bodyPr/>
          <a:lstStyle>
            <a:lvl1pPr>
              <a:defRPr/>
            </a:lvl1pPr>
          </a:lstStyle>
          <a:p>
            <a:fld id="{FF045FF5-686E-45BC-A559-AD89233CD1CC}" type="slidenum">
              <a:rPr lang="en-US" altLang="en-US"/>
              <a:pPr/>
              <a:t>‹#›</a:t>
            </a:fld>
            <a:endParaRPr lang="en-US" altLang="en-US"/>
          </a:p>
        </p:txBody>
      </p:sp>
      <p:sp>
        <p:nvSpPr>
          <p:cNvPr id="19" name="Rectangle 14">
            <a:extLst>
              <a:ext uri="{FF2B5EF4-FFF2-40B4-BE49-F238E27FC236}">
                <a16:creationId xmlns:a16="http://schemas.microsoft.com/office/drawing/2014/main" id="{831E8800-A85D-47EA-8B28-B521AC69E741}"/>
              </a:ext>
            </a:extLst>
          </p:cNvPr>
          <p:cNvSpPr>
            <a:spLocks noGrp="1" noChangeArrowheads="1"/>
          </p:cNvSpPr>
          <p:nvPr>
            <p:ph type="ftr" sz="quarter" idx="12"/>
          </p:nvPr>
        </p:nvSpPr>
        <p:spPr/>
        <p:txBody>
          <a:bodyPr/>
          <a:lstStyle>
            <a:lvl1pPr fontAlgn="auto">
              <a:spcBef>
                <a:spcPts val="0"/>
              </a:spcBef>
              <a:spcAft>
                <a:spcPts val="0"/>
              </a:spcAft>
              <a:defRPr/>
            </a:lvl1pPr>
          </a:lstStyle>
          <a:p>
            <a:pPr>
              <a:defRPr/>
            </a:pPr>
            <a:endParaRPr lang="en-US"/>
          </a:p>
        </p:txBody>
      </p:sp>
    </p:spTree>
    <p:extLst>
      <p:ext uri="{BB962C8B-B14F-4D97-AF65-F5344CB8AC3E}">
        <p14:creationId xmlns:p14="http://schemas.microsoft.com/office/powerpoint/2010/main" val="1506629922"/>
      </p:ext>
    </p:extLst>
  </p:cSld>
  <p:clrMapOvr>
    <a:masterClrMapping/>
  </p:clrMapOvr>
  <p:transition>
    <p:random/>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grpSp>
        <p:nvGrpSpPr>
          <p:cNvPr id="7" name="Group 4">
            <a:extLst>
              <a:ext uri="{FF2B5EF4-FFF2-40B4-BE49-F238E27FC236}">
                <a16:creationId xmlns:a16="http://schemas.microsoft.com/office/drawing/2014/main" id="{15CA0502-AE97-40D7-9235-0D4B54798D6E}"/>
              </a:ext>
            </a:extLst>
          </p:cNvPr>
          <p:cNvGrpSpPr>
            <a:grpSpLocks/>
          </p:cNvGrpSpPr>
          <p:nvPr/>
        </p:nvGrpSpPr>
        <p:grpSpPr bwMode="auto">
          <a:xfrm>
            <a:off x="1" y="1"/>
            <a:ext cx="12187767" cy="6850063"/>
            <a:chOff x="0" y="0"/>
            <a:chExt cx="5758" cy="4315"/>
          </a:xfrm>
        </p:grpSpPr>
        <p:grpSp>
          <p:nvGrpSpPr>
            <p:cNvPr id="8" name="Group 5">
              <a:extLst>
                <a:ext uri="{FF2B5EF4-FFF2-40B4-BE49-F238E27FC236}">
                  <a16:creationId xmlns:a16="http://schemas.microsoft.com/office/drawing/2014/main" id="{CCC194CA-B1D1-4050-8342-500EBDD4C805}"/>
                </a:ext>
              </a:extLst>
            </p:cNvPr>
            <p:cNvGrpSpPr>
              <a:grpSpLocks/>
            </p:cNvGrpSpPr>
            <p:nvPr userDrawn="1"/>
          </p:nvGrpSpPr>
          <p:grpSpPr bwMode="auto">
            <a:xfrm>
              <a:off x="1728" y="2230"/>
              <a:ext cx="4027" cy="2085"/>
              <a:chOff x="1728" y="2230"/>
              <a:chExt cx="4027" cy="2085"/>
            </a:xfrm>
          </p:grpSpPr>
          <p:sp>
            <p:nvSpPr>
              <p:cNvPr id="11" name="Freeform 6">
                <a:extLst>
                  <a:ext uri="{FF2B5EF4-FFF2-40B4-BE49-F238E27FC236}">
                    <a16:creationId xmlns:a16="http://schemas.microsoft.com/office/drawing/2014/main" id="{67B2EA3C-8FFD-4512-9BC1-F4B15978E0A3}"/>
                  </a:ext>
                </a:extLst>
              </p:cNvPr>
              <p:cNvSpPr>
                <a:spLocks/>
              </p:cNvSpPr>
              <p:nvPr/>
            </p:nvSpPr>
            <p:spPr bwMode="hidden">
              <a:xfrm>
                <a:off x="1728" y="2644"/>
                <a:ext cx="2882" cy="1671"/>
              </a:xfrm>
              <a:custGeom>
                <a:avLst/>
                <a:gdLst/>
                <a:ahLst/>
                <a:cxnLst>
                  <a:cxn ang="0">
                    <a:pos x="2740" y="528"/>
                  </a:cxn>
                  <a:cxn ang="0">
                    <a:pos x="2632" y="484"/>
                  </a:cxn>
                  <a:cxn ang="0">
                    <a:pos x="2480" y="424"/>
                  </a:cxn>
                  <a:cxn ang="0">
                    <a:pos x="2203" y="343"/>
                  </a:cxn>
                  <a:cxn ang="0">
                    <a:pos x="1970" y="277"/>
                  </a:cxn>
                  <a:cxn ang="0">
                    <a:pos x="1807" y="212"/>
                  </a:cxn>
                  <a:cxn ang="0">
                    <a:pos x="1693" y="152"/>
                  </a:cxn>
                  <a:cxn ang="0">
                    <a:pos x="1628" y="103"/>
                  </a:cxn>
                  <a:cxn ang="0">
                    <a:pos x="1590" y="60"/>
                  </a:cxn>
                  <a:cxn ang="0">
                    <a:pos x="1579" y="27"/>
                  </a:cxn>
                  <a:cxn ang="0">
                    <a:pos x="1585" y="0"/>
                  </a:cxn>
                  <a:cxn ang="0">
                    <a:pos x="1557" y="49"/>
                  </a:cxn>
                  <a:cxn ang="0">
                    <a:pos x="1568" y="98"/>
                  </a:cxn>
                  <a:cxn ang="0">
                    <a:pos x="1617" y="141"/>
                  </a:cxn>
                  <a:cxn ang="0">
                    <a:pos x="1688" y="185"/>
                  </a:cxn>
                  <a:cxn ang="0">
                    <a:pos x="1791" y="228"/>
                  </a:cxn>
                  <a:cxn ang="0">
                    <a:pos x="2040" y="310"/>
                  </a:cxn>
                  <a:cxn ang="0">
                    <a:pos x="2285" y="381"/>
                  </a:cxn>
                  <a:cxn ang="0">
                    <a:pos x="2464" y="435"/>
                  </a:cxn>
                  <a:cxn ang="0">
                    <a:pos x="2605" y="484"/>
                  </a:cxn>
                  <a:cxn ang="0">
                    <a:pos x="2708" y="528"/>
                  </a:cxn>
                  <a:cxn ang="0">
                    <a:pos x="2768" y="560"/>
                  </a:cxn>
                  <a:cxn ang="0">
                    <a:pos x="2795" y="593"/>
                  </a:cxn>
                  <a:cxn ang="0">
                    <a:pos x="2795" y="642"/>
                  </a:cxn>
                  <a:cxn ang="0">
                    <a:pos x="2762" y="691"/>
                  </a:cxn>
                  <a:cxn ang="0">
                    <a:pos x="2692" y="735"/>
                  </a:cxn>
                  <a:cxn ang="0">
                    <a:pos x="2589" y="778"/>
                  </a:cxn>
                  <a:cxn ang="0">
                    <a:pos x="2458" y="822"/>
                  </a:cxn>
                  <a:cxn ang="0">
                    <a:pos x="2301" y="865"/>
                  </a:cxn>
                  <a:cxn ang="0">
                    <a:pos x="2030" y="930"/>
                  </a:cxn>
                  <a:cxn ang="0">
                    <a:pos x="1606" y="1034"/>
                  </a:cxn>
                  <a:cxn ang="0">
                    <a:pos x="1145" y="1164"/>
                  </a:cxn>
                  <a:cxn ang="0">
                    <a:pos x="673" y="1328"/>
                  </a:cxn>
                  <a:cxn ang="0">
                    <a:pos x="217" y="1545"/>
                  </a:cxn>
                  <a:cxn ang="0">
                    <a:pos x="353" y="1671"/>
                  </a:cxn>
                  <a:cxn ang="0">
                    <a:pos x="754" y="1469"/>
                  </a:cxn>
                  <a:cxn ang="0">
                    <a:pos x="1145" y="1311"/>
                  </a:cxn>
                  <a:cxn ang="0">
                    <a:pos x="1519" y="1186"/>
                  </a:cxn>
                  <a:cxn ang="0">
                    <a:pos x="1861" y="1083"/>
                  </a:cxn>
                  <a:cxn ang="0">
                    <a:pos x="2165" y="1007"/>
                  </a:cxn>
                  <a:cxn ang="0">
                    <a:pos x="2426" y="947"/>
                  </a:cxn>
                  <a:cxn ang="0">
                    <a:pos x="2626" y="892"/>
                  </a:cxn>
                  <a:cxn ang="0">
                    <a:pos x="2762" y="838"/>
                  </a:cxn>
                  <a:cxn ang="0">
                    <a:pos x="2827" y="794"/>
                  </a:cxn>
                  <a:cxn ang="0">
                    <a:pos x="2865" y="745"/>
                  </a:cxn>
                  <a:cxn ang="0">
                    <a:pos x="2882" y="702"/>
                  </a:cxn>
                  <a:cxn ang="0">
                    <a:pos x="2854" y="620"/>
                  </a:cxn>
                  <a:cxn ang="0">
                    <a:pos x="2800" y="560"/>
                  </a:cxn>
                  <a:cxn ang="0">
                    <a:pos x="2773" y="544"/>
                  </a:cxn>
                </a:cxnLst>
                <a:rect l="0" t="0" r="r" b="b"/>
                <a:pathLst>
                  <a:path w="2882" h="1671">
                    <a:moveTo>
                      <a:pt x="2773" y="544"/>
                    </a:moveTo>
                    <a:lnTo>
                      <a:pt x="2740" y="528"/>
                    </a:lnTo>
                    <a:lnTo>
                      <a:pt x="2692" y="506"/>
                    </a:lnTo>
                    <a:lnTo>
                      <a:pt x="2632" y="484"/>
                    </a:lnTo>
                    <a:lnTo>
                      <a:pt x="2561" y="457"/>
                    </a:lnTo>
                    <a:lnTo>
                      <a:pt x="2480" y="424"/>
                    </a:lnTo>
                    <a:lnTo>
                      <a:pt x="2388" y="397"/>
                    </a:lnTo>
                    <a:lnTo>
                      <a:pt x="2203" y="343"/>
                    </a:lnTo>
                    <a:lnTo>
                      <a:pt x="2078" y="310"/>
                    </a:lnTo>
                    <a:lnTo>
                      <a:pt x="1970" y="277"/>
                    </a:lnTo>
                    <a:lnTo>
                      <a:pt x="1878" y="245"/>
                    </a:lnTo>
                    <a:lnTo>
                      <a:pt x="1807" y="212"/>
                    </a:lnTo>
                    <a:lnTo>
                      <a:pt x="1742" y="179"/>
                    </a:lnTo>
                    <a:lnTo>
                      <a:pt x="1693" y="152"/>
                    </a:lnTo>
                    <a:lnTo>
                      <a:pt x="1655" y="125"/>
                    </a:lnTo>
                    <a:lnTo>
                      <a:pt x="1628" y="103"/>
                    </a:lnTo>
                    <a:lnTo>
                      <a:pt x="1606" y="81"/>
                    </a:lnTo>
                    <a:lnTo>
                      <a:pt x="1590" y="60"/>
                    </a:lnTo>
                    <a:lnTo>
                      <a:pt x="1585" y="43"/>
                    </a:lnTo>
                    <a:lnTo>
                      <a:pt x="1579" y="27"/>
                    </a:lnTo>
                    <a:lnTo>
                      <a:pt x="1585" y="5"/>
                    </a:lnTo>
                    <a:lnTo>
                      <a:pt x="1585" y="0"/>
                    </a:lnTo>
                    <a:lnTo>
                      <a:pt x="1568" y="27"/>
                    </a:lnTo>
                    <a:lnTo>
                      <a:pt x="1557" y="49"/>
                    </a:lnTo>
                    <a:lnTo>
                      <a:pt x="1557" y="76"/>
                    </a:lnTo>
                    <a:lnTo>
                      <a:pt x="1568" y="98"/>
                    </a:lnTo>
                    <a:lnTo>
                      <a:pt x="1590" y="120"/>
                    </a:lnTo>
                    <a:lnTo>
                      <a:pt x="1617" y="141"/>
                    </a:lnTo>
                    <a:lnTo>
                      <a:pt x="1650" y="163"/>
                    </a:lnTo>
                    <a:lnTo>
                      <a:pt x="1688" y="185"/>
                    </a:lnTo>
                    <a:lnTo>
                      <a:pt x="1737" y="207"/>
                    </a:lnTo>
                    <a:lnTo>
                      <a:pt x="1791" y="228"/>
                    </a:lnTo>
                    <a:lnTo>
                      <a:pt x="1905" y="267"/>
                    </a:lnTo>
                    <a:lnTo>
                      <a:pt x="2040" y="310"/>
                    </a:lnTo>
                    <a:lnTo>
                      <a:pt x="2182" y="348"/>
                    </a:lnTo>
                    <a:lnTo>
                      <a:pt x="2285" y="381"/>
                    </a:lnTo>
                    <a:lnTo>
                      <a:pt x="2382" y="408"/>
                    </a:lnTo>
                    <a:lnTo>
                      <a:pt x="2464" y="435"/>
                    </a:lnTo>
                    <a:lnTo>
                      <a:pt x="2540" y="462"/>
                    </a:lnTo>
                    <a:lnTo>
                      <a:pt x="2605" y="484"/>
                    </a:lnTo>
                    <a:lnTo>
                      <a:pt x="2659" y="506"/>
                    </a:lnTo>
                    <a:lnTo>
                      <a:pt x="2708" y="528"/>
                    </a:lnTo>
                    <a:lnTo>
                      <a:pt x="2740" y="544"/>
                    </a:lnTo>
                    <a:lnTo>
                      <a:pt x="2768" y="560"/>
                    </a:lnTo>
                    <a:lnTo>
                      <a:pt x="2784" y="577"/>
                    </a:lnTo>
                    <a:lnTo>
                      <a:pt x="2795" y="593"/>
                    </a:lnTo>
                    <a:lnTo>
                      <a:pt x="2800" y="615"/>
                    </a:lnTo>
                    <a:lnTo>
                      <a:pt x="2795" y="642"/>
                    </a:lnTo>
                    <a:lnTo>
                      <a:pt x="2784" y="664"/>
                    </a:lnTo>
                    <a:lnTo>
                      <a:pt x="2762" y="691"/>
                    </a:lnTo>
                    <a:lnTo>
                      <a:pt x="2730" y="713"/>
                    </a:lnTo>
                    <a:lnTo>
                      <a:pt x="2692" y="735"/>
                    </a:lnTo>
                    <a:lnTo>
                      <a:pt x="2643" y="756"/>
                    </a:lnTo>
                    <a:lnTo>
                      <a:pt x="2589" y="778"/>
                    </a:lnTo>
                    <a:lnTo>
                      <a:pt x="2529" y="800"/>
                    </a:lnTo>
                    <a:lnTo>
                      <a:pt x="2458" y="822"/>
                    </a:lnTo>
                    <a:lnTo>
                      <a:pt x="2382" y="843"/>
                    </a:lnTo>
                    <a:lnTo>
                      <a:pt x="2301" y="865"/>
                    </a:lnTo>
                    <a:lnTo>
                      <a:pt x="2214" y="887"/>
                    </a:lnTo>
                    <a:lnTo>
                      <a:pt x="2030" y="930"/>
                    </a:lnTo>
                    <a:lnTo>
                      <a:pt x="1823" y="979"/>
                    </a:lnTo>
                    <a:lnTo>
                      <a:pt x="1606" y="1034"/>
                    </a:lnTo>
                    <a:lnTo>
                      <a:pt x="1378" y="1094"/>
                    </a:lnTo>
                    <a:lnTo>
                      <a:pt x="1145" y="1164"/>
                    </a:lnTo>
                    <a:lnTo>
                      <a:pt x="912" y="1241"/>
                    </a:lnTo>
                    <a:lnTo>
                      <a:pt x="673" y="1328"/>
                    </a:lnTo>
                    <a:lnTo>
                      <a:pt x="440" y="1431"/>
                    </a:lnTo>
                    <a:lnTo>
                      <a:pt x="217" y="1545"/>
                    </a:lnTo>
                    <a:lnTo>
                      <a:pt x="0" y="1671"/>
                    </a:lnTo>
                    <a:lnTo>
                      <a:pt x="353" y="1671"/>
                    </a:lnTo>
                    <a:lnTo>
                      <a:pt x="554" y="1567"/>
                    </a:lnTo>
                    <a:lnTo>
                      <a:pt x="754" y="1469"/>
                    </a:lnTo>
                    <a:lnTo>
                      <a:pt x="955" y="1388"/>
                    </a:lnTo>
                    <a:lnTo>
                      <a:pt x="1145" y="1311"/>
                    </a:lnTo>
                    <a:lnTo>
                      <a:pt x="1335" y="1241"/>
                    </a:lnTo>
                    <a:lnTo>
                      <a:pt x="1519" y="1186"/>
                    </a:lnTo>
                    <a:lnTo>
                      <a:pt x="1693" y="1132"/>
                    </a:lnTo>
                    <a:lnTo>
                      <a:pt x="1861" y="1083"/>
                    </a:lnTo>
                    <a:lnTo>
                      <a:pt x="2019" y="1045"/>
                    </a:lnTo>
                    <a:lnTo>
                      <a:pt x="2165" y="1007"/>
                    </a:lnTo>
                    <a:lnTo>
                      <a:pt x="2301" y="974"/>
                    </a:lnTo>
                    <a:lnTo>
                      <a:pt x="2426" y="947"/>
                    </a:lnTo>
                    <a:lnTo>
                      <a:pt x="2534" y="914"/>
                    </a:lnTo>
                    <a:lnTo>
                      <a:pt x="2626" y="892"/>
                    </a:lnTo>
                    <a:lnTo>
                      <a:pt x="2702" y="865"/>
                    </a:lnTo>
                    <a:lnTo>
                      <a:pt x="2762" y="838"/>
                    </a:lnTo>
                    <a:lnTo>
                      <a:pt x="2800" y="816"/>
                    </a:lnTo>
                    <a:lnTo>
                      <a:pt x="2827" y="794"/>
                    </a:lnTo>
                    <a:lnTo>
                      <a:pt x="2849" y="767"/>
                    </a:lnTo>
                    <a:lnTo>
                      <a:pt x="2865" y="745"/>
                    </a:lnTo>
                    <a:lnTo>
                      <a:pt x="2876" y="724"/>
                    </a:lnTo>
                    <a:lnTo>
                      <a:pt x="2882" y="702"/>
                    </a:lnTo>
                    <a:lnTo>
                      <a:pt x="2876" y="658"/>
                    </a:lnTo>
                    <a:lnTo>
                      <a:pt x="2854" y="620"/>
                    </a:lnTo>
                    <a:lnTo>
                      <a:pt x="2833" y="588"/>
                    </a:lnTo>
                    <a:lnTo>
                      <a:pt x="2800" y="560"/>
                    </a:lnTo>
                    <a:lnTo>
                      <a:pt x="2773" y="544"/>
                    </a:lnTo>
                    <a:lnTo>
                      <a:pt x="2773" y="544"/>
                    </a:lnTo>
                    <a:close/>
                  </a:path>
                </a:pathLst>
              </a:custGeom>
              <a:gradFill rotWithShape="0">
                <a:gsLst>
                  <a:gs pos="0">
                    <a:schemeClr val="bg1"/>
                  </a:gs>
                  <a:gs pos="100000">
                    <a:schemeClr val="bg1">
                      <a:gamma/>
                      <a:shade val="90980"/>
                      <a:invGamma/>
                    </a:schemeClr>
                  </a:gs>
                </a:gsLst>
                <a:lin ang="0" scaled="1"/>
              </a:gradFill>
              <a:ln w="9525">
                <a:noFill/>
                <a:round/>
                <a:headEnd/>
                <a:tailEnd/>
              </a:ln>
            </p:spPr>
            <p:txBody>
              <a:bodyPr/>
              <a:lstStyle/>
              <a:p>
                <a:pPr eaLnBrk="0" hangingPunct="0">
                  <a:defRPr/>
                </a:pPr>
                <a:endParaRPr lang="en-US" sz="1800">
                  <a:solidFill>
                    <a:srgbClr val="FFFFFF"/>
                  </a:solidFill>
                  <a:latin typeface="+mn-lt"/>
                  <a:cs typeface="+mn-cs"/>
                </a:endParaRPr>
              </a:p>
            </p:txBody>
          </p:sp>
          <p:sp>
            <p:nvSpPr>
              <p:cNvPr id="12" name="Freeform 7">
                <a:extLst>
                  <a:ext uri="{FF2B5EF4-FFF2-40B4-BE49-F238E27FC236}">
                    <a16:creationId xmlns:a16="http://schemas.microsoft.com/office/drawing/2014/main" id="{E480930D-BEA7-49E8-BBFE-7D52C2E5A1FA}"/>
                  </a:ext>
                </a:extLst>
              </p:cNvPr>
              <p:cNvSpPr>
                <a:spLocks/>
              </p:cNvSpPr>
              <p:nvPr/>
            </p:nvSpPr>
            <p:spPr bwMode="hidden">
              <a:xfrm>
                <a:off x="4170" y="2671"/>
                <a:ext cx="1259" cy="811"/>
              </a:xfrm>
              <a:custGeom>
                <a:avLst/>
                <a:gdLst/>
                <a:ahLst/>
                <a:cxnLst>
                  <a:cxn ang="0">
                    <a:pos x="1259" y="615"/>
                  </a:cxn>
                  <a:cxn ang="0">
                    <a:pos x="1248" y="588"/>
                  </a:cxn>
                  <a:cxn ang="0">
                    <a:pos x="1237" y="566"/>
                  </a:cxn>
                  <a:cxn ang="0">
                    <a:pos x="1216" y="539"/>
                  </a:cxn>
                  <a:cxn ang="0">
                    <a:pos x="1188" y="517"/>
                  </a:cxn>
                  <a:cxn ang="0">
                    <a:pos x="1123" y="479"/>
                  </a:cxn>
                  <a:cxn ang="0">
                    <a:pos x="1042" y="441"/>
                  </a:cxn>
                  <a:cxn ang="0">
                    <a:pos x="944" y="408"/>
                  </a:cxn>
                  <a:cxn ang="0">
                    <a:pos x="841" y="381"/>
                  </a:cxn>
                  <a:cxn ang="0">
                    <a:pos x="727" y="348"/>
                  </a:cxn>
                  <a:cxn ang="0">
                    <a:pos x="613" y="321"/>
                  </a:cxn>
                  <a:cxn ang="0">
                    <a:pos x="499" y="294"/>
                  </a:cxn>
                  <a:cxn ang="0">
                    <a:pos x="391" y="261"/>
                  </a:cxn>
                  <a:cxn ang="0">
                    <a:pos x="288" y="229"/>
                  </a:cxn>
                  <a:cxn ang="0">
                    <a:pos x="195" y="196"/>
                  </a:cxn>
                  <a:cxn ang="0">
                    <a:pos x="119" y="152"/>
                  </a:cxn>
                  <a:cxn ang="0">
                    <a:pos x="54" y="109"/>
                  </a:cxn>
                  <a:cxn ang="0">
                    <a:pos x="33" y="87"/>
                  </a:cxn>
                  <a:cxn ang="0">
                    <a:pos x="16" y="60"/>
                  </a:cxn>
                  <a:cxn ang="0">
                    <a:pos x="5" y="33"/>
                  </a:cxn>
                  <a:cxn ang="0">
                    <a:pos x="0" y="0"/>
                  </a:cxn>
                  <a:cxn ang="0">
                    <a:pos x="0" y="6"/>
                  </a:cxn>
                  <a:cxn ang="0">
                    <a:pos x="0" y="11"/>
                  </a:cxn>
                  <a:cxn ang="0">
                    <a:pos x="0" y="38"/>
                  </a:cxn>
                  <a:cxn ang="0">
                    <a:pos x="5" y="60"/>
                  </a:cxn>
                  <a:cxn ang="0">
                    <a:pos x="16" y="87"/>
                  </a:cxn>
                  <a:cxn ang="0">
                    <a:pos x="33" y="114"/>
                  </a:cxn>
                  <a:cxn ang="0">
                    <a:pos x="54" y="142"/>
                  </a:cxn>
                  <a:cxn ang="0">
                    <a:pos x="87" y="174"/>
                  </a:cxn>
                  <a:cxn ang="0">
                    <a:pos x="125" y="207"/>
                  </a:cxn>
                  <a:cxn ang="0">
                    <a:pos x="179" y="240"/>
                  </a:cxn>
                  <a:cxn ang="0">
                    <a:pos x="244" y="278"/>
                  </a:cxn>
                  <a:cxn ang="0">
                    <a:pos x="326" y="310"/>
                  </a:cxn>
                  <a:cxn ang="0">
                    <a:pos x="418" y="348"/>
                  </a:cxn>
                  <a:cxn ang="0">
                    <a:pos x="526" y="381"/>
                  </a:cxn>
                  <a:cxn ang="0">
                    <a:pos x="657" y="414"/>
                  </a:cxn>
                  <a:cxn ang="0">
                    <a:pos x="749" y="435"/>
                  </a:cxn>
                  <a:cxn ang="0">
                    <a:pos x="830" y="463"/>
                  </a:cxn>
                  <a:cxn ang="0">
                    <a:pos x="901" y="490"/>
                  </a:cxn>
                  <a:cxn ang="0">
                    <a:pos x="966" y="512"/>
                  </a:cxn>
                  <a:cxn ang="0">
                    <a:pos x="1015" y="539"/>
                  </a:cxn>
                  <a:cxn ang="0">
                    <a:pos x="1053" y="566"/>
                  </a:cxn>
                  <a:cxn ang="0">
                    <a:pos x="1080" y="593"/>
                  </a:cxn>
                  <a:cxn ang="0">
                    <a:pos x="1102" y="620"/>
                  </a:cxn>
                  <a:cxn ang="0">
                    <a:pos x="1112" y="648"/>
                  </a:cxn>
                  <a:cxn ang="0">
                    <a:pos x="1118" y="675"/>
                  </a:cxn>
                  <a:cxn ang="0">
                    <a:pos x="1112" y="697"/>
                  </a:cxn>
                  <a:cxn ang="0">
                    <a:pos x="1096" y="724"/>
                  </a:cxn>
                  <a:cxn ang="0">
                    <a:pos x="1080" y="746"/>
                  </a:cxn>
                  <a:cxn ang="0">
                    <a:pos x="1053" y="767"/>
                  </a:cxn>
                  <a:cxn ang="0">
                    <a:pos x="1015" y="789"/>
                  </a:cxn>
                  <a:cxn ang="0">
                    <a:pos x="977" y="811"/>
                  </a:cxn>
                  <a:cxn ang="0">
                    <a:pos x="1047" y="789"/>
                  </a:cxn>
                  <a:cxn ang="0">
                    <a:pos x="1107" y="767"/>
                  </a:cxn>
                  <a:cxn ang="0">
                    <a:pos x="1156" y="746"/>
                  </a:cxn>
                  <a:cxn ang="0">
                    <a:pos x="1199" y="724"/>
                  </a:cxn>
                  <a:cxn ang="0">
                    <a:pos x="1226" y="702"/>
                  </a:cxn>
                  <a:cxn ang="0">
                    <a:pos x="1248" y="675"/>
                  </a:cxn>
                  <a:cxn ang="0">
                    <a:pos x="1259" y="648"/>
                  </a:cxn>
                  <a:cxn ang="0">
                    <a:pos x="1259" y="615"/>
                  </a:cxn>
                  <a:cxn ang="0">
                    <a:pos x="1259" y="615"/>
                  </a:cxn>
                </a:cxnLst>
                <a:rect l="0" t="0" r="r" b="b"/>
                <a:pathLst>
                  <a:path w="1259" h="811">
                    <a:moveTo>
                      <a:pt x="1259" y="615"/>
                    </a:moveTo>
                    <a:lnTo>
                      <a:pt x="1248" y="588"/>
                    </a:lnTo>
                    <a:lnTo>
                      <a:pt x="1237" y="566"/>
                    </a:lnTo>
                    <a:lnTo>
                      <a:pt x="1216" y="539"/>
                    </a:lnTo>
                    <a:lnTo>
                      <a:pt x="1188" y="517"/>
                    </a:lnTo>
                    <a:lnTo>
                      <a:pt x="1123" y="479"/>
                    </a:lnTo>
                    <a:lnTo>
                      <a:pt x="1042" y="441"/>
                    </a:lnTo>
                    <a:lnTo>
                      <a:pt x="944" y="408"/>
                    </a:lnTo>
                    <a:lnTo>
                      <a:pt x="841" y="381"/>
                    </a:lnTo>
                    <a:lnTo>
                      <a:pt x="727" y="348"/>
                    </a:lnTo>
                    <a:lnTo>
                      <a:pt x="613" y="321"/>
                    </a:lnTo>
                    <a:lnTo>
                      <a:pt x="499" y="294"/>
                    </a:lnTo>
                    <a:lnTo>
                      <a:pt x="391" y="261"/>
                    </a:lnTo>
                    <a:lnTo>
                      <a:pt x="288" y="229"/>
                    </a:lnTo>
                    <a:lnTo>
                      <a:pt x="195" y="196"/>
                    </a:lnTo>
                    <a:lnTo>
                      <a:pt x="119" y="152"/>
                    </a:lnTo>
                    <a:lnTo>
                      <a:pt x="54" y="109"/>
                    </a:lnTo>
                    <a:lnTo>
                      <a:pt x="33" y="87"/>
                    </a:lnTo>
                    <a:lnTo>
                      <a:pt x="16" y="60"/>
                    </a:lnTo>
                    <a:lnTo>
                      <a:pt x="5" y="33"/>
                    </a:lnTo>
                    <a:lnTo>
                      <a:pt x="0" y="0"/>
                    </a:lnTo>
                    <a:lnTo>
                      <a:pt x="0" y="6"/>
                    </a:lnTo>
                    <a:lnTo>
                      <a:pt x="0" y="11"/>
                    </a:lnTo>
                    <a:lnTo>
                      <a:pt x="0" y="38"/>
                    </a:lnTo>
                    <a:lnTo>
                      <a:pt x="5" y="60"/>
                    </a:lnTo>
                    <a:lnTo>
                      <a:pt x="16" y="87"/>
                    </a:lnTo>
                    <a:lnTo>
                      <a:pt x="33" y="114"/>
                    </a:lnTo>
                    <a:lnTo>
                      <a:pt x="54" y="142"/>
                    </a:lnTo>
                    <a:lnTo>
                      <a:pt x="87" y="174"/>
                    </a:lnTo>
                    <a:lnTo>
                      <a:pt x="125" y="207"/>
                    </a:lnTo>
                    <a:lnTo>
                      <a:pt x="179" y="240"/>
                    </a:lnTo>
                    <a:lnTo>
                      <a:pt x="244" y="278"/>
                    </a:lnTo>
                    <a:lnTo>
                      <a:pt x="326" y="310"/>
                    </a:lnTo>
                    <a:lnTo>
                      <a:pt x="418" y="348"/>
                    </a:lnTo>
                    <a:lnTo>
                      <a:pt x="526" y="381"/>
                    </a:lnTo>
                    <a:lnTo>
                      <a:pt x="657" y="414"/>
                    </a:lnTo>
                    <a:lnTo>
                      <a:pt x="749" y="435"/>
                    </a:lnTo>
                    <a:lnTo>
                      <a:pt x="830" y="463"/>
                    </a:lnTo>
                    <a:lnTo>
                      <a:pt x="901" y="490"/>
                    </a:lnTo>
                    <a:lnTo>
                      <a:pt x="966" y="512"/>
                    </a:lnTo>
                    <a:lnTo>
                      <a:pt x="1015" y="539"/>
                    </a:lnTo>
                    <a:lnTo>
                      <a:pt x="1053" y="566"/>
                    </a:lnTo>
                    <a:lnTo>
                      <a:pt x="1080" y="593"/>
                    </a:lnTo>
                    <a:lnTo>
                      <a:pt x="1102" y="620"/>
                    </a:lnTo>
                    <a:lnTo>
                      <a:pt x="1112" y="648"/>
                    </a:lnTo>
                    <a:lnTo>
                      <a:pt x="1118" y="675"/>
                    </a:lnTo>
                    <a:lnTo>
                      <a:pt x="1112" y="697"/>
                    </a:lnTo>
                    <a:lnTo>
                      <a:pt x="1096" y="724"/>
                    </a:lnTo>
                    <a:lnTo>
                      <a:pt x="1080" y="746"/>
                    </a:lnTo>
                    <a:lnTo>
                      <a:pt x="1053" y="767"/>
                    </a:lnTo>
                    <a:lnTo>
                      <a:pt x="1015" y="789"/>
                    </a:lnTo>
                    <a:lnTo>
                      <a:pt x="977" y="811"/>
                    </a:lnTo>
                    <a:lnTo>
                      <a:pt x="1047" y="789"/>
                    </a:lnTo>
                    <a:lnTo>
                      <a:pt x="1107" y="767"/>
                    </a:lnTo>
                    <a:lnTo>
                      <a:pt x="1156" y="746"/>
                    </a:lnTo>
                    <a:lnTo>
                      <a:pt x="1199" y="724"/>
                    </a:lnTo>
                    <a:lnTo>
                      <a:pt x="1226" y="702"/>
                    </a:lnTo>
                    <a:lnTo>
                      <a:pt x="1248" y="675"/>
                    </a:lnTo>
                    <a:lnTo>
                      <a:pt x="1259" y="648"/>
                    </a:lnTo>
                    <a:lnTo>
                      <a:pt x="1259" y="615"/>
                    </a:lnTo>
                    <a:lnTo>
                      <a:pt x="1259" y="615"/>
                    </a:lnTo>
                    <a:close/>
                  </a:path>
                </a:pathLst>
              </a:custGeom>
              <a:gradFill rotWithShape="0">
                <a:gsLst>
                  <a:gs pos="0">
                    <a:schemeClr val="bg1"/>
                  </a:gs>
                  <a:gs pos="100000">
                    <a:schemeClr val="bg1">
                      <a:gamma/>
                      <a:shade val="90980"/>
                      <a:invGamma/>
                    </a:schemeClr>
                  </a:gs>
                </a:gsLst>
                <a:lin ang="2700000" scaled="1"/>
              </a:gradFill>
              <a:ln w="9525">
                <a:noFill/>
                <a:round/>
                <a:headEnd/>
                <a:tailEnd/>
              </a:ln>
            </p:spPr>
            <p:txBody>
              <a:bodyPr/>
              <a:lstStyle/>
              <a:p>
                <a:pPr eaLnBrk="0" hangingPunct="0">
                  <a:defRPr/>
                </a:pPr>
                <a:endParaRPr lang="en-US" sz="1800">
                  <a:solidFill>
                    <a:srgbClr val="FFFFFF"/>
                  </a:solidFill>
                  <a:latin typeface="+mn-lt"/>
                  <a:cs typeface="+mn-cs"/>
                </a:endParaRPr>
              </a:p>
            </p:txBody>
          </p:sp>
          <p:sp>
            <p:nvSpPr>
              <p:cNvPr id="13" name="Freeform 8">
                <a:extLst>
                  <a:ext uri="{FF2B5EF4-FFF2-40B4-BE49-F238E27FC236}">
                    <a16:creationId xmlns:a16="http://schemas.microsoft.com/office/drawing/2014/main" id="{9F7D4370-4CFE-4B1C-B62B-14081A356E42}"/>
                  </a:ext>
                </a:extLst>
              </p:cNvPr>
              <p:cNvSpPr>
                <a:spLocks/>
              </p:cNvSpPr>
              <p:nvPr/>
            </p:nvSpPr>
            <p:spPr bwMode="hidden">
              <a:xfrm>
                <a:off x="2900" y="3346"/>
                <a:ext cx="2849" cy="969"/>
              </a:xfrm>
              <a:custGeom>
                <a:avLst/>
                <a:gdLst/>
                <a:ahLst/>
                <a:cxnLst>
                  <a:cxn ang="0">
                    <a:pos x="92" y="958"/>
                  </a:cxn>
                  <a:cxn ang="0">
                    <a:pos x="0" y="969"/>
                  </a:cxn>
                  <a:cxn ang="0">
                    <a:pos x="391" y="969"/>
                  </a:cxn>
                  <a:cxn ang="0">
                    <a:pos x="434" y="947"/>
                  </a:cxn>
                  <a:cxn ang="0">
                    <a:pos x="483" y="914"/>
                  </a:cxn>
                  <a:cxn ang="0">
                    <a:pos x="554" y="876"/>
                  </a:cxn>
                  <a:cxn ang="0">
                    <a:pos x="635" y="838"/>
                  </a:cxn>
                  <a:cxn ang="0">
                    <a:pos x="727" y="794"/>
                  </a:cxn>
                  <a:cxn ang="0">
                    <a:pos x="836" y="745"/>
                  </a:cxn>
                  <a:cxn ang="0">
                    <a:pos x="961" y="696"/>
                  </a:cxn>
                  <a:cxn ang="0">
                    <a:pos x="1102" y="642"/>
                  </a:cxn>
                  <a:cxn ang="0">
                    <a:pos x="1259" y="582"/>
                  </a:cxn>
                  <a:cxn ang="0">
                    <a:pos x="1433" y="522"/>
                  </a:cxn>
                  <a:cxn ang="0">
                    <a:pos x="1623" y="462"/>
                  </a:cxn>
                  <a:cxn ang="0">
                    <a:pos x="1829" y="403"/>
                  </a:cxn>
                  <a:cxn ang="0">
                    <a:pos x="2057" y="343"/>
                  </a:cxn>
                  <a:cxn ang="0">
                    <a:pos x="2301" y="283"/>
                  </a:cxn>
                  <a:cxn ang="0">
                    <a:pos x="2567" y="223"/>
                  </a:cxn>
                  <a:cxn ang="0">
                    <a:pos x="2849" y="163"/>
                  </a:cxn>
                  <a:cxn ang="0">
                    <a:pos x="2849" y="0"/>
                  </a:cxn>
                  <a:cxn ang="0">
                    <a:pos x="2817" y="16"/>
                  </a:cxn>
                  <a:cxn ang="0">
                    <a:pos x="2773" y="33"/>
                  </a:cxn>
                  <a:cxn ang="0">
                    <a:pos x="2719" y="54"/>
                  </a:cxn>
                  <a:cxn ang="0">
                    <a:pos x="2648" y="76"/>
                  </a:cxn>
                  <a:cxn ang="0">
                    <a:pos x="2572" y="98"/>
                  </a:cxn>
                  <a:cxn ang="0">
                    <a:pos x="2491" y="120"/>
                  </a:cxn>
                  <a:cxn ang="0">
                    <a:pos x="2399" y="147"/>
                  </a:cxn>
                  <a:cxn ang="0">
                    <a:pos x="2301" y="169"/>
                  </a:cxn>
                  <a:cxn ang="0">
                    <a:pos x="2095" y="223"/>
                  </a:cxn>
                  <a:cxn ang="0">
                    <a:pos x="1889" y="277"/>
                  </a:cxn>
                  <a:cxn ang="0">
                    <a:pos x="1688" y="326"/>
                  </a:cxn>
                  <a:cxn ang="0">
                    <a:pos x="1590" y="354"/>
                  </a:cxn>
                  <a:cxn ang="0">
                    <a:pos x="1503" y="381"/>
                  </a:cxn>
                  <a:cxn ang="0">
                    <a:pos x="1107" y="506"/>
                  </a:cxn>
                  <a:cxn ang="0">
                    <a:pos x="912" y="577"/>
                  </a:cxn>
                  <a:cxn ang="0">
                    <a:pos x="727" y="647"/>
                  </a:cxn>
                  <a:cxn ang="0">
                    <a:pos x="548" y="718"/>
                  </a:cxn>
                  <a:cxn ang="0">
                    <a:pos x="380" y="794"/>
                  </a:cxn>
                  <a:cxn ang="0">
                    <a:pos x="228" y="876"/>
                  </a:cxn>
                  <a:cxn ang="0">
                    <a:pos x="92" y="958"/>
                  </a:cxn>
                  <a:cxn ang="0">
                    <a:pos x="92" y="958"/>
                  </a:cxn>
                </a:cxnLst>
                <a:rect l="0" t="0" r="r" b="b"/>
                <a:pathLst>
                  <a:path w="2849" h="969">
                    <a:moveTo>
                      <a:pt x="92" y="958"/>
                    </a:moveTo>
                    <a:lnTo>
                      <a:pt x="0" y="969"/>
                    </a:lnTo>
                    <a:lnTo>
                      <a:pt x="391" y="969"/>
                    </a:lnTo>
                    <a:lnTo>
                      <a:pt x="434" y="947"/>
                    </a:lnTo>
                    <a:lnTo>
                      <a:pt x="483" y="914"/>
                    </a:lnTo>
                    <a:lnTo>
                      <a:pt x="554" y="876"/>
                    </a:lnTo>
                    <a:lnTo>
                      <a:pt x="635" y="838"/>
                    </a:lnTo>
                    <a:lnTo>
                      <a:pt x="727" y="794"/>
                    </a:lnTo>
                    <a:lnTo>
                      <a:pt x="836" y="745"/>
                    </a:lnTo>
                    <a:lnTo>
                      <a:pt x="961" y="696"/>
                    </a:lnTo>
                    <a:lnTo>
                      <a:pt x="1102" y="642"/>
                    </a:lnTo>
                    <a:lnTo>
                      <a:pt x="1259" y="582"/>
                    </a:lnTo>
                    <a:lnTo>
                      <a:pt x="1433" y="522"/>
                    </a:lnTo>
                    <a:lnTo>
                      <a:pt x="1623" y="462"/>
                    </a:lnTo>
                    <a:lnTo>
                      <a:pt x="1829" y="403"/>
                    </a:lnTo>
                    <a:lnTo>
                      <a:pt x="2057" y="343"/>
                    </a:lnTo>
                    <a:lnTo>
                      <a:pt x="2301" y="283"/>
                    </a:lnTo>
                    <a:lnTo>
                      <a:pt x="2567" y="223"/>
                    </a:lnTo>
                    <a:lnTo>
                      <a:pt x="2849" y="163"/>
                    </a:lnTo>
                    <a:lnTo>
                      <a:pt x="2849" y="0"/>
                    </a:lnTo>
                    <a:lnTo>
                      <a:pt x="2817" y="16"/>
                    </a:lnTo>
                    <a:lnTo>
                      <a:pt x="2773" y="33"/>
                    </a:lnTo>
                    <a:lnTo>
                      <a:pt x="2719" y="54"/>
                    </a:lnTo>
                    <a:lnTo>
                      <a:pt x="2648" y="76"/>
                    </a:lnTo>
                    <a:lnTo>
                      <a:pt x="2572" y="98"/>
                    </a:lnTo>
                    <a:lnTo>
                      <a:pt x="2491" y="120"/>
                    </a:lnTo>
                    <a:lnTo>
                      <a:pt x="2399" y="147"/>
                    </a:lnTo>
                    <a:lnTo>
                      <a:pt x="2301" y="169"/>
                    </a:lnTo>
                    <a:lnTo>
                      <a:pt x="2095" y="223"/>
                    </a:lnTo>
                    <a:lnTo>
                      <a:pt x="1889" y="277"/>
                    </a:lnTo>
                    <a:lnTo>
                      <a:pt x="1688" y="326"/>
                    </a:lnTo>
                    <a:lnTo>
                      <a:pt x="1590" y="354"/>
                    </a:lnTo>
                    <a:lnTo>
                      <a:pt x="1503" y="381"/>
                    </a:lnTo>
                    <a:lnTo>
                      <a:pt x="1107" y="506"/>
                    </a:lnTo>
                    <a:lnTo>
                      <a:pt x="912" y="577"/>
                    </a:lnTo>
                    <a:lnTo>
                      <a:pt x="727" y="647"/>
                    </a:lnTo>
                    <a:lnTo>
                      <a:pt x="548" y="718"/>
                    </a:lnTo>
                    <a:lnTo>
                      <a:pt x="380" y="794"/>
                    </a:lnTo>
                    <a:lnTo>
                      <a:pt x="228" y="876"/>
                    </a:lnTo>
                    <a:lnTo>
                      <a:pt x="92" y="958"/>
                    </a:lnTo>
                    <a:lnTo>
                      <a:pt x="92" y="958"/>
                    </a:lnTo>
                    <a:close/>
                  </a:path>
                </a:pathLst>
              </a:custGeom>
              <a:gradFill rotWithShape="0">
                <a:gsLst>
                  <a:gs pos="0">
                    <a:schemeClr val="bg1">
                      <a:gamma/>
                      <a:shade val="81961"/>
                      <a:invGamma/>
                    </a:schemeClr>
                  </a:gs>
                  <a:gs pos="100000">
                    <a:schemeClr val="bg1"/>
                  </a:gs>
                </a:gsLst>
                <a:lin ang="5400000" scaled="1"/>
              </a:gradFill>
              <a:ln w="9525">
                <a:noFill/>
                <a:round/>
                <a:headEnd/>
                <a:tailEnd/>
              </a:ln>
            </p:spPr>
            <p:txBody>
              <a:bodyPr/>
              <a:lstStyle/>
              <a:p>
                <a:pPr eaLnBrk="0" hangingPunct="0">
                  <a:defRPr/>
                </a:pPr>
                <a:endParaRPr lang="en-US" sz="1800">
                  <a:solidFill>
                    <a:srgbClr val="FFFFFF"/>
                  </a:solidFill>
                  <a:latin typeface="+mn-lt"/>
                  <a:cs typeface="+mn-cs"/>
                </a:endParaRPr>
              </a:p>
            </p:txBody>
          </p:sp>
          <p:sp>
            <p:nvSpPr>
              <p:cNvPr id="14" name="Freeform 9">
                <a:extLst>
                  <a:ext uri="{FF2B5EF4-FFF2-40B4-BE49-F238E27FC236}">
                    <a16:creationId xmlns:a16="http://schemas.microsoft.com/office/drawing/2014/main" id="{2ED94557-D4E8-4E7D-8423-AF295D6748C3}"/>
                  </a:ext>
                </a:extLst>
              </p:cNvPr>
              <p:cNvSpPr>
                <a:spLocks/>
              </p:cNvSpPr>
              <p:nvPr/>
            </p:nvSpPr>
            <p:spPr bwMode="hidden">
              <a:xfrm>
                <a:off x="2748" y="2230"/>
                <a:ext cx="3007" cy="2085"/>
              </a:xfrm>
              <a:custGeom>
                <a:avLst/>
                <a:gdLst>
                  <a:gd name="T0" fmla="*/ 1433 w 3007"/>
                  <a:gd name="T1" fmla="*/ 474 h 2085"/>
                  <a:gd name="T2" fmla="*/ 1460 w 3007"/>
                  <a:gd name="T3" fmla="*/ 528 h 2085"/>
                  <a:gd name="T4" fmla="*/ 1541 w 3007"/>
                  <a:gd name="T5" fmla="*/ 593 h 2085"/>
                  <a:gd name="T6" fmla="*/ 1715 w 3007"/>
                  <a:gd name="T7" fmla="*/ 670 h 2085"/>
                  <a:gd name="T8" fmla="*/ 1927 w 3007"/>
                  <a:gd name="T9" fmla="*/ 735 h 2085"/>
                  <a:gd name="T10" fmla="*/ 2155 w 3007"/>
                  <a:gd name="T11" fmla="*/ 789 h 2085"/>
                  <a:gd name="T12" fmla="*/ 2372 w 3007"/>
                  <a:gd name="T13" fmla="*/ 849 h 2085"/>
                  <a:gd name="T14" fmla="*/ 2551 w 3007"/>
                  <a:gd name="T15" fmla="*/ 920 h 2085"/>
                  <a:gd name="T16" fmla="*/ 2638 w 3007"/>
                  <a:gd name="T17" fmla="*/ 980 h 2085"/>
                  <a:gd name="T18" fmla="*/ 2676 w 3007"/>
                  <a:gd name="T19" fmla="*/ 1029 h 2085"/>
                  <a:gd name="T20" fmla="*/ 2681 w 3007"/>
                  <a:gd name="T21" fmla="*/ 1083 h 2085"/>
                  <a:gd name="T22" fmla="*/ 2665 w 3007"/>
                  <a:gd name="T23" fmla="*/ 1127 h 2085"/>
                  <a:gd name="T24" fmla="*/ 2616 w 3007"/>
                  <a:gd name="T25" fmla="*/ 1170 h 2085"/>
                  <a:gd name="T26" fmla="*/ 2545 w 3007"/>
                  <a:gd name="T27" fmla="*/ 1208 h 2085"/>
                  <a:gd name="T28" fmla="*/ 2448 w 3007"/>
                  <a:gd name="T29" fmla="*/ 1241 h 2085"/>
                  <a:gd name="T30" fmla="*/ 2328 w 3007"/>
                  <a:gd name="T31" fmla="*/ 1274 h 2085"/>
                  <a:gd name="T32" fmla="*/ 2106 w 3007"/>
                  <a:gd name="T33" fmla="*/ 1328 h 2085"/>
                  <a:gd name="T34" fmla="*/ 1742 w 3007"/>
                  <a:gd name="T35" fmla="*/ 1421 h 2085"/>
                  <a:gd name="T36" fmla="*/ 1308 w 3007"/>
                  <a:gd name="T37" fmla="*/ 1540 h 2085"/>
                  <a:gd name="T38" fmla="*/ 820 w 3007"/>
                  <a:gd name="T39" fmla="*/ 1709 h 2085"/>
                  <a:gd name="T40" fmla="*/ 282 w 3007"/>
                  <a:gd name="T41" fmla="*/ 1943 h 2085"/>
                  <a:gd name="T42" fmla="*/ 152 w 3007"/>
                  <a:gd name="T43" fmla="*/ 2085 h 2085"/>
                  <a:gd name="T44" fmla="*/ 386 w 3007"/>
                  <a:gd name="T45" fmla="*/ 1992 h 2085"/>
                  <a:gd name="T46" fmla="*/ 700 w 3007"/>
                  <a:gd name="T47" fmla="*/ 1834 h 2085"/>
                  <a:gd name="T48" fmla="*/ 1064 w 3007"/>
                  <a:gd name="T49" fmla="*/ 1693 h 2085"/>
                  <a:gd name="T50" fmla="*/ 1661 w 3007"/>
                  <a:gd name="T51" fmla="*/ 1497 h 2085"/>
                  <a:gd name="T52" fmla="*/ 1845 w 3007"/>
                  <a:gd name="T53" fmla="*/ 1442 h 2085"/>
                  <a:gd name="T54" fmla="*/ 2252 w 3007"/>
                  <a:gd name="T55" fmla="*/ 1339 h 2085"/>
                  <a:gd name="T56" fmla="*/ 2551 w 3007"/>
                  <a:gd name="T57" fmla="*/ 1263 h 2085"/>
                  <a:gd name="T58" fmla="*/ 2730 w 3007"/>
                  <a:gd name="T59" fmla="*/ 1214 h 2085"/>
                  <a:gd name="T60" fmla="*/ 2876 w 3007"/>
                  <a:gd name="T61" fmla="*/ 1170 h 2085"/>
                  <a:gd name="T62" fmla="*/ 2974 w 3007"/>
                  <a:gd name="T63" fmla="*/ 1132 h 2085"/>
                  <a:gd name="T64" fmla="*/ 3007 w 3007"/>
                  <a:gd name="T65" fmla="*/ 871 h 2085"/>
                  <a:gd name="T66" fmla="*/ 2860 w 3007"/>
                  <a:gd name="T67" fmla="*/ 844 h 2085"/>
                  <a:gd name="T68" fmla="*/ 2670 w 3007"/>
                  <a:gd name="T69" fmla="*/ 806 h 2085"/>
                  <a:gd name="T70" fmla="*/ 2458 w 3007"/>
                  <a:gd name="T71" fmla="*/ 757 h 2085"/>
                  <a:gd name="T72" fmla="*/ 2138 w 3007"/>
                  <a:gd name="T73" fmla="*/ 670 h 2085"/>
                  <a:gd name="T74" fmla="*/ 1959 w 3007"/>
                  <a:gd name="T75" fmla="*/ 604 h 2085"/>
                  <a:gd name="T76" fmla="*/ 1824 w 3007"/>
                  <a:gd name="T77" fmla="*/ 534 h 2085"/>
                  <a:gd name="T78" fmla="*/ 1769 w 3007"/>
                  <a:gd name="T79" fmla="*/ 474 h 2085"/>
                  <a:gd name="T80" fmla="*/ 1753 w 3007"/>
                  <a:gd name="T81" fmla="*/ 436 h 2085"/>
                  <a:gd name="T82" fmla="*/ 1780 w 3007"/>
                  <a:gd name="T83" fmla="*/ 381 h 2085"/>
                  <a:gd name="T84" fmla="*/ 1862 w 3007"/>
                  <a:gd name="T85" fmla="*/ 316 h 2085"/>
                  <a:gd name="T86" fmla="*/ 1986 w 3007"/>
                  <a:gd name="T87" fmla="*/ 267 h 2085"/>
                  <a:gd name="T88" fmla="*/ 2149 w 3007"/>
                  <a:gd name="T89" fmla="*/ 229 h 2085"/>
                  <a:gd name="T90" fmla="*/ 2431 w 3007"/>
                  <a:gd name="T91" fmla="*/ 180 h 2085"/>
                  <a:gd name="T92" fmla="*/ 2827 w 3007"/>
                  <a:gd name="T93" fmla="*/ 125 h 2085"/>
                  <a:gd name="T94" fmla="*/ 3007 w 3007"/>
                  <a:gd name="T95" fmla="*/ 87 h 2085"/>
                  <a:gd name="T96" fmla="*/ 2909 w 3007"/>
                  <a:gd name="T97" fmla="*/ 22 h 2085"/>
                  <a:gd name="T98" fmla="*/ 2676 w 3007"/>
                  <a:gd name="T99" fmla="*/ 66 h 2085"/>
                  <a:gd name="T100" fmla="*/ 2285 w 3007"/>
                  <a:gd name="T101" fmla="*/ 120 h 2085"/>
                  <a:gd name="T102" fmla="*/ 2030 w 3007"/>
                  <a:gd name="T103" fmla="*/ 158 h 2085"/>
                  <a:gd name="T104" fmla="*/ 1791 w 3007"/>
                  <a:gd name="T105" fmla="*/ 202 h 2085"/>
                  <a:gd name="T106" fmla="*/ 1601 w 3007"/>
                  <a:gd name="T107" fmla="*/ 261 h 2085"/>
                  <a:gd name="T108" fmla="*/ 1471 w 3007"/>
                  <a:gd name="T109" fmla="*/ 338 h 2085"/>
                  <a:gd name="T110" fmla="*/ 1438 w 3007"/>
                  <a:gd name="T111" fmla="*/ 387 h 2085"/>
                  <a:gd name="T112" fmla="*/ 1427 w 3007"/>
                  <a:gd name="T113" fmla="*/ 441 h 2085"/>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3007" h="2085">
                    <a:moveTo>
                      <a:pt x="1427" y="441"/>
                    </a:moveTo>
                    <a:lnTo>
                      <a:pt x="1433" y="474"/>
                    </a:lnTo>
                    <a:lnTo>
                      <a:pt x="1444" y="501"/>
                    </a:lnTo>
                    <a:lnTo>
                      <a:pt x="1460" y="528"/>
                    </a:lnTo>
                    <a:lnTo>
                      <a:pt x="1482" y="550"/>
                    </a:lnTo>
                    <a:lnTo>
                      <a:pt x="1541" y="593"/>
                    </a:lnTo>
                    <a:lnTo>
                      <a:pt x="1623" y="637"/>
                    </a:lnTo>
                    <a:lnTo>
                      <a:pt x="1715" y="670"/>
                    </a:lnTo>
                    <a:lnTo>
                      <a:pt x="1818" y="702"/>
                    </a:lnTo>
                    <a:lnTo>
                      <a:pt x="1927" y="735"/>
                    </a:lnTo>
                    <a:lnTo>
                      <a:pt x="2041" y="762"/>
                    </a:lnTo>
                    <a:lnTo>
                      <a:pt x="2155" y="789"/>
                    </a:lnTo>
                    <a:lnTo>
                      <a:pt x="2269" y="822"/>
                    </a:lnTo>
                    <a:lnTo>
                      <a:pt x="2372" y="849"/>
                    </a:lnTo>
                    <a:lnTo>
                      <a:pt x="2464" y="882"/>
                    </a:lnTo>
                    <a:lnTo>
                      <a:pt x="2551" y="920"/>
                    </a:lnTo>
                    <a:lnTo>
                      <a:pt x="2616" y="958"/>
                    </a:lnTo>
                    <a:lnTo>
                      <a:pt x="2638" y="980"/>
                    </a:lnTo>
                    <a:lnTo>
                      <a:pt x="2659" y="1007"/>
                    </a:lnTo>
                    <a:lnTo>
                      <a:pt x="2676" y="1029"/>
                    </a:lnTo>
                    <a:lnTo>
                      <a:pt x="2681" y="1056"/>
                    </a:lnTo>
                    <a:lnTo>
                      <a:pt x="2681" y="1083"/>
                    </a:lnTo>
                    <a:lnTo>
                      <a:pt x="2676" y="1105"/>
                    </a:lnTo>
                    <a:lnTo>
                      <a:pt x="2665" y="1127"/>
                    </a:lnTo>
                    <a:lnTo>
                      <a:pt x="2643" y="1149"/>
                    </a:lnTo>
                    <a:lnTo>
                      <a:pt x="2616" y="1170"/>
                    </a:lnTo>
                    <a:lnTo>
                      <a:pt x="2583" y="1187"/>
                    </a:lnTo>
                    <a:lnTo>
                      <a:pt x="2545" y="1208"/>
                    </a:lnTo>
                    <a:lnTo>
                      <a:pt x="2502" y="1225"/>
                    </a:lnTo>
                    <a:lnTo>
                      <a:pt x="2448" y="1241"/>
                    </a:lnTo>
                    <a:lnTo>
                      <a:pt x="2388" y="1257"/>
                    </a:lnTo>
                    <a:lnTo>
                      <a:pt x="2328" y="1274"/>
                    </a:lnTo>
                    <a:lnTo>
                      <a:pt x="2258" y="1290"/>
                    </a:lnTo>
                    <a:lnTo>
                      <a:pt x="2106" y="1328"/>
                    </a:lnTo>
                    <a:lnTo>
                      <a:pt x="1932" y="1372"/>
                    </a:lnTo>
                    <a:lnTo>
                      <a:pt x="1742" y="1421"/>
                    </a:lnTo>
                    <a:lnTo>
                      <a:pt x="1531" y="1475"/>
                    </a:lnTo>
                    <a:lnTo>
                      <a:pt x="1308" y="1540"/>
                    </a:lnTo>
                    <a:lnTo>
                      <a:pt x="1069" y="1617"/>
                    </a:lnTo>
                    <a:lnTo>
                      <a:pt x="820" y="1709"/>
                    </a:lnTo>
                    <a:lnTo>
                      <a:pt x="554" y="1818"/>
                    </a:lnTo>
                    <a:lnTo>
                      <a:pt x="282" y="1943"/>
                    </a:lnTo>
                    <a:lnTo>
                      <a:pt x="0" y="2085"/>
                    </a:lnTo>
                    <a:lnTo>
                      <a:pt x="152" y="2085"/>
                    </a:lnTo>
                    <a:lnTo>
                      <a:pt x="244" y="2074"/>
                    </a:lnTo>
                    <a:lnTo>
                      <a:pt x="386" y="1992"/>
                    </a:lnTo>
                    <a:lnTo>
                      <a:pt x="537" y="1910"/>
                    </a:lnTo>
                    <a:lnTo>
                      <a:pt x="700" y="1834"/>
                    </a:lnTo>
                    <a:lnTo>
                      <a:pt x="879" y="1763"/>
                    </a:lnTo>
                    <a:lnTo>
                      <a:pt x="1064" y="1693"/>
                    </a:lnTo>
                    <a:lnTo>
                      <a:pt x="1259" y="1622"/>
                    </a:lnTo>
                    <a:lnTo>
                      <a:pt x="1661" y="1497"/>
                    </a:lnTo>
                    <a:lnTo>
                      <a:pt x="1748" y="1470"/>
                    </a:lnTo>
                    <a:lnTo>
                      <a:pt x="1845" y="1442"/>
                    </a:lnTo>
                    <a:lnTo>
                      <a:pt x="2046" y="1393"/>
                    </a:lnTo>
                    <a:lnTo>
                      <a:pt x="2252" y="1339"/>
                    </a:lnTo>
                    <a:lnTo>
                      <a:pt x="2458" y="1285"/>
                    </a:lnTo>
                    <a:lnTo>
                      <a:pt x="2551" y="1263"/>
                    </a:lnTo>
                    <a:lnTo>
                      <a:pt x="2643" y="1236"/>
                    </a:lnTo>
                    <a:lnTo>
                      <a:pt x="2730" y="1214"/>
                    </a:lnTo>
                    <a:lnTo>
                      <a:pt x="2806" y="1192"/>
                    </a:lnTo>
                    <a:lnTo>
                      <a:pt x="2876" y="1170"/>
                    </a:lnTo>
                    <a:lnTo>
                      <a:pt x="2931" y="1149"/>
                    </a:lnTo>
                    <a:lnTo>
                      <a:pt x="2974" y="1132"/>
                    </a:lnTo>
                    <a:lnTo>
                      <a:pt x="3007" y="1116"/>
                    </a:lnTo>
                    <a:lnTo>
                      <a:pt x="3007" y="871"/>
                    </a:lnTo>
                    <a:lnTo>
                      <a:pt x="2941" y="860"/>
                    </a:lnTo>
                    <a:lnTo>
                      <a:pt x="2860" y="844"/>
                    </a:lnTo>
                    <a:lnTo>
                      <a:pt x="2773" y="827"/>
                    </a:lnTo>
                    <a:lnTo>
                      <a:pt x="2670" y="806"/>
                    </a:lnTo>
                    <a:lnTo>
                      <a:pt x="2567" y="784"/>
                    </a:lnTo>
                    <a:lnTo>
                      <a:pt x="2458" y="757"/>
                    </a:lnTo>
                    <a:lnTo>
                      <a:pt x="2241" y="702"/>
                    </a:lnTo>
                    <a:lnTo>
                      <a:pt x="2138" y="670"/>
                    </a:lnTo>
                    <a:lnTo>
                      <a:pt x="2046" y="637"/>
                    </a:lnTo>
                    <a:lnTo>
                      <a:pt x="1959" y="604"/>
                    </a:lnTo>
                    <a:lnTo>
                      <a:pt x="1883" y="566"/>
                    </a:lnTo>
                    <a:lnTo>
                      <a:pt x="1824" y="534"/>
                    </a:lnTo>
                    <a:lnTo>
                      <a:pt x="1780" y="495"/>
                    </a:lnTo>
                    <a:lnTo>
                      <a:pt x="1769" y="474"/>
                    </a:lnTo>
                    <a:lnTo>
                      <a:pt x="1758" y="457"/>
                    </a:lnTo>
                    <a:lnTo>
                      <a:pt x="1753" y="436"/>
                    </a:lnTo>
                    <a:lnTo>
                      <a:pt x="1758" y="419"/>
                    </a:lnTo>
                    <a:lnTo>
                      <a:pt x="1780" y="381"/>
                    </a:lnTo>
                    <a:lnTo>
                      <a:pt x="1813" y="343"/>
                    </a:lnTo>
                    <a:lnTo>
                      <a:pt x="1862" y="316"/>
                    </a:lnTo>
                    <a:lnTo>
                      <a:pt x="1921" y="289"/>
                    </a:lnTo>
                    <a:lnTo>
                      <a:pt x="1986" y="267"/>
                    </a:lnTo>
                    <a:lnTo>
                      <a:pt x="2062" y="245"/>
                    </a:lnTo>
                    <a:lnTo>
                      <a:pt x="2149" y="229"/>
                    </a:lnTo>
                    <a:lnTo>
                      <a:pt x="2236" y="213"/>
                    </a:lnTo>
                    <a:lnTo>
                      <a:pt x="2431" y="180"/>
                    </a:lnTo>
                    <a:lnTo>
                      <a:pt x="2627" y="158"/>
                    </a:lnTo>
                    <a:lnTo>
                      <a:pt x="2827" y="125"/>
                    </a:lnTo>
                    <a:lnTo>
                      <a:pt x="2920" y="109"/>
                    </a:lnTo>
                    <a:lnTo>
                      <a:pt x="3007" y="87"/>
                    </a:lnTo>
                    <a:lnTo>
                      <a:pt x="3007" y="0"/>
                    </a:lnTo>
                    <a:lnTo>
                      <a:pt x="2909" y="22"/>
                    </a:lnTo>
                    <a:lnTo>
                      <a:pt x="2795" y="44"/>
                    </a:lnTo>
                    <a:lnTo>
                      <a:pt x="2676" y="66"/>
                    </a:lnTo>
                    <a:lnTo>
                      <a:pt x="2551" y="82"/>
                    </a:lnTo>
                    <a:lnTo>
                      <a:pt x="2285" y="120"/>
                    </a:lnTo>
                    <a:lnTo>
                      <a:pt x="2155" y="136"/>
                    </a:lnTo>
                    <a:lnTo>
                      <a:pt x="2030" y="158"/>
                    </a:lnTo>
                    <a:lnTo>
                      <a:pt x="1905" y="174"/>
                    </a:lnTo>
                    <a:lnTo>
                      <a:pt x="1791" y="202"/>
                    </a:lnTo>
                    <a:lnTo>
                      <a:pt x="1688" y="229"/>
                    </a:lnTo>
                    <a:lnTo>
                      <a:pt x="1601" y="261"/>
                    </a:lnTo>
                    <a:lnTo>
                      <a:pt x="1525" y="300"/>
                    </a:lnTo>
                    <a:lnTo>
                      <a:pt x="1471" y="338"/>
                    </a:lnTo>
                    <a:lnTo>
                      <a:pt x="1455" y="359"/>
                    </a:lnTo>
                    <a:lnTo>
                      <a:pt x="1438" y="387"/>
                    </a:lnTo>
                    <a:lnTo>
                      <a:pt x="1427" y="414"/>
                    </a:lnTo>
                    <a:lnTo>
                      <a:pt x="1427" y="44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800"/>
              </a:p>
            </p:txBody>
          </p:sp>
          <p:sp>
            <p:nvSpPr>
              <p:cNvPr id="15" name="Freeform 10">
                <a:extLst>
                  <a:ext uri="{FF2B5EF4-FFF2-40B4-BE49-F238E27FC236}">
                    <a16:creationId xmlns:a16="http://schemas.microsoft.com/office/drawing/2014/main" id="{18922C15-6365-4BD0-BDB3-58757076A3EF}"/>
                  </a:ext>
                </a:extLst>
              </p:cNvPr>
              <p:cNvSpPr>
                <a:spLocks/>
              </p:cNvSpPr>
              <p:nvPr/>
            </p:nvSpPr>
            <p:spPr bwMode="hidden">
              <a:xfrm>
                <a:off x="4501" y="2317"/>
                <a:ext cx="1248" cy="539"/>
              </a:xfrm>
              <a:custGeom>
                <a:avLst/>
                <a:gdLst/>
                <a:ahLst/>
                <a:cxnLst>
                  <a:cxn ang="0">
                    <a:pos x="0" y="332"/>
                  </a:cxn>
                  <a:cxn ang="0">
                    <a:pos x="0" y="360"/>
                  </a:cxn>
                  <a:cxn ang="0">
                    <a:pos x="5" y="387"/>
                  </a:cxn>
                  <a:cxn ang="0">
                    <a:pos x="27" y="414"/>
                  </a:cxn>
                  <a:cxn ang="0">
                    <a:pos x="54" y="436"/>
                  </a:cxn>
                  <a:cxn ang="0">
                    <a:pos x="92" y="463"/>
                  </a:cxn>
                  <a:cxn ang="0">
                    <a:pos x="141" y="490"/>
                  </a:cxn>
                  <a:cxn ang="0">
                    <a:pos x="195" y="512"/>
                  </a:cxn>
                  <a:cxn ang="0">
                    <a:pos x="255" y="539"/>
                  </a:cxn>
                  <a:cxn ang="0">
                    <a:pos x="212" y="517"/>
                  </a:cxn>
                  <a:cxn ang="0">
                    <a:pos x="179" y="490"/>
                  </a:cxn>
                  <a:cxn ang="0">
                    <a:pos x="157" y="468"/>
                  </a:cxn>
                  <a:cxn ang="0">
                    <a:pos x="141" y="447"/>
                  </a:cxn>
                  <a:cxn ang="0">
                    <a:pos x="136" y="425"/>
                  </a:cxn>
                  <a:cxn ang="0">
                    <a:pos x="136" y="403"/>
                  </a:cxn>
                  <a:cxn ang="0">
                    <a:pos x="141" y="381"/>
                  </a:cxn>
                  <a:cxn ang="0">
                    <a:pos x="157" y="365"/>
                  </a:cxn>
                  <a:cxn ang="0">
                    <a:pos x="179" y="343"/>
                  </a:cxn>
                  <a:cxn ang="0">
                    <a:pos x="201" y="327"/>
                  </a:cxn>
                  <a:cxn ang="0">
                    <a:pos x="266" y="294"/>
                  </a:cxn>
                  <a:cxn ang="0">
                    <a:pos x="353" y="262"/>
                  </a:cxn>
                  <a:cxn ang="0">
                    <a:pos x="445" y="234"/>
                  </a:cxn>
                  <a:cxn ang="0">
                    <a:pos x="554" y="213"/>
                  </a:cxn>
                  <a:cxn ang="0">
                    <a:pos x="662" y="191"/>
                  </a:cxn>
                  <a:cxn ang="0">
                    <a:pos x="890" y="153"/>
                  </a:cxn>
                  <a:cxn ang="0">
                    <a:pos x="993" y="136"/>
                  </a:cxn>
                  <a:cxn ang="0">
                    <a:pos x="1091" y="120"/>
                  </a:cxn>
                  <a:cxn ang="0">
                    <a:pos x="1178" y="115"/>
                  </a:cxn>
                  <a:cxn ang="0">
                    <a:pos x="1248" y="104"/>
                  </a:cxn>
                  <a:cxn ang="0">
                    <a:pos x="1248" y="0"/>
                  </a:cxn>
                  <a:cxn ang="0">
                    <a:pos x="1161" y="22"/>
                  </a:cxn>
                  <a:cxn ang="0">
                    <a:pos x="1069" y="38"/>
                  </a:cxn>
                  <a:cxn ang="0">
                    <a:pos x="874" y="71"/>
                  </a:cxn>
                  <a:cxn ang="0">
                    <a:pos x="673" y="93"/>
                  </a:cxn>
                  <a:cxn ang="0">
                    <a:pos x="483" y="126"/>
                  </a:cxn>
                  <a:cxn ang="0">
                    <a:pos x="391" y="142"/>
                  </a:cxn>
                  <a:cxn ang="0">
                    <a:pos x="309" y="158"/>
                  </a:cxn>
                  <a:cxn ang="0">
                    <a:pos x="228" y="180"/>
                  </a:cxn>
                  <a:cxn ang="0">
                    <a:pos x="163" y="202"/>
                  </a:cxn>
                  <a:cxn ang="0">
                    <a:pos x="103" y="229"/>
                  </a:cxn>
                  <a:cxn ang="0">
                    <a:pos x="54" y="256"/>
                  </a:cxn>
                  <a:cxn ang="0">
                    <a:pos x="22" y="294"/>
                  </a:cxn>
                  <a:cxn ang="0">
                    <a:pos x="0" y="332"/>
                  </a:cxn>
                  <a:cxn ang="0">
                    <a:pos x="0" y="332"/>
                  </a:cxn>
                </a:cxnLst>
                <a:rect l="0" t="0" r="r" b="b"/>
                <a:pathLst>
                  <a:path w="1248" h="539">
                    <a:moveTo>
                      <a:pt x="0" y="332"/>
                    </a:moveTo>
                    <a:lnTo>
                      <a:pt x="0" y="360"/>
                    </a:lnTo>
                    <a:lnTo>
                      <a:pt x="5" y="387"/>
                    </a:lnTo>
                    <a:lnTo>
                      <a:pt x="27" y="414"/>
                    </a:lnTo>
                    <a:lnTo>
                      <a:pt x="54" y="436"/>
                    </a:lnTo>
                    <a:lnTo>
                      <a:pt x="92" y="463"/>
                    </a:lnTo>
                    <a:lnTo>
                      <a:pt x="141" y="490"/>
                    </a:lnTo>
                    <a:lnTo>
                      <a:pt x="195" y="512"/>
                    </a:lnTo>
                    <a:lnTo>
                      <a:pt x="255" y="539"/>
                    </a:lnTo>
                    <a:lnTo>
                      <a:pt x="212" y="517"/>
                    </a:lnTo>
                    <a:lnTo>
                      <a:pt x="179" y="490"/>
                    </a:lnTo>
                    <a:lnTo>
                      <a:pt x="157" y="468"/>
                    </a:lnTo>
                    <a:lnTo>
                      <a:pt x="141" y="447"/>
                    </a:lnTo>
                    <a:lnTo>
                      <a:pt x="136" y="425"/>
                    </a:lnTo>
                    <a:lnTo>
                      <a:pt x="136" y="403"/>
                    </a:lnTo>
                    <a:lnTo>
                      <a:pt x="141" y="381"/>
                    </a:lnTo>
                    <a:lnTo>
                      <a:pt x="157" y="365"/>
                    </a:lnTo>
                    <a:lnTo>
                      <a:pt x="179" y="343"/>
                    </a:lnTo>
                    <a:lnTo>
                      <a:pt x="201" y="327"/>
                    </a:lnTo>
                    <a:lnTo>
                      <a:pt x="266" y="294"/>
                    </a:lnTo>
                    <a:lnTo>
                      <a:pt x="353" y="262"/>
                    </a:lnTo>
                    <a:lnTo>
                      <a:pt x="445" y="234"/>
                    </a:lnTo>
                    <a:lnTo>
                      <a:pt x="554" y="213"/>
                    </a:lnTo>
                    <a:lnTo>
                      <a:pt x="662" y="191"/>
                    </a:lnTo>
                    <a:lnTo>
                      <a:pt x="890" y="153"/>
                    </a:lnTo>
                    <a:lnTo>
                      <a:pt x="993" y="136"/>
                    </a:lnTo>
                    <a:lnTo>
                      <a:pt x="1091" y="120"/>
                    </a:lnTo>
                    <a:lnTo>
                      <a:pt x="1178" y="115"/>
                    </a:lnTo>
                    <a:lnTo>
                      <a:pt x="1248" y="104"/>
                    </a:lnTo>
                    <a:lnTo>
                      <a:pt x="1248" y="0"/>
                    </a:lnTo>
                    <a:lnTo>
                      <a:pt x="1161" y="22"/>
                    </a:lnTo>
                    <a:lnTo>
                      <a:pt x="1069" y="38"/>
                    </a:lnTo>
                    <a:lnTo>
                      <a:pt x="874" y="71"/>
                    </a:lnTo>
                    <a:lnTo>
                      <a:pt x="673" y="93"/>
                    </a:lnTo>
                    <a:lnTo>
                      <a:pt x="483" y="126"/>
                    </a:lnTo>
                    <a:lnTo>
                      <a:pt x="391" y="142"/>
                    </a:lnTo>
                    <a:lnTo>
                      <a:pt x="309" y="158"/>
                    </a:lnTo>
                    <a:lnTo>
                      <a:pt x="228" y="180"/>
                    </a:lnTo>
                    <a:lnTo>
                      <a:pt x="163" y="202"/>
                    </a:lnTo>
                    <a:lnTo>
                      <a:pt x="103" y="229"/>
                    </a:lnTo>
                    <a:lnTo>
                      <a:pt x="54" y="256"/>
                    </a:lnTo>
                    <a:lnTo>
                      <a:pt x="22" y="294"/>
                    </a:lnTo>
                    <a:lnTo>
                      <a:pt x="0" y="332"/>
                    </a:lnTo>
                    <a:lnTo>
                      <a:pt x="0" y="332"/>
                    </a:lnTo>
                    <a:close/>
                  </a:path>
                </a:pathLst>
              </a:custGeom>
              <a:gradFill rotWithShape="0">
                <a:gsLst>
                  <a:gs pos="0">
                    <a:schemeClr val="bg1">
                      <a:gamma/>
                      <a:shade val="87843"/>
                      <a:invGamma/>
                    </a:schemeClr>
                  </a:gs>
                  <a:gs pos="100000">
                    <a:schemeClr val="bg1"/>
                  </a:gs>
                </a:gsLst>
                <a:lin ang="2700000" scaled="1"/>
              </a:gradFill>
              <a:ln w="9525">
                <a:noFill/>
                <a:round/>
                <a:headEnd/>
                <a:tailEnd/>
              </a:ln>
            </p:spPr>
            <p:txBody>
              <a:bodyPr/>
              <a:lstStyle/>
              <a:p>
                <a:pPr eaLnBrk="0" hangingPunct="0">
                  <a:defRPr/>
                </a:pPr>
                <a:endParaRPr lang="en-US" sz="1800">
                  <a:solidFill>
                    <a:srgbClr val="FFFFFF"/>
                  </a:solidFill>
                  <a:latin typeface="+mn-lt"/>
                  <a:cs typeface="+mn-cs"/>
                </a:endParaRPr>
              </a:p>
            </p:txBody>
          </p:sp>
        </p:grpSp>
        <p:sp>
          <p:nvSpPr>
            <p:cNvPr id="9" name="Freeform 11">
              <a:extLst>
                <a:ext uri="{FF2B5EF4-FFF2-40B4-BE49-F238E27FC236}">
                  <a16:creationId xmlns:a16="http://schemas.microsoft.com/office/drawing/2014/main" id="{A2F68502-E2DC-4BE4-A6E1-299F3B652580}"/>
                </a:ext>
              </a:extLst>
            </p:cNvPr>
            <p:cNvSpPr>
              <a:spLocks/>
            </p:cNvSpPr>
            <p:nvPr/>
          </p:nvSpPr>
          <p:spPr bwMode="hidden">
            <a:xfrm>
              <a:off x="3322" y="1341"/>
              <a:ext cx="1825" cy="1537"/>
            </a:xfrm>
            <a:custGeom>
              <a:avLst/>
              <a:gdLst/>
              <a:ahLst/>
              <a:cxnLst>
                <a:cxn ang="0">
                  <a:pos x="982" y="1061"/>
                </a:cxn>
                <a:cxn ang="0">
                  <a:pos x="1357" y="1012"/>
                </a:cxn>
                <a:cxn ang="0">
                  <a:pos x="1666" y="957"/>
                </a:cxn>
                <a:cxn ang="0">
                  <a:pos x="1916" y="897"/>
                </a:cxn>
                <a:cxn ang="0">
                  <a:pos x="2100" y="832"/>
                </a:cxn>
                <a:cxn ang="0">
                  <a:pos x="2220" y="756"/>
                </a:cxn>
                <a:cxn ang="0">
                  <a:pos x="2285" y="669"/>
                </a:cxn>
                <a:cxn ang="0">
                  <a:pos x="2290" y="560"/>
                </a:cxn>
                <a:cxn ang="0">
                  <a:pos x="2241" y="457"/>
                </a:cxn>
                <a:cxn ang="0">
                  <a:pos x="2144" y="364"/>
                </a:cxn>
                <a:cxn ang="0">
                  <a:pos x="2008" y="277"/>
                </a:cxn>
                <a:cxn ang="0">
                  <a:pos x="1769" y="157"/>
                </a:cxn>
                <a:cxn ang="0">
                  <a:pos x="1612" y="92"/>
                </a:cxn>
                <a:cxn ang="0">
                  <a:pos x="1476" y="43"/>
                </a:cxn>
                <a:cxn ang="0">
                  <a:pos x="1384" y="10"/>
                </a:cxn>
                <a:cxn ang="0">
                  <a:pos x="1346" y="0"/>
                </a:cxn>
                <a:cxn ang="0">
                  <a:pos x="1655" y="119"/>
                </a:cxn>
                <a:cxn ang="0">
                  <a:pos x="1948" y="255"/>
                </a:cxn>
                <a:cxn ang="0">
                  <a:pos x="2068" y="326"/>
                </a:cxn>
                <a:cxn ang="0">
                  <a:pos x="2171" y="402"/>
                </a:cxn>
                <a:cxn ang="0">
                  <a:pos x="2236" y="478"/>
                </a:cxn>
                <a:cxn ang="0">
                  <a:pos x="2263" y="560"/>
                </a:cxn>
                <a:cxn ang="0">
                  <a:pos x="2241" y="636"/>
                </a:cxn>
                <a:cxn ang="0">
                  <a:pos x="2171" y="702"/>
                </a:cxn>
                <a:cxn ang="0">
                  <a:pos x="2062" y="756"/>
                </a:cxn>
                <a:cxn ang="0">
                  <a:pos x="1921" y="800"/>
                </a:cxn>
                <a:cxn ang="0">
                  <a:pos x="1748" y="843"/>
                </a:cxn>
                <a:cxn ang="0">
                  <a:pos x="1351" y="908"/>
                </a:cxn>
                <a:cxn ang="0">
                  <a:pos x="923" y="968"/>
                </a:cxn>
                <a:cxn ang="0">
                  <a:pos x="521" y="1028"/>
                </a:cxn>
                <a:cxn ang="0">
                  <a:pos x="353" y="1066"/>
                </a:cxn>
                <a:cxn ang="0">
                  <a:pos x="206" y="1104"/>
                </a:cxn>
                <a:cxn ang="0">
                  <a:pos x="92" y="1148"/>
                </a:cxn>
                <a:cxn ang="0">
                  <a:pos x="22" y="1202"/>
                </a:cxn>
                <a:cxn ang="0">
                  <a:pos x="0" y="1262"/>
                </a:cxn>
                <a:cxn ang="0">
                  <a:pos x="27" y="1327"/>
                </a:cxn>
                <a:cxn ang="0">
                  <a:pos x="98" y="1382"/>
                </a:cxn>
                <a:cxn ang="0">
                  <a:pos x="196" y="1425"/>
                </a:cxn>
                <a:cxn ang="0">
                  <a:pos x="326" y="1469"/>
                </a:cxn>
                <a:cxn ang="0">
                  <a:pos x="217" y="1414"/>
                </a:cxn>
                <a:cxn ang="0">
                  <a:pos x="147" y="1360"/>
                </a:cxn>
                <a:cxn ang="0">
                  <a:pos x="120" y="1306"/>
                </a:cxn>
                <a:cxn ang="0">
                  <a:pos x="141" y="1257"/>
                </a:cxn>
                <a:cxn ang="0">
                  <a:pos x="212" y="1208"/>
                </a:cxn>
                <a:cxn ang="0">
                  <a:pos x="342" y="1164"/>
                </a:cxn>
                <a:cxn ang="0">
                  <a:pos x="527" y="1121"/>
                </a:cxn>
                <a:cxn ang="0">
                  <a:pos x="771" y="1088"/>
                </a:cxn>
              </a:cxnLst>
              <a:rect l="0" t="0" r="r" b="b"/>
              <a:pathLst>
                <a:path w="2296" h="1469">
                  <a:moveTo>
                    <a:pt x="771" y="1088"/>
                  </a:moveTo>
                  <a:lnTo>
                    <a:pt x="982" y="1061"/>
                  </a:lnTo>
                  <a:lnTo>
                    <a:pt x="1178" y="1034"/>
                  </a:lnTo>
                  <a:lnTo>
                    <a:pt x="1357" y="1012"/>
                  </a:lnTo>
                  <a:lnTo>
                    <a:pt x="1520" y="985"/>
                  </a:lnTo>
                  <a:lnTo>
                    <a:pt x="1666" y="957"/>
                  </a:lnTo>
                  <a:lnTo>
                    <a:pt x="1796" y="930"/>
                  </a:lnTo>
                  <a:lnTo>
                    <a:pt x="1916" y="897"/>
                  </a:lnTo>
                  <a:lnTo>
                    <a:pt x="2013" y="870"/>
                  </a:lnTo>
                  <a:lnTo>
                    <a:pt x="2100" y="832"/>
                  </a:lnTo>
                  <a:lnTo>
                    <a:pt x="2171" y="800"/>
                  </a:lnTo>
                  <a:lnTo>
                    <a:pt x="2220" y="756"/>
                  </a:lnTo>
                  <a:lnTo>
                    <a:pt x="2263" y="712"/>
                  </a:lnTo>
                  <a:lnTo>
                    <a:pt x="2285" y="669"/>
                  </a:lnTo>
                  <a:lnTo>
                    <a:pt x="2296" y="614"/>
                  </a:lnTo>
                  <a:lnTo>
                    <a:pt x="2290" y="560"/>
                  </a:lnTo>
                  <a:lnTo>
                    <a:pt x="2269" y="500"/>
                  </a:lnTo>
                  <a:lnTo>
                    <a:pt x="2241" y="457"/>
                  </a:lnTo>
                  <a:lnTo>
                    <a:pt x="2198" y="408"/>
                  </a:lnTo>
                  <a:lnTo>
                    <a:pt x="2144" y="364"/>
                  </a:lnTo>
                  <a:lnTo>
                    <a:pt x="2079" y="321"/>
                  </a:lnTo>
                  <a:lnTo>
                    <a:pt x="2008" y="277"/>
                  </a:lnTo>
                  <a:lnTo>
                    <a:pt x="1927" y="234"/>
                  </a:lnTo>
                  <a:lnTo>
                    <a:pt x="1769" y="157"/>
                  </a:lnTo>
                  <a:lnTo>
                    <a:pt x="1688" y="125"/>
                  </a:lnTo>
                  <a:lnTo>
                    <a:pt x="1612" y="92"/>
                  </a:lnTo>
                  <a:lnTo>
                    <a:pt x="1536" y="65"/>
                  </a:lnTo>
                  <a:lnTo>
                    <a:pt x="1476" y="43"/>
                  </a:lnTo>
                  <a:lnTo>
                    <a:pt x="1422" y="27"/>
                  </a:lnTo>
                  <a:lnTo>
                    <a:pt x="1384" y="10"/>
                  </a:lnTo>
                  <a:lnTo>
                    <a:pt x="1357" y="5"/>
                  </a:lnTo>
                  <a:lnTo>
                    <a:pt x="1346" y="0"/>
                  </a:lnTo>
                  <a:lnTo>
                    <a:pt x="1498" y="54"/>
                  </a:lnTo>
                  <a:lnTo>
                    <a:pt x="1655" y="119"/>
                  </a:lnTo>
                  <a:lnTo>
                    <a:pt x="1807" y="185"/>
                  </a:lnTo>
                  <a:lnTo>
                    <a:pt x="1948" y="255"/>
                  </a:lnTo>
                  <a:lnTo>
                    <a:pt x="2013" y="288"/>
                  </a:lnTo>
                  <a:lnTo>
                    <a:pt x="2068" y="326"/>
                  </a:lnTo>
                  <a:lnTo>
                    <a:pt x="2122" y="364"/>
                  </a:lnTo>
                  <a:lnTo>
                    <a:pt x="2171" y="402"/>
                  </a:lnTo>
                  <a:lnTo>
                    <a:pt x="2209" y="440"/>
                  </a:lnTo>
                  <a:lnTo>
                    <a:pt x="2236" y="478"/>
                  </a:lnTo>
                  <a:lnTo>
                    <a:pt x="2252" y="522"/>
                  </a:lnTo>
                  <a:lnTo>
                    <a:pt x="2263" y="560"/>
                  </a:lnTo>
                  <a:lnTo>
                    <a:pt x="2258" y="598"/>
                  </a:lnTo>
                  <a:lnTo>
                    <a:pt x="2241" y="636"/>
                  </a:lnTo>
                  <a:lnTo>
                    <a:pt x="2214" y="669"/>
                  </a:lnTo>
                  <a:lnTo>
                    <a:pt x="2171" y="702"/>
                  </a:lnTo>
                  <a:lnTo>
                    <a:pt x="2122" y="729"/>
                  </a:lnTo>
                  <a:lnTo>
                    <a:pt x="2062" y="756"/>
                  </a:lnTo>
                  <a:lnTo>
                    <a:pt x="1997" y="778"/>
                  </a:lnTo>
                  <a:lnTo>
                    <a:pt x="1921" y="800"/>
                  </a:lnTo>
                  <a:lnTo>
                    <a:pt x="1834" y="821"/>
                  </a:lnTo>
                  <a:lnTo>
                    <a:pt x="1748" y="843"/>
                  </a:lnTo>
                  <a:lnTo>
                    <a:pt x="1552" y="876"/>
                  </a:lnTo>
                  <a:lnTo>
                    <a:pt x="1351" y="908"/>
                  </a:lnTo>
                  <a:lnTo>
                    <a:pt x="1134" y="941"/>
                  </a:lnTo>
                  <a:lnTo>
                    <a:pt x="923" y="968"/>
                  </a:lnTo>
                  <a:lnTo>
                    <a:pt x="716" y="995"/>
                  </a:lnTo>
                  <a:lnTo>
                    <a:pt x="521" y="1028"/>
                  </a:lnTo>
                  <a:lnTo>
                    <a:pt x="434" y="1044"/>
                  </a:lnTo>
                  <a:lnTo>
                    <a:pt x="353" y="1066"/>
                  </a:lnTo>
                  <a:lnTo>
                    <a:pt x="277" y="1082"/>
                  </a:lnTo>
                  <a:lnTo>
                    <a:pt x="206" y="1104"/>
                  </a:lnTo>
                  <a:lnTo>
                    <a:pt x="147" y="1126"/>
                  </a:lnTo>
                  <a:lnTo>
                    <a:pt x="92" y="1148"/>
                  </a:lnTo>
                  <a:lnTo>
                    <a:pt x="54" y="1175"/>
                  </a:lnTo>
                  <a:lnTo>
                    <a:pt x="22" y="1202"/>
                  </a:lnTo>
                  <a:lnTo>
                    <a:pt x="6" y="1229"/>
                  </a:lnTo>
                  <a:lnTo>
                    <a:pt x="0" y="1262"/>
                  </a:lnTo>
                  <a:lnTo>
                    <a:pt x="11" y="1295"/>
                  </a:lnTo>
                  <a:lnTo>
                    <a:pt x="27" y="1327"/>
                  </a:lnTo>
                  <a:lnTo>
                    <a:pt x="54" y="1355"/>
                  </a:lnTo>
                  <a:lnTo>
                    <a:pt x="98" y="1382"/>
                  </a:lnTo>
                  <a:lnTo>
                    <a:pt x="141" y="1404"/>
                  </a:lnTo>
                  <a:lnTo>
                    <a:pt x="196" y="1425"/>
                  </a:lnTo>
                  <a:lnTo>
                    <a:pt x="261" y="1447"/>
                  </a:lnTo>
                  <a:lnTo>
                    <a:pt x="326" y="1469"/>
                  </a:lnTo>
                  <a:lnTo>
                    <a:pt x="266" y="1442"/>
                  </a:lnTo>
                  <a:lnTo>
                    <a:pt x="217" y="1414"/>
                  </a:lnTo>
                  <a:lnTo>
                    <a:pt x="174" y="1387"/>
                  </a:lnTo>
                  <a:lnTo>
                    <a:pt x="147" y="1360"/>
                  </a:lnTo>
                  <a:lnTo>
                    <a:pt x="125" y="1333"/>
                  </a:lnTo>
                  <a:lnTo>
                    <a:pt x="120" y="1306"/>
                  </a:lnTo>
                  <a:lnTo>
                    <a:pt x="125" y="1278"/>
                  </a:lnTo>
                  <a:lnTo>
                    <a:pt x="141" y="1257"/>
                  </a:lnTo>
                  <a:lnTo>
                    <a:pt x="174" y="1229"/>
                  </a:lnTo>
                  <a:lnTo>
                    <a:pt x="212" y="1208"/>
                  </a:lnTo>
                  <a:lnTo>
                    <a:pt x="272" y="1186"/>
                  </a:lnTo>
                  <a:lnTo>
                    <a:pt x="342" y="1164"/>
                  </a:lnTo>
                  <a:lnTo>
                    <a:pt x="423" y="1142"/>
                  </a:lnTo>
                  <a:lnTo>
                    <a:pt x="527" y="1121"/>
                  </a:lnTo>
                  <a:lnTo>
                    <a:pt x="641" y="1104"/>
                  </a:lnTo>
                  <a:lnTo>
                    <a:pt x="771" y="1088"/>
                  </a:lnTo>
                  <a:lnTo>
                    <a:pt x="771" y="1088"/>
                  </a:lnTo>
                  <a:close/>
                </a:path>
              </a:pathLst>
            </a:custGeom>
            <a:gradFill rotWithShape="0">
              <a:gsLst>
                <a:gs pos="0">
                  <a:schemeClr val="bg1">
                    <a:gamma/>
                    <a:shade val="84706"/>
                    <a:invGamma/>
                  </a:schemeClr>
                </a:gs>
                <a:gs pos="100000">
                  <a:schemeClr val="bg1"/>
                </a:gs>
              </a:gsLst>
              <a:lin ang="2700000" scaled="1"/>
            </a:gradFill>
            <a:ln w="9525">
              <a:noFill/>
              <a:round/>
              <a:headEnd/>
              <a:tailEnd/>
            </a:ln>
          </p:spPr>
          <p:txBody>
            <a:bodyPr/>
            <a:lstStyle/>
            <a:p>
              <a:pPr eaLnBrk="0" hangingPunct="0">
                <a:defRPr/>
              </a:pPr>
              <a:endParaRPr lang="en-US" sz="1800">
                <a:solidFill>
                  <a:srgbClr val="FFFFFF"/>
                </a:solidFill>
                <a:latin typeface="+mn-lt"/>
                <a:cs typeface="+mn-cs"/>
              </a:endParaRPr>
            </a:p>
          </p:txBody>
        </p:sp>
        <p:sp>
          <p:nvSpPr>
            <p:cNvPr id="10" name="Freeform 12">
              <a:extLst>
                <a:ext uri="{FF2B5EF4-FFF2-40B4-BE49-F238E27FC236}">
                  <a16:creationId xmlns:a16="http://schemas.microsoft.com/office/drawing/2014/main" id="{C2F2758B-7F7E-411A-B7C2-AC95B9D0CB68}"/>
                </a:ext>
              </a:extLst>
            </p:cNvPr>
            <p:cNvSpPr>
              <a:spLocks/>
            </p:cNvSpPr>
            <p:nvPr/>
          </p:nvSpPr>
          <p:spPr bwMode="hidden">
            <a:xfrm>
              <a:off x="0" y="0"/>
              <a:ext cx="5758" cy="1776"/>
            </a:xfrm>
            <a:custGeom>
              <a:avLst/>
              <a:gdLst>
                <a:gd name="T0" fmla="*/ 0 w 5740"/>
                <a:gd name="T1" fmla="*/ 0 h 1906"/>
                <a:gd name="T2" fmla="*/ 0 w 5740"/>
                <a:gd name="T3" fmla="*/ 1776 h 1906"/>
                <a:gd name="T4" fmla="*/ 5758 w 5740"/>
                <a:gd name="T5" fmla="*/ 1776 h 1906"/>
                <a:gd name="T6" fmla="*/ 5758 w 5740"/>
                <a:gd name="T7" fmla="*/ 0 h 1906"/>
                <a:gd name="T8" fmla="*/ 0 w 5740"/>
                <a:gd name="T9" fmla="*/ 0 h 1906"/>
                <a:gd name="T10" fmla="*/ 0 w 5740"/>
                <a:gd name="T11" fmla="*/ 0 h 190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5740" h="1906">
                  <a:moveTo>
                    <a:pt x="0" y="0"/>
                  </a:moveTo>
                  <a:lnTo>
                    <a:pt x="0" y="1906"/>
                  </a:lnTo>
                  <a:lnTo>
                    <a:pt x="5740" y="1906"/>
                  </a:lnTo>
                  <a:lnTo>
                    <a:pt x="5740" y="0"/>
                  </a:lnTo>
                  <a:lnTo>
                    <a:pt x="0" y="0"/>
                  </a:lnTo>
                  <a:close/>
                </a:path>
              </a:pathLst>
            </a:custGeom>
            <a:gradFill rotWithShape="0">
              <a:gsLst>
                <a:gs pos="0">
                  <a:schemeClr val="bg2"/>
                </a:gs>
                <a:gs pos="100000">
                  <a:schemeClr val="bg1"/>
                </a:gs>
              </a:gsLst>
              <a:lin ang="54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800"/>
            </a:p>
          </p:txBody>
        </p:sp>
      </p:grpSp>
      <p:sp>
        <p:nvSpPr>
          <p:cNvPr id="16" name="Text Box 16">
            <a:extLst>
              <a:ext uri="{FF2B5EF4-FFF2-40B4-BE49-F238E27FC236}">
                <a16:creationId xmlns:a16="http://schemas.microsoft.com/office/drawing/2014/main" id="{DEEC3D75-5799-43EB-BD69-FAC050D03FDA}"/>
              </a:ext>
            </a:extLst>
          </p:cNvPr>
          <p:cNvSpPr txBox="1">
            <a:spLocks noChangeArrowheads="1"/>
          </p:cNvSpPr>
          <p:nvPr/>
        </p:nvSpPr>
        <p:spPr bwMode="auto">
          <a:xfrm>
            <a:off x="11074400" y="304801"/>
            <a:ext cx="711200"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pPr eaLnBrk="0" hangingPunct="0">
              <a:spcBef>
                <a:spcPct val="50000"/>
              </a:spcBef>
              <a:defRPr/>
            </a:pPr>
            <a:endParaRPr lang="en-US" altLang="en-US" sz="1800">
              <a:solidFill>
                <a:srgbClr val="FFFFFF"/>
              </a:solidFill>
              <a:latin typeface="Garamond" pitchFamily="18" charset="0"/>
            </a:endParaRPr>
          </a:p>
        </p:txBody>
      </p:sp>
      <p:sp>
        <p:nvSpPr>
          <p:cNvPr id="17" name="Text Box 17">
            <a:extLst>
              <a:ext uri="{FF2B5EF4-FFF2-40B4-BE49-F238E27FC236}">
                <a16:creationId xmlns:a16="http://schemas.microsoft.com/office/drawing/2014/main" id="{F0C7B827-8D3F-4F11-BE15-29A470D53E7A}"/>
              </a:ext>
            </a:extLst>
          </p:cNvPr>
          <p:cNvSpPr txBox="1">
            <a:spLocks noChangeArrowheads="1"/>
          </p:cNvSpPr>
          <p:nvPr/>
        </p:nvSpPr>
        <p:spPr bwMode="auto">
          <a:xfrm>
            <a:off x="11582400" y="228601"/>
            <a:ext cx="609600"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Calibri" panose="020F0502020204030204" pitchFamily="34" charset="0"/>
                <a:cs typeface="Arial" panose="020B0604020202020204" pitchFamily="34" charset="0"/>
              </a:defRPr>
            </a:lvl1pPr>
            <a:lvl2pPr marL="742950" indent="-285750" eaLnBrk="0" hangingPunct="0">
              <a:defRPr>
                <a:solidFill>
                  <a:schemeClr val="tx1"/>
                </a:solidFill>
                <a:latin typeface="Calibri" panose="020F0502020204030204" pitchFamily="34" charset="0"/>
                <a:cs typeface="Arial" panose="020B0604020202020204" pitchFamily="34" charset="0"/>
              </a:defRPr>
            </a:lvl2pPr>
            <a:lvl3pPr marL="1143000" indent="-228600" eaLnBrk="0" hangingPunct="0">
              <a:defRPr>
                <a:solidFill>
                  <a:schemeClr val="tx1"/>
                </a:solidFill>
                <a:latin typeface="Calibri" panose="020F0502020204030204" pitchFamily="34" charset="0"/>
                <a:cs typeface="Arial" panose="020B0604020202020204" pitchFamily="34" charset="0"/>
              </a:defRPr>
            </a:lvl3pPr>
            <a:lvl4pPr marL="1600200" indent="-228600" eaLnBrk="0" hangingPunct="0">
              <a:defRPr>
                <a:solidFill>
                  <a:schemeClr val="tx1"/>
                </a:solidFill>
                <a:latin typeface="Calibri" panose="020F0502020204030204" pitchFamily="34" charset="0"/>
                <a:cs typeface="Arial" panose="020B0604020202020204" pitchFamily="34" charset="0"/>
              </a:defRPr>
            </a:lvl4pPr>
            <a:lvl5pPr marL="2057400" indent="-228600" eaLnBrk="0" hangingPunct="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spcBef>
                <a:spcPct val="50000"/>
              </a:spcBef>
            </a:pPr>
            <a:fld id="{6FC24977-D6C1-4379-911A-1B2FB3184FED}" type="slidenum">
              <a:rPr lang="en-US" altLang="en-US" sz="1800">
                <a:solidFill>
                  <a:srgbClr val="FFFFFF"/>
                </a:solidFill>
                <a:latin typeface="Garamond" panose="02020404030301010803" pitchFamily="18" charset="0"/>
              </a:rPr>
              <a:pPr>
                <a:spcBef>
                  <a:spcPct val="50000"/>
                </a:spcBef>
              </a:pPr>
              <a:t>‹#›</a:t>
            </a:fld>
            <a:endParaRPr lang="en-US" altLang="en-US" sz="1800">
              <a:solidFill>
                <a:srgbClr val="FFFFFF"/>
              </a:solidFill>
              <a:latin typeface="Garamond" panose="02020404030301010803" pitchFamily="18" charset="0"/>
            </a:endParaRPr>
          </a:p>
        </p:txBody>
      </p:sp>
      <p:graphicFrame>
        <p:nvGraphicFramePr>
          <p:cNvPr id="18" name="Object 18">
            <a:extLst>
              <a:ext uri="{FF2B5EF4-FFF2-40B4-BE49-F238E27FC236}">
                <a16:creationId xmlns:a16="http://schemas.microsoft.com/office/drawing/2014/main" id="{8B9CD30B-B11A-4ABB-827A-B8561B97502B}"/>
              </a:ext>
            </a:extLst>
          </p:cNvPr>
          <p:cNvGraphicFramePr>
            <a:graphicFrameLocks noChangeAspect="1"/>
          </p:cNvGraphicFramePr>
          <p:nvPr/>
        </p:nvGraphicFramePr>
        <p:xfrm>
          <a:off x="9652000" y="5918200"/>
          <a:ext cx="2540000" cy="939800"/>
        </p:xfrm>
        <a:graphic>
          <a:graphicData uri="http://schemas.openxmlformats.org/presentationml/2006/ole">
            <mc:AlternateContent xmlns:mc="http://schemas.openxmlformats.org/markup-compatibility/2006">
              <mc:Choice xmlns:v="urn:schemas-microsoft-com:vml" Requires="v">
                <p:oleObj spid="_x0000_s8195" name="Bitmap Image" r:id="rId3" imgW="2142857" imgH="1057423" progId="Paint.Picture">
                  <p:embed/>
                </p:oleObj>
              </mc:Choice>
              <mc:Fallback>
                <p:oleObj name="Bitmap Image" r:id="rId3" imgW="2142857" imgH="1057423" progId="Paint.Picture">
                  <p:embed/>
                  <p:pic>
                    <p:nvPicPr>
                      <p:cNvPr id="18" name="Object 18">
                        <a:extLst>
                          <a:ext uri="{FF2B5EF4-FFF2-40B4-BE49-F238E27FC236}">
                            <a16:creationId xmlns:a16="http://schemas.microsoft.com/office/drawing/2014/main" id="{8B9CD30B-B11A-4ABB-827A-B8561B97502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652000" y="5918200"/>
                        <a:ext cx="2540000" cy="939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Rectangle 2">
            <a:extLst>
              <a:ext uri="{FF2B5EF4-FFF2-40B4-BE49-F238E27FC236}">
                <a16:creationId xmlns:a16="http://schemas.microsoft.com/office/drawing/2014/main" id="{5849BAD4-CD9E-485D-8D20-3B449135C50C}"/>
              </a:ext>
            </a:extLst>
          </p:cNvPr>
          <p:cNvSpPr>
            <a:spLocks noGrp="1" noChangeArrowheads="1"/>
          </p:cNvSpPr>
          <p:nvPr>
            <p:ph type="dt" sz="half" idx="10"/>
          </p:nvPr>
        </p:nvSpPr>
        <p:spPr/>
        <p:txBody>
          <a:bodyPr/>
          <a:lstStyle>
            <a:lvl1pPr fontAlgn="auto">
              <a:spcBef>
                <a:spcPts val="0"/>
              </a:spcBef>
              <a:spcAft>
                <a:spcPts val="0"/>
              </a:spcAft>
              <a:defRPr/>
            </a:lvl1pPr>
          </a:lstStyle>
          <a:p>
            <a:pPr>
              <a:defRPr/>
            </a:pPr>
            <a:endParaRPr lang="en-US"/>
          </a:p>
        </p:txBody>
      </p:sp>
      <p:sp>
        <p:nvSpPr>
          <p:cNvPr id="20" name="Rectangle 3">
            <a:extLst>
              <a:ext uri="{FF2B5EF4-FFF2-40B4-BE49-F238E27FC236}">
                <a16:creationId xmlns:a16="http://schemas.microsoft.com/office/drawing/2014/main" id="{24363986-F77E-4FC8-B5BE-7584FDACB587}"/>
              </a:ext>
            </a:extLst>
          </p:cNvPr>
          <p:cNvSpPr>
            <a:spLocks noGrp="1" noChangeArrowheads="1"/>
          </p:cNvSpPr>
          <p:nvPr>
            <p:ph type="sldNum" sz="quarter" idx="11"/>
          </p:nvPr>
        </p:nvSpPr>
        <p:spPr/>
        <p:txBody>
          <a:bodyPr/>
          <a:lstStyle>
            <a:lvl1pPr>
              <a:defRPr/>
            </a:lvl1pPr>
          </a:lstStyle>
          <a:p>
            <a:fld id="{B32B6A80-134E-4BFB-8BF5-1F0390F60F23}" type="slidenum">
              <a:rPr lang="en-US" altLang="en-US"/>
              <a:pPr/>
              <a:t>‹#›</a:t>
            </a:fld>
            <a:endParaRPr lang="en-US" altLang="en-US"/>
          </a:p>
        </p:txBody>
      </p:sp>
      <p:sp>
        <p:nvSpPr>
          <p:cNvPr id="21" name="Rectangle 14">
            <a:extLst>
              <a:ext uri="{FF2B5EF4-FFF2-40B4-BE49-F238E27FC236}">
                <a16:creationId xmlns:a16="http://schemas.microsoft.com/office/drawing/2014/main" id="{FCFDC286-7800-4971-9B26-6F59DD52D001}"/>
              </a:ext>
            </a:extLst>
          </p:cNvPr>
          <p:cNvSpPr>
            <a:spLocks noGrp="1" noChangeArrowheads="1"/>
          </p:cNvSpPr>
          <p:nvPr>
            <p:ph type="ftr" sz="quarter" idx="12"/>
          </p:nvPr>
        </p:nvSpPr>
        <p:spPr/>
        <p:txBody>
          <a:bodyPr/>
          <a:lstStyle>
            <a:lvl1pPr fontAlgn="auto">
              <a:spcBef>
                <a:spcPts val="0"/>
              </a:spcBef>
              <a:spcAft>
                <a:spcPts val="0"/>
              </a:spcAft>
              <a:defRPr/>
            </a:lvl1pPr>
          </a:lstStyle>
          <a:p>
            <a:pPr>
              <a:defRPr/>
            </a:pPr>
            <a:endParaRPr lang="en-US"/>
          </a:p>
        </p:txBody>
      </p:sp>
    </p:spTree>
    <p:extLst>
      <p:ext uri="{BB962C8B-B14F-4D97-AF65-F5344CB8AC3E}">
        <p14:creationId xmlns:p14="http://schemas.microsoft.com/office/powerpoint/2010/main" val="4167653533"/>
      </p:ext>
    </p:extLst>
  </p:cSld>
  <p:clrMapOvr>
    <a:masterClrMapping/>
  </p:clrMapOvr>
  <p:transition>
    <p:random/>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grpSp>
        <p:nvGrpSpPr>
          <p:cNvPr id="3" name="Group 4">
            <a:extLst>
              <a:ext uri="{FF2B5EF4-FFF2-40B4-BE49-F238E27FC236}">
                <a16:creationId xmlns:a16="http://schemas.microsoft.com/office/drawing/2014/main" id="{A501EC7E-1C35-4D7B-804C-222630980D05}"/>
              </a:ext>
            </a:extLst>
          </p:cNvPr>
          <p:cNvGrpSpPr>
            <a:grpSpLocks/>
          </p:cNvGrpSpPr>
          <p:nvPr/>
        </p:nvGrpSpPr>
        <p:grpSpPr bwMode="auto">
          <a:xfrm>
            <a:off x="1" y="1"/>
            <a:ext cx="12187767" cy="6850063"/>
            <a:chOff x="0" y="0"/>
            <a:chExt cx="5758" cy="4315"/>
          </a:xfrm>
        </p:grpSpPr>
        <p:grpSp>
          <p:nvGrpSpPr>
            <p:cNvPr id="4" name="Group 5">
              <a:extLst>
                <a:ext uri="{FF2B5EF4-FFF2-40B4-BE49-F238E27FC236}">
                  <a16:creationId xmlns:a16="http://schemas.microsoft.com/office/drawing/2014/main" id="{7C9EEBCC-E62A-4B4A-BE22-7347CABB39EC}"/>
                </a:ext>
              </a:extLst>
            </p:cNvPr>
            <p:cNvGrpSpPr>
              <a:grpSpLocks/>
            </p:cNvGrpSpPr>
            <p:nvPr userDrawn="1"/>
          </p:nvGrpSpPr>
          <p:grpSpPr bwMode="auto">
            <a:xfrm>
              <a:off x="1728" y="2230"/>
              <a:ext cx="4027" cy="2085"/>
              <a:chOff x="1728" y="2230"/>
              <a:chExt cx="4027" cy="2085"/>
            </a:xfrm>
          </p:grpSpPr>
          <p:sp>
            <p:nvSpPr>
              <p:cNvPr id="7" name="Freeform 22">
                <a:extLst>
                  <a:ext uri="{FF2B5EF4-FFF2-40B4-BE49-F238E27FC236}">
                    <a16:creationId xmlns:a16="http://schemas.microsoft.com/office/drawing/2014/main" id="{90EC4140-1FAE-48E0-9569-68AF4E1D70E3}"/>
                  </a:ext>
                </a:extLst>
              </p:cNvPr>
              <p:cNvSpPr>
                <a:spLocks/>
              </p:cNvSpPr>
              <p:nvPr/>
            </p:nvSpPr>
            <p:spPr bwMode="hidden">
              <a:xfrm>
                <a:off x="1728" y="2644"/>
                <a:ext cx="2882" cy="1671"/>
              </a:xfrm>
              <a:custGeom>
                <a:avLst/>
                <a:gdLst/>
                <a:ahLst/>
                <a:cxnLst>
                  <a:cxn ang="0">
                    <a:pos x="2740" y="528"/>
                  </a:cxn>
                  <a:cxn ang="0">
                    <a:pos x="2632" y="484"/>
                  </a:cxn>
                  <a:cxn ang="0">
                    <a:pos x="2480" y="424"/>
                  </a:cxn>
                  <a:cxn ang="0">
                    <a:pos x="2203" y="343"/>
                  </a:cxn>
                  <a:cxn ang="0">
                    <a:pos x="1970" y="277"/>
                  </a:cxn>
                  <a:cxn ang="0">
                    <a:pos x="1807" y="212"/>
                  </a:cxn>
                  <a:cxn ang="0">
                    <a:pos x="1693" y="152"/>
                  </a:cxn>
                  <a:cxn ang="0">
                    <a:pos x="1628" y="103"/>
                  </a:cxn>
                  <a:cxn ang="0">
                    <a:pos x="1590" y="60"/>
                  </a:cxn>
                  <a:cxn ang="0">
                    <a:pos x="1579" y="27"/>
                  </a:cxn>
                  <a:cxn ang="0">
                    <a:pos x="1585" y="0"/>
                  </a:cxn>
                  <a:cxn ang="0">
                    <a:pos x="1557" y="49"/>
                  </a:cxn>
                  <a:cxn ang="0">
                    <a:pos x="1568" y="98"/>
                  </a:cxn>
                  <a:cxn ang="0">
                    <a:pos x="1617" y="141"/>
                  </a:cxn>
                  <a:cxn ang="0">
                    <a:pos x="1688" y="185"/>
                  </a:cxn>
                  <a:cxn ang="0">
                    <a:pos x="1791" y="228"/>
                  </a:cxn>
                  <a:cxn ang="0">
                    <a:pos x="2040" y="310"/>
                  </a:cxn>
                  <a:cxn ang="0">
                    <a:pos x="2285" y="381"/>
                  </a:cxn>
                  <a:cxn ang="0">
                    <a:pos x="2464" y="435"/>
                  </a:cxn>
                  <a:cxn ang="0">
                    <a:pos x="2605" y="484"/>
                  </a:cxn>
                  <a:cxn ang="0">
                    <a:pos x="2708" y="528"/>
                  </a:cxn>
                  <a:cxn ang="0">
                    <a:pos x="2768" y="560"/>
                  </a:cxn>
                  <a:cxn ang="0">
                    <a:pos x="2795" y="593"/>
                  </a:cxn>
                  <a:cxn ang="0">
                    <a:pos x="2795" y="642"/>
                  </a:cxn>
                  <a:cxn ang="0">
                    <a:pos x="2762" y="691"/>
                  </a:cxn>
                  <a:cxn ang="0">
                    <a:pos x="2692" y="735"/>
                  </a:cxn>
                  <a:cxn ang="0">
                    <a:pos x="2589" y="778"/>
                  </a:cxn>
                  <a:cxn ang="0">
                    <a:pos x="2458" y="822"/>
                  </a:cxn>
                  <a:cxn ang="0">
                    <a:pos x="2301" y="865"/>
                  </a:cxn>
                  <a:cxn ang="0">
                    <a:pos x="2030" y="930"/>
                  </a:cxn>
                  <a:cxn ang="0">
                    <a:pos x="1606" y="1034"/>
                  </a:cxn>
                  <a:cxn ang="0">
                    <a:pos x="1145" y="1164"/>
                  </a:cxn>
                  <a:cxn ang="0">
                    <a:pos x="673" y="1328"/>
                  </a:cxn>
                  <a:cxn ang="0">
                    <a:pos x="217" y="1545"/>
                  </a:cxn>
                  <a:cxn ang="0">
                    <a:pos x="353" y="1671"/>
                  </a:cxn>
                  <a:cxn ang="0">
                    <a:pos x="754" y="1469"/>
                  </a:cxn>
                  <a:cxn ang="0">
                    <a:pos x="1145" y="1311"/>
                  </a:cxn>
                  <a:cxn ang="0">
                    <a:pos x="1519" y="1186"/>
                  </a:cxn>
                  <a:cxn ang="0">
                    <a:pos x="1861" y="1083"/>
                  </a:cxn>
                  <a:cxn ang="0">
                    <a:pos x="2165" y="1007"/>
                  </a:cxn>
                  <a:cxn ang="0">
                    <a:pos x="2426" y="947"/>
                  </a:cxn>
                  <a:cxn ang="0">
                    <a:pos x="2626" y="892"/>
                  </a:cxn>
                  <a:cxn ang="0">
                    <a:pos x="2762" y="838"/>
                  </a:cxn>
                  <a:cxn ang="0">
                    <a:pos x="2827" y="794"/>
                  </a:cxn>
                  <a:cxn ang="0">
                    <a:pos x="2865" y="745"/>
                  </a:cxn>
                  <a:cxn ang="0">
                    <a:pos x="2882" y="702"/>
                  </a:cxn>
                  <a:cxn ang="0">
                    <a:pos x="2854" y="620"/>
                  </a:cxn>
                  <a:cxn ang="0">
                    <a:pos x="2800" y="560"/>
                  </a:cxn>
                  <a:cxn ang="0">
                    <a:pos x="2773" y="544"/>
                  </a:cxn>
                </a:cxnLst>
                <a:rect l="0" t="0" r="r" b="b"/>
                <a:pathLst>
                  <a:path w="2882" h="1671">
                    <a:moveTo>
                      <a:pt x="2773" y="544"/>
                    </a:moveTo>
                    <a:lnTo>
                      <a:pt x="2740" y="528"/>
                    </a:lnTo>
                    <a:lnTo>
                      <a:pt x="2692" y="506"/>
                    </a:lnTo>
                    <a:lnTo>
                      <a:pt x="2632" y="484"/>
                    </a:lnTo>
                    <a:lnTo>
                      <a:pt x="2561" y="457"/>
                    </a:lnTo>
                    <a:lnTo>
                      <a:pt x="2480" y="424"/>
                    </a:lnTo>
                    <a:lnTo>
                      <a:pt x="2388" y="397"/>
                    </a:lnTo>
                    <a:lnTo>
                      <a:pt x="2203" y="343"/>
                    </a:lnTo>
                    <a:lnTo>
                      <a:pt x="2078" y="310"/>
                    </a:lnTo>
                    <a:lnTo>
                      <a:pt x="1970" y="277"/>
                    </a:lnTo>
                    <a:lnTo>
                      <a:pt x="1878" y="245"/>
                    </a:lnTo>
                    <a:lnTo>
                      <a:pt x="1807" y="212"/>
                    </a:lnTo>
                    <a:lnTo>
                      <a:pt x="1742" y="179"/>
                    </a:lnTo>
                    <a:lnTo>
                      <a:pt x="1693" y="152"/>
                    </a:lnTo>
                    <a:lnTo>
                      <a:pt x="1655" y="125"/>
                    </a:lnTo>
                    <a:lnTo>
                      <a:pt x="1628" y="103"/>
                    </a:lnTo>
                    <a:lnTo>
                      <a:pt x="1606" y="81"/>
                    </a:lnTo>
                    <a:lnTo>
                      <a:pt x="1590" y="60"/>
                    </a:lnTo>
                    <a:lnTo>
                      <a:pt x="1585" y="43"/>
                    </a:lnTo>
                    <a:lnTo>
                      <a:pt x="1579" y="27"/>
                    </a:lnTo>
                    <a:lnTo>
                      <a:pt x="1585" y="5"/>
                    </a:lnTo>
                    <a:lnTo>
                      <a:pt x="1585" y="0"/>
                    </a:lnTo>
                    <a:lnTo>
                      <a:pt x="1568" y="27"/>
                    </a:lnTo>
                    <a:lnTo>
                      <a:pt x="1557" y="49"/>
                    </a:lnTo>
                    <a:lnTo>
                      <a:pt x="1557" y="76"/>
                    </a:lnTo>
                    <a:lnTo>
                      <a:pt x="1568" y="98"/>
                    </a:lnTo>
                    <a:lnTo>
                      <a:pt x="1590" y="120"/>
                    </a:lnTo>
                    <a:lnTo>
                      <a:pt x="1617" y="141"/>
                    </a:lnTo>
                    <a:lnTo>
                      <a:pt x="1650" y="163"/>
                    </a:lnTo>
                    <a:lnTo>
                      <a:pt x="1688" y="185"/>
                    </a:lnTo>
                    <a:lnTo>
                      <a:pt x="1737" y="207"/>
                    </a:lnTo>
                    <a:lnTo>
                      <a:pt x="1791" y="228"/>
                    </a:lnTo>
                    <a:lnTo>
                      <a:pt x="1905" y="267"/>
                    </a:lnTo>
                    <a:lnTo>
                      <a:pt x="2040" y="310"/>
                    </a:lnTo>
                    <a:lnTo>
                      <a:pt x="2182" y="348"/>
                    </a:lnTo>
                    <a:lnTo>
                      <a:pt x="2285" y="381"/>
                    </a:lnTo>
                    <a:lnTo>
                      <a:pt x="2382" y="408"/>
                    </a:lnTo>
                    <a:lnTo>
                      <a:pt x="2464" y="435"/>
                    </a:lnTo>
                    <a:lnTo>
                      <a:pt x="2540" y="462"/>
                    </a:lnTo>
                    <a:lnTo>
                      <a:pt x="2605" y="484"/>
                    </a:lnTo>
                    <a:lnTo>
                      <a:pt x="2659" y="506"/>
                    </a:lnTo>
                    <a:lnTo>
                      <a:pt x="2708" y="528"/>
                    </a:lnTo>
                    <a:lnTo>
                      <a:pt x="2740" y="544"/>
                    </a:lnTo>
                    <a:lnTo>
                      <a:pt x="2768" y="560"/>
                    </a:lnTo>
                    <a:lnTo>
                      <a:pt x="2784" y="577"/>
                    </a:lnTo>
                    <a:lnTo>
                      <a:pt x="2795" y="593"/>
                    </a:lnTo>
                    <a:lnTo>
                      <a:pt x="2800" y="615"/>
                    </a:lnTo>
                    <a:lnTo>
                      <a:pt x="2795" y="642"/>
                    </a:lnTo>
                    <a:lnTo>
                      <a:pt x="2784" y="664"/>
                    </a:lnTo>
                    <a:lnTo>
                      <a:pt x="2762" y="691"/>
                    </a:lnTo>
                    <a:lnTo>
                      <a:pt x="2730" y="713"/>
                    </a:lnTo>
                    <a:lnTo>
                      <a:pt x="2692" y="735"/>
                    </a:lnTo>
                    <a:lnTo>
                      <a:pt x="2643" y="756"/>
                    </a:lnTo>
                    <a:lnTo>
                      <a:pt x="2589" y="778"/>
                    </a:lnTo>
                    <a:lnTo>
                      <a:pt x="2529" y="800"/>
                    </a:lnTo>
                    <a:lnTo>
                      <a:pt x="2458" y="822"/>
                    </a:lnTo>
                    <a:lnTo>
                      <a:pt x="2382" y="843"/>
                    </a:lnTo>
                    <a:lnTo>
                      <a:pt x="2301" y="865"/>
                    </a:lnTo>
                    <a:lnTo>
                      <a:pt x="2214" y="887"/>
                    </a:lnTo>
                    <a:lnTo>
                      <a:pt x="2030" y="930"/>
                    </a:lnTo>
                    <a:lnTo>
                      <a:pt x="1823" y="979"/>
                    </a:lnTo>
                    <a:lnTo>
                      <a:pt x="1606" y="1034"/>
                    </a:lnTo>
                    <a:lnTo>
                      <a:pt x="1378" y="1094"/>
                    </a:lnTo>
                    <a:lnTo>
                      <a:pt x="1145" y="1164"/>
                    </a:lnTo>
                    <a:lnTo>
                      <a:pt x="912" y="1241"/>
                    </a:lnTo>
                    <a:lnTo>
                      <a:pt x="673" y="1328"/>
                    </a:lnTo>
                    <a:lnTo>
                      <a:pt x="440" y="1431"/>
                    </a:lnTo>
                    <a:lnTo>
                      <a:pt x="217" y="1545"/>
                    </a:lnTo>
                    <a:lnTo>
                      <a:pt x="0" y="1671"/>
                    </a:lnTo>
                    <a:lnTo>
                      <a:pt x="353" y="1671"/>
                    </a:lnTo>
                    <a:lnTo>
                      <a:pt x="554" y="1567"/>
                    </a:lnTo>
                    <a:lnTo>
                      <a:pt x="754" y="1469"/>
                    </a:lnTo>
                    <a:lnTo>
                      <a:pt x="955" y="1388"/>
                    </a:lnTo>
                    <a:lnTo>
                      <a:pt x="1145" y="1311"/>
                    </a:lnTo>
                    <a:lnTo>
                      <a:pt x="1335" y="1241"/>
                    </a:lnTo>
                    <a:lnTo>
                      <a:pt x="1519" y="1186"/>
                    </a:lnTo>
                    <a:lnTo>
                      <a:pt x="1693" y="1132"/>
                    </a:lnTo>
                    <a:lnTo>
                      <a:pt x="1861" y="1083"/>
                    </a:lnTo>
                    <a:lnTo>
                      <a:pt x="2019" y="1045"/>
                    </a:lnTo>
                    <a:lnTo>
                      <a:pt x="2165" y="1007"/>
                    </a:lnTo>
                    <a:lnTo>
                      <a:pt x="2301" y="974"/>
                    </a:lnTo>
                    <a:lnTo>
                      <a:pt x="2426" y="947"/>
                    </a:lnTo>
                    <a:lnTo>
                      <a:pt x="2534" y="914"/>
                    </a:lnTo>
                    <a:lnTo>
                      <a:pt x="2626" y="892"/>
                    </a:lnTo>
                    <a:lnTo>
                      <a:pt x="2702" y="865"/>
                    </a:lnTo>
                    <a:lnTo>
                      <a:pt x="2762" y="838"/>
                    </a:lnTo>
                    <a:lnTo>
                      <a:pt x="2800" y="816"/>
                    </a:lnTo>
                    <a:lnTo>
                      <a:pt x="2827" y="794"/>
                    </a:lnTo>
                    <a:lnTo>
                      <a:pt x="2849" y="767"/>
                    </a:lnTo>
                    <a:lnTo>
                      <a:pt x="2865" y="745"/>
                    </a:lnTo>
                    <a:lnTo>
                      <a:pt x="2876" y="724"/>
                    </a:lnTo>
                    <a:lnTo>
                      <a:pt x="2882" y="702"/>
                    </a:lnTo>
                    <a:lnTo>
                      <a:pt x="2876" y="658"/>
                    </a:lnTo>
                    <a:lnTo>
                      <a:pt x="2854" y="620"/>
                    </a:lnTo>
                    <a:lnTo>
                      <a:pt x="2833" y="588"/>
                    </a:lnTo>
                    <a:lnTo>
                      <a:pt x="2800" y="560"/>
                    </a:lnTo>
                    <a:lnTo>
                      <a:pt x="2773" y="544"/>
                    </a:lnTo>
                    <a:lnTo>
                      <a:pt x="2773" y="544"/>
                    </a:lnTo>
                    <a:close/>
                  </a:path>
                </a:pathLst>
              </a:custGeom>
              <a:gradFill rotWithShape="0">
                <a:gsLst>
                  <a:gs pos="0">
                    <a:schemeClr val="bg1"/>
                  </a:gs>
                  <a:gs pos="100000">
                    <a:schemeClr val="bg1">
                      <a:gamma/>
                      <a:shade val="90980"/>
                      <a:invGamma/>
                    </a:schemeClr>
                  </a:gs>
                </a:gsLst>
                <a:lin ang="0" scaled="1"/>
              </a:gradFill>
              <a:ln w="9525">
                <a:noFill/>
                <a:round/>
                <a:headEnd/>
                <a:tailEnd/>
              </a:ln>
            </p:spPr>
            <p:txBody>
              <a:bodyPr/>
              <a:lstStyle/>
              <a:p>
                <a:pPr eaLnBrk="0" hangingPunct="0">
                  <a:defRPr/>
                </a:pPr>
                <a:endParaRPr lang="en-US" sz="1800">
                  <a:solidFill>
                    <a:srgbClr val="FFFFFF"/>
                  </a:solidFill>
                  <a:latin typeface="+mn-lt"/>
                  <a:cs typeface="+mn-cs"/>
                </a:endParaRPr>
              </a:p>
            </p:txBody>
          </p:sp>
          <p:sp>
            <p:nvSpPr>
              <p:cNvPr id="8" name="Freeform 23">
                <a:extLst>
                  <a:ext uri="{FF2B5EF4-FFF2-40B4-BE49-F238E27FC236}">
                    <a16:creationId xmlns:a16="http://schemas.microsoft.com/office/drawing/2014/main" id="{FC684F13-DAC8-4879-8D37-3A35C07F8774}"/>
                  </a:ext>
                </a:extLst>
              </p:cNvPr>
              <p:cNvSpPr>
                <a:spLocks/>
              </p:cNvSpPr>
              <p:nvPr/>
            </p:nvSpPr>
            <p:spPr bwMode="hidden">
              <a:xfrm>
                <a:off x="4170" y="2671"/>
                <a:ext cx="1259" cy="811"/>
              </a:xfrm>
              <a:custGeom>
                <a:avLst/>
                <a:gdLst/>
                <a:ahLst/>
                <a:cxnLst>
                  <a:cxn ang="0">
                    <a:pos x="1259" y="615"/>
                  </a:cxn>
                  <a:cxn ang="0">
                    <a:pos x="1248" y="588"/>
                  </a:cxn>
                  <a:cxn ang="0">
                    <a:pos x="1237" y="566"/>
                  </a:cxn>
                  <a:cxn ang="0">
                    <a:pos x="1216" y="539"/>
                  </a:cxn>
                  <a:cxn ang="0">
                    <a:pos x="1188" y="517"/>
                  </a:cxn>
                  <a:cxn ang="0">
                    <a:pos x="1123" y="479"/>
                  </a:cxn>
                  <a:cxn ang="0">
                    <a:pos x="1042" y="441"/>
                  </a:cxn>
                  <a:cxn ang="0">
                    <a:pos x="944" y="408"/>
                  </a:cxn>
                  <a:cxn ang="0">
                    <a:pos x="841" y="381"/>
                  </a:cxn>
                  <a:cxn ang="0">
                    <a:pos x="727" y="348"/>
                  </a:cxn>
                  <a:cxn ang="0">
                    <a:pos x="613" y="321"/>
                  </a:cxn>
                  <a:cxn ang="0">
                    <a:pos x="499" y="294"/>
                  </a:cxn>
                  <a:cxn ang="0">
                    <a:pos x="391" y="261"/>
                  </a:cxn>
                  <a:cxn ang="0">
                    <a:pos x="288" y="229"/>
                  </a:cxn>
                  <a:cxn ang="0">
                    <a:pos x="195" y="196"/>
                  </a:cxn>
                  <a:cxn ang="0">
                    <a:pos x="119" y="152"/>
                  </a:cxn>
                  <a:cxn ang="0">
                    <a:pos x="54" y="109"/>
                  </a:cxn>
                  <a:cxn ang="0">
                    <a:pos x="33" y="87"/>
                  </a:cxn>
                  <a:cxn ang="0">
                    <a:pos x="16" y="60"/>
                  </a:cxn>
                  <a:cxn ang="0">
                    <a:pos x="5" y="33"/>
                  </a:cxn>
                  <a:cxn ang="0">
                    <a:pos x="0" y="0"/>
                  </a:cxn>
                  <a:cxn ang="0">
                    <a:pos x="0" y="6"/>
                  </a:cxn>
                  <a:cxn ang="0">
                    <a:pos x="0" y="11"/>
                  </a:cxn>
                  <a:cxn ang="0">
                    <a:pos x="0" y="38"/>
                  </a:cxn>
                  <a:cxn ang="0">
                    <a:pos x="5" y="60"/>
                  </a:cxn>
                  <a:cxn ang="0">
                    <a:pos x="16" y="87"/>
                  </a:cxn>
                  <a:cxn ang="0">
                    <a:pos x="33" y="114"/>
                  </a:cxn>
                  <a:cxn ang="0">
                    <a:pos x="54" y="142"/>
                  </a:cxn>
                  <a:cxn ang="0">
                    <a:pos x="87" y="174"/>
                  </a:cxn>
                  <a:cxn ang="0">
                    <a:pos x="125" y="207"/>
                  </a:cxn>
                  <a:cxn ang="0">
                    <a:pos x="179" y="240"/>
                  </a:cxn>
                  <a:cxn ang="0">
                    <a:pos x="244" y="278"/>
                  </a:cxn>
                  <a:cxn ang="0">
                    <a:pos x="326" y="310"/>
                  </a:cxn>
                  <a:cxn ang="0">
                    <a:pos x="418" y="348"/>
                  </a:cxn>
                  <a:cxn ang="0">
                    <a:pos x="526" y="381"/>
                  </a:cxn>
                  <a:cxn ang="0">
                    <a:pos x="657" y="414"/>
                  </a:cxn>
                  <a:cxn ang="0">
                    <a:pos x="749" y="435"/>
                  </a:cxn>
                  <a:cxn ang="0">
                    <a:pos x="830" y="463"/>
                  </a:cxn>
                  <a:cxn ang="0">
                    <a:pos x="901" y="490"/>
                  </a:cxn>
                  <a:cxn ang="0">
                    <a:pos x="966" y="512"/>
                  </a:cxn>
                  <a:cxn ang="0">
                    <a:pos x="1015" y="539"/>
                  </a:cxn>
                  <a:cxn ang="0">
                    <a:pos x="1053" y="566"/>
                  </a:cxn>
                  <a:cxn ang="0">
                    <a:pos x="1080" y="593"/>
                  </a:cxn>
                  <a:cxn ang="0">
                    <a:pos x="1102" y="620"/>
                  </a:cxn>
                  <a:cxn ang="0">
                    <a:pos x="1112" y="648"/>
                  </a:cxn>
                  <a:cxn ang="0">
                    <a:pos x="1118" y="675"/>
                  </a:cxn>
                  <a:cxn ang="0">
                    <a:pos x="1112" y="697"/>
                  </a:cxn>
                  <a:cxn ang="0">
                    <a:pos x="1096" y="724"/>
                  </a:cxn>
                  <a:cxn ang="0">
                    <a:pos x="1080" y="746"/>
                  </a:cxn>
                  <a:cxn ang="0">
                    <a:pos x="1053" y="767"/>
                  </a:cxn>
                  <a:cxn ang="0">
                    <a:pos x="1015" y="789"/>
                  </a:cxn>
                  <a:cxn ang="0">
                    <a:pos x="977" y="811"/>
                  </a:cxn>
                  <a:cxn ang="0">
                    <a:pos x="1047" y="789"/>
                  </a:cxn>
                  <a:cxn ang="0">
                    <a:pos x="1107" y="767"/>
                  </a:cxn>
                  <a:cxn ang="0">
                    <a:pos x="1156" y="746"/>
                  </a:cxn>
                  <a:cxn ang="0">
                    <a:pos x="1199" y="724"/>
                  </a:cxn>
                  <a:cxn ang="0">
                    <a:pos x="1226" y="702"/>
                  </a:cxn>
                  <a:cxn ang="0">
                    <a:pos x="1248" y="675"/>
                  </a:cxn>
                  <a:cxn ang="0">
                    <a:pos x="1259" y="648"/>
                  </a:cxn>
                  <a:cxn ang="0">
                    <a:pos x="1259" y="615"/>
                  </a:cxn>
                  <a:cxn ang="0">
                    <a:pos x="1259" y="615"/>
                  </a:cxn>
                </a:cxnLst>
                <a:rect l="0" t="0" r="r" b="b"/>
                <a:pathLst>
                  <a:path w="1259" h="811">
                    <a:moveTo>
                      <a:pt x="1259" y="615"/>
                    </a:moveTo>
                    <a:lnTo>
                      <a:pt x="1248" y="588"/>
                    </a:lnTo>
                    <a:lnTo>
                      <a:pt x="1237" y="566"/>
                    </a:lnTo>
                    <a:lnTo>
                      <a:pt x="1216" y="539"/>
                    </a:lnTo>
                    <a:lnTo>
                      <a:pt x="1188" y="517"/>
                    </a:lnTo>
                    <a:lnTo>
                      <a:pt x="1123" y="479"/>
                    </a:lnTo>
                    <a:lnTo>
                      <a:pt x="1042" y="441"/>
                    </a:lnTo>
                    <a:lnTo>
                      <a:pt x="944" y="408"/>
                    </a:lnTo>
                    <a:lnTo>
                      <a:pt x="841" y="381"/>
                    </a:lnTo>
                    <a:lnTo>
                      <a:pt x="727" y="348"/>
                    </a:lnTo>
                    <a:lnTo>
                      <a:pt x="613" y="321"/>
                    </a:lnTo>
                    <a:lnTo>
                      <a:pt x="499" y="294"/>
                    </a:lnTo>
                    <a:lnTo>
                      <a:pt x="391" y="261"/>
                    </a:lnTo>
                    <a:lnTo>
                      <a:pt x="288" y="229"/>
                    </a:lnTo>
                    <a:lnTo>
                      <a:pt x="195" y="196"/>
                    </a:lnTo>
                    <a:lnTo>
                      <a:pt x="119" y="152"/>
                    </a:lnTo>
                    <a:lnTo>
                      <a:pt x="54" y="109"/>
                    </a:lnTo>
                    <a:lnTo>
                      <a:pt x="33" y="87"/>
                    </a:lnTo>
                    <a:lnTo>
                      <a:pt x="16" y="60"/>
                    </a:lnTo>
                    <a:lnTo>
                      <a:pt x="5" y="33"/>
                    </a:lnTo>
                    <a:lnTo>
                      <a:pt x="0" y="0"/>
                    </a:lnTo>
                    <a:lnTo>
                      <a:pt x="0" y="6"/>
                    </a:lnTo>
                    <a:lnTo>
                      <a:pt x="0" y="11"/>
                    </a:lnTo>
                    <a:lnTo>
                      <a:pt x="0" y="38"/>
                    </a:lnTo>
                    <a:lnTo>
                      <a:pt x="5" y="60"/>
                    </a:lnTo>
                    <a:lnTo>
                      <a:pt x="16" y="87"/>
                    </a:lnTo>
                    <a:lnTo>
                      <a:pt x="33" y="114"/>
                    </a:lnTo>
                    <a:lnTo>
                      <a:pt x="54" y="142"/>
                    </a:lnTo>
                    <a:lnTo>
                      <a:pt x="87" y="174"/>
                    </a:lnTo>
                    <a:lnTo>
                      <a:pt x="125" y="207"/>
                    </a:lnTo>
                    <a:lnTo>
                      <a:pt x="179" y="240"/>
                    </a:lnTo>
                    <a:lnTo>
                      <a:pt x="244" y="278"/>
                    </a:lnTo>
                    <a:lnTo>
                      <a:pt x="326" y="310"/>
                    </a:lnTo>
                    <a:lnTo>
                      <a:pt x="418" y="348"/>
                    </a:lnTo>
                    <a:lnTo>
                      <a:pt x="526" y="381"/>
                    </a:lnTo>
                    <a:lnTo>
                      <a:pt x="657" y="414"/>
                    </a:lnTo>
                    <a:lnTo>
                      <a:pt x="749" y="435"/>
                    </a:lnTo>
                    <a:lnTo>
                      <a:pt x="830" y="463"/>
                    </a:lnTo>
                    <a:lnTo>
                      <a:pt x="901" y="490"/>
                    </a:lnTo>
                    <a:lnTo>
                      <a:pt x="966" y="512"/>
                    </a:lnTo>
                    <a:lnTo>
                      <a:pt x="1015" y="539"/>
                    </a:lnTo>
                    <a:lnTo>
                      <a:pt x="1053" y="566"/>
                    </a:lnTo>
                    <a:lnTo>
                      <a:pt x="1080" y="593"/>
                    </a:lnTo>
                    <a:lnTo>
                      <a:pt x="1102" y="620"/>
                    </a:lnTo>
                    <a:lnTo>
                      <a:pt x="1112" y="648"/>
                    </a:lnTo>
                    <a:lnTo>
                      <a:pt x="1118" y="675"/>
                    </a:lnTo>
                    <a:lnTo>
                      <a:pt x="1112" y="697"/>
                    </a:lnTo>
                    <a:lnTo>
                      <a:pt x="1096" y="724"/>
                    </a:lnTo>
                    <a:lnTo>
                      <a:pt x="1080" y="746"/>
                    </a:lnTo>
                    <a:lnTo>
                      <a:pt x="1053" y="767"/>
                    </a:lnTo>
                    <a:lnTo>
                      <a:pt x="1015" y="789"/>
                    </a:lnTo>
                    <a:lnTo>
                      <a:pt x="977" y="811"/>
                    </a:lnTo>
                    <a:lnTo>
                      <a:pt x="1047" y="789"/>
                    </a:lnTo>
                    <a:lnTo>
                      <a:pt x="1107" y="767"/>
                    </a:lnTo>
                    <a:lnTo>
                      <a:pt x="1156" y="746"/>
                    </a:lnTo>
                    <a:lnTo>
                      <a:pt x="1199" y="724"/>
                    </a:lnTo>
                    <a:lnTo>
                      <a:pt x="1226" y="702"/>
                    </a:lnTo>
                    <a:lnTo>
                      <a:pt x="1248" y="675"/>
                    </a:lnTo>
                    <a:lnTo>
                      <a:pt x="1259" y="648"/>
                    </a:lnTo>
                    <a:lnTo>
                      <a:pt x="1259" y="615"/>
                    </a:lnTo>
                    <a:lnTo>
                      <a:pt x="1259" y="615"/>
                    </a:lnTo>
                    <a:close/>
                  </a:path>
                </a:pathLst>
              </a:custGeom>
              <a:gradFill rotWithShape="0">
                <a:gsLst>
                  <a:gs pos="0">
                    <a:schemeClr val="bg1"/>
                  </a:gs>
                  <a:gs pos="100000">
                    <a:schemeClr val="bg1">
                      <a:gamma/>
                      <a:shade val="90980"/>
                      <a:invGamma/>
                    </a:schemeClr>
                  </a:gs>
                </a:gsLst>
                <a:lin ang="2700000" scaled="1"/>
              </a:gradFill>
              <a:ln w="9525">
                <a:noFill/>
                <a:round/>
                <a:headEnd/>
                <a:tailEnd/>
              </a:ln>
            </p:spPr>
            <p:txBody>
              <a:bodyPr/>
              <a:lstStyle/>
              <a:p>
                <a:pPr eaLnBrk="0" hangingPunct="0">
                  <a:defRPr/>
                </a:pPr>
                <a:endParaRPr lang="en-US" sz="1800">
                  <a:solidFill>
                    <a:srgbClr val="FFFFFF"/>
                  </a:solidFill>
                  <a:latin typeface="+mn-lt"/>
                  <a:cs typeface="+mn-cs"/>
                </a:endParaRPr>
              </a:p>
            </p:txBody>
          </p:sp>
          <p:sp>
            <p:nvSpPr>
              <p:cNvPr id="9" name="Freeform 24">
                <a:extLst>
                  <a:ext uri="{FF2B5EF4-FFF2-40B4-BE49-F238E27FC236}">
                    <a16:creationId xmlns:a16="http://schemas.microsoft.com/office/drawing/2014/main" id="{FF9CFD10-E9D2-4A3A-9A50-E9DBBF6BC055}"/>
                  </a:ext>
                </a:extLst>
              </p:cNvPr>
              <p:cNvSpPr>
                <a:spLocks/>
              </p:cNvSpPr>
              <p:nvPr/>
            </p:nvSpPr>
            <p:spPr bwMode="hidden">
              <a:xfrm>
                <a:off x="2900" y="3346"/>
                <a:ext cx="2849" cy="969"/>
              </a:xfrm>
              <a:custGeom>
                <a:avLst/>
                <a:gdLst/>
                <a:ahLst/>
                <a:cxnLst>
                  <a:cxn ang="0">
                    <a:pos x="92" y="958"/>
                  </a:cxn>
                  <a:cxn ang="0">
                    <a:pos x="0" y="969"/>
                  </a:cxn>
                  <a:cxn ang="0">
                    <a:pos x="391" y="969"/>
                  </a:cxn>
                  <a:cxn ang="0">
                    <a:pos x="434" y="947"/>
                  </a:cxn>
                  <a:cxn ang="0">
                    <a:pos x="483" y="914"/>
                  </a:cxn>
                  <a:cxn ang="0">
                    <a:pos x="554" y="876"/>
                  </a:cxn>
                  <a:cxn ang="0">
                    <a:pos x="635" y="838"/>
                  </a:cxn>
                  <a:cxn ang="0">
                    <a:pos x="727" y="794"/>
                  </a:cxn>
                  <a:cxn ang="0">
                    <a:pos x="836" y="745"/>
                  </a:cxn>
                  <a:cxn ang="0">
                    <a:pos x="961" y="696"/>
                  </a:cxn>
                  <a:cxn ang="0">
                    <a:pos x="1102" y="642"/>
                  </a:cxn>
                  <a:cxn ang="0">
                    <a:pos x="1259" y="582"/>
                  </a:cxn>
                  <a:cxn ang="0">
                    <a:pos x="1433" y="522"/>
                  </a:cxn>
                  <a:cxn ang="0">
                    <a:pos x="1623" y="462"/>
                  </a:cxn>
                  <a:cxn ang="0">
                    <a:pos x="1829" y="403"/>
                  </a:cxn>
                  <a:cxn ang="0">
                    <a:pos x="2057" y="343"/>
                  </a:cxn>
                  <a:cxn ang="0">
                    <a:pos x="2301" y="283"/>
                  </a:cxn>
                  <a:cxn ang="0">
                    <a:pos x="2567" y="223"/>
                  </a:cxn>
                  <a:cxn ang="0">
                    <a:pos x="2849" y="163"/>
                  </a:cxn>
                  <a:cxn ang="0">
                    <a:pos x="2849" y="0"/>
                  </a:cxn>
                  <a:cxn ang="0">
                    <a:pos x="2817" y="16"/>
                  </a:cxn>
                  <a:cxn ang="0">
                    <a:pos x="2773" y="33"/>
                  </a:cxn>
                  <a:cxn ang="0">
                    <a:pos x="2719" y="54"/>
                  </a:cxn>
                  <a:cxn ang="0">
                    <a:pos x="2648" y="76"/>
                  </a:cxn>
                  <a:cxn ang="0">
                    <a:pos x="2572" y="98"/>
                  </a:cxn>
                  <a:cxn ang="0">
                    <a:pos x="2491" y="120"/>
                  </a:cxn>
                  <a:cxn ang="0">
                    <a:pos x="2399" y="147"/>
                  </a:cxn>
                  <a:cxn ang="0">
                    <a:pos x="2301" y="169"/>
                  </a:cxn>
                  <a:cxn ang="0">
                    <a:pos x="2095" y="223"/>
                  </a:cxn>
                  <a:cxn ang="0">
                    <a:pos x="1889" y="277"/>
                  </a:cxn>
                  <a:cxn ang="0">
                    <a:pos x="1688" y="326"/>
                  </a:cxn>
                  <a:cxn ang="0">
                    <a:pos x="1590" y="354"/>
                  </a:cxn>
                  <a:cxn ang="0">
                    <a:pos x="1503" y="381"/>
                  </a:cxn>
                  <a:cxn ang="0">
                    <a:pos x="1107" y="506"/>
                  </a:cxn>
                  <a:cxn ang="0">
                    <a:pos x="912" y="577"/>
                  </a:cxn>
                  <a:cxn ang="0">
                    <a:pos x="727" y="647"/>
                  </a:cxn>
                  <a:cxn ang="0">
                    <a:pos x="548" y="718"/>
                  </a:cxn>
                  <a:cxn ang="0">
                    <a:pos x="380" y="794"/>
                  </a:cxn>
                  <a:cxn ang="0">
                    <a:pos x="228" y="876"/>
                  </a:cxn>
                  <a:cxn ang="0">
                    <a:pos x="92" y="958"/>
                  </a:cxn>
                  <a:cxn ang="0">
                    <a:pos x="92" y="958"/>
                  </a:cxn>
                </a:cxnLst>
                <a:rect l="0" t="0" r="r" b="b"/>
                <a:pathLst>
                  <a:path w="2849" h="969">
                    <a:moveTo>
                      <a:pt x="92" y="958"/>
                    </a:moveTo>
                    <a:lnTo>
                      <a:pt x="0" y="969"/>
                    </a:lnTo>
                    <a:lnTo>
                      <a:pt x="391" y="969"/>
                    </a:lnTo>
                    <a:lnTo>
                      <a:pt x="434" y="947"/>
                    </a:lnTo>
                    <a:lnTo>
                      <a:pt x="483" y="914"/>
                    </a:lnTo>
                    <a:lnTo>
                      <a:pt x="554" y="876"/>
                    </a:lnTo>
                    <a:lnTo>
                      <a:pt x="635" y="838"/>
                    </a:lnTo>
                    <a:lnTo>
                      <a:pt x="727" y="794"/>
                    </a:lnTo>
                    <a:lnTo>
                      <a:pt x="836" y="745"/>
                    </a:lnTo>
                    <a:lnTo>
                      <a:pt x="961" y="696"/>
                    </a:lnTo>
                    <a:lnTo>
                      <a:pt x="1102" y="642"/>
                    </a:lnTo>
                    <a:lnTo>
                      <a:pt x="1259" y="582"/>
                    </a:lnTo>
                    <a:lnTo>
                      <a:pt x="1433" y="522"/>
                    </a:lnTo>
                    <a:lnTo>
                      <a:pt x="1623" y="462"/>
                    </a:lnTo>
                    <a:lnTo>
                      <a:pt x="1829" y="403"/>
                    </a:lnTo>
                    <a:lnTo>
                      <a:pt x="2057" y="343"/>
                    </a:lnTo>
                    <a:lnTo>
                      <a:pt x="2301" y="283"/>
                    </a:lnTo>
                    <a:lnTo>
                      <a:pt x="2567" y="223"/>
                    </a:lnTo>
                    <a:lnTo>
                      <a:pt x="2849" y="163"/>
                    </a:lnTo>
                    <a:lnTo>
                      <a:pt x="2849" y="0"/>
                    </a:lnTo>
                    <a:lnTo>
                      <a:pt x="2817" y="16"/>
                    </a:lnTo>
                    <a:lnTo>
                      <a:pt x="2773" y="33"/>
                    </a:lnTo>
                    <a:lnTo>
                      <a:pt x="2719" y="54"/>
                    </a:lnTo>
                    <a:lnTo>
                      <a:pt x="2648" y="76"/>
                    </a:lnTo>
                    <a:lnTo>
                      <a:pt x="2572" y="98"/>
                    </a:lnTo>
                    <a:lnTo>
                      <a:pt x="2491" y="120"/>
                    </a:lnTo>
                    <a:lnTo>
                      <a:pt x="2399" y="147"/>
                    </a:lnTo>
                    <a:lnTo>
                      <a:pt x="2301" y="169"/>
                    </a:lnTo>
                    <a:lnTo>
                      <a:pt x="2095" y="223"/>
                    </a:lnTo>
                    <a:lnTo>
                      <a:pt x="1889" y="277"/>
                    </a:lnTo>
                    <a:lnTo>
                      <a:pt x="1688" y="326"/>
                    </a:lnTo>
                    <a:lnTo>
                      <a:pt x="1590" y="354"/>
                    </a:lnTo>
                    <a:lnTo>
                      <a:pt x="1503" y="381"/>
                    </a:lnTo>
                    <a:lnTo>
                      <a:pt x="1107" y="506"/>
                    </a:lnTo>
                    <a:lnTo>
                      <a:pt x="912" y="577"/>
                    </a:lnTo>
                    <a:lnTo>
                      <a:pt x="727" y="647"/>
                    </a:lnTo>
                    <a:lnTo>
                      <a:pt x="548" y="718"/>
                    </a:lnTo>
                    <a:lnTo>
                      <a:pt x="380" y="794"/>
                    </a:lnTo>
                    <a:lnTo>
                      <a:pt x="228" y="876"/>
                    </a:lnTo>
                    <a:lnTo>
                      <a:pt x="92" y="958"/>
                    </a:lnTo>
                    <a:lnTo>
                      <a:pt x="92" y="958"/>
                    </a:lnTo>
                    <a:close/>
                  </a:path>
                </a:pathLst>
              </a:custGeom>
              <a:gradFill rotWithShape="0">
                <a:gsLst>
                  <a:gs pos="0">
                    <a:schemeClr val="bg1">
                      <a:gamma/>
                      <a:shade val="81961"/>
                      <a:invGamma/>
                    </a:schemeClr>
                  </a:gs>
                  <a:gs pos="100000">
                    <a:schemeClr val="bg1"/>
                  </a:gs>
                </a:gsLst>
                <a:lin ang="5400000" scaled="1"/>
              </a:gradFill>
              <a:ln w="9525">
                <a:noFill/>
                <a:round/>
                <a:headEnd/>
                <a:tailEnd/>
              </a:ln>
            </p:spPr>
            <p:txBody>
              <a:bodyPr/>
              <a:lstStyle/>
              <a:p>
                <a:pPr eaLnBrk="0" hangingPunct="0">
                  <a:defRPr/>
                </a:pPr>
                <a:endParaRPr lang="en-US" sz="1800">
                  <a:solidFill>
                    <a:srgbClr val="FFFFFF"/>
                  </a:solidFill>
                  <a:latin typeface="+mn-lt"/>
                  <a:cs typeface="+mn-cs"/>
                </a:endParaRPr>
              </a:p>
            </p:txBody>
          </p:sp>
          <p:sp>
            <p:nvSpPr>
              <p:cNvPr id="10" name="Freeform 25">
                <a:extLst>
                  <a:ext uri="{FF2B5EF4-FFF2-40B4-BE49-F238E27FC236}">
                    <a16:creationId xmlns:a16="http://schemas.microsoft.com/office/drawing/2014/main" id="{E13266E6-F8BE-48BF-9B2D-C0597B720325}"/>
                  </a:ext>
                </a:extLst>
              </p:cNvPr>
              <p:cNvSpPr>
                <a:spLocks/>
              </p:cNvSpPr>
              <p:nvPr/>
            </p:nvSpPr>
            <p:spPr bwMode="hidden">
              <a:xfrm>
                <a:off x="2748" y="2230"/>
                <a:ext cx="3007" cy="2085"/>
              </a:xfrm>
              <a:custGeom>
                <a:avLst/>
                <a:gdLst>
                  <a:gd name="T0" fmla="*/ 1433 w 3007"/>
                  <a:gd name="T1" fmla="*/ 474 h 2085"/>
                  <a:gd name="T2" fmla="*/ 1460 w 3007"/>
                  <a:gd name="T3" fmla="*/ 528 h 2085"/>
                  <a:gd name="T4" fmla="*/ 1541 w 3007"/>
                  <a:gd name="T5" fmla="*/ 593 h 2085"/>
                  <a:gd name="T6" fmla="*/ 1715 w 3007"/>
                  <a:gd name="T7" fmla="*/ 670 h 2085"/>
                  <a:gd name="T8" fmla="*/ 1927 w 3007"/>
                  <a:gd name="T9" fmla="*/ 735 h 2085"/>
                  <a:gd name="T10" fmla="*/ 2155 w 3007"/>
                  <a:gd name="T11" fmla="*/ 789 h 2085"/>
                  <a:gd name="T12" fmla="*/ 2372 w 3007"/>
                  <a:gd name="T13" fmla="*/ 849 h 2085"/>
                  <a:gd name="T14" fmla="*/ 2551 w 3007"/>
                  <a:gd name="T15" fmla="*/ 920 h 2085"/>
                  <a:gd name="T16" fmla="*/ 2638 w 3007"/>
                  <a:gd name="T17" fmla="*/ 980 h 2085"/>
                  <a:gd name="T18" fmla="*/ 2676 w 3007"/>
                  <a:gd name="T19" fmla="*/ 1029 h 2085"/>
                  <a:gd name="T20" fmla="*/ 2681 w 3007"/>
                  <a:gd name="T21" fmla="*/ 1083 h 2085"/>
                  <a:gd name="T22" fmla="*/ 2665 w 3007"/>
                  <a:gd name="T23" fmla="*/ 1127 h 2085"/>
                  <a:gd name="T24" fmla="*/ 2616 w 3007"/>
                  <a:gd name="T25" fmla="*/ 1170 h 2085"/>
                  <a:gd name="T26" fmla="*/ 2545 w 3007"/>
                  <a:gd name="T27" fmla="*/ 1208 h 2085"/>
                  <a:gd name="T28" fmla="*/ 2448 w 3007"/>
                  <a:gd name="T29" fmla="*/ 1241 h 2085"/>
                  <a:gd name="T30" fmla="*/ 2328 w 3007"/>
                  <a:gd name="T31" fmla="*/ 1274 h 2085"/>
                  <a:gd name="T32" fmla="*/ 2106 w 3007"/>
                  <a:gd name="T33" fmla="*/ 1328 h 2085"/>
                  <a:gd name="T34" fmla="*/ 1742 w 3007"/>
                  <a:gd name="T35" fmla="*/ 1421 h 2085"/>
                  <a:gd name="T36" fmla="*/ 1308 w 3007"/>
                  <a:gd name="T37" fmla="*/ 1540 h 2085"/>
                  <a:gd name="T38" fmla="*/ 820 w 3007"/>
                  <a:gd name="T39" fmla="*/ 1709 h 2085"/>
                  <a:gd name="T40" fmla="*/ 282 w 3007"/>
                  <a:gd name="T41" fmla="*/ 1943 h 2085"/>
                  <a:gd name="T42" fmla="*/ 152 w 3007"/>
                  <a:gd name="T43" fmla="*/ 2085 h 2085"/>
                  <a:gd name="T44" fmla="*/ 386 w 3007"/>
                  <a:gd name="T45" fmla="*/ 1992 h 2085"/>
                  <a:gd name="T46" fmla="*/ 700 w 3007"/>
                  <a:gd name="T47" fmla="*/ 1834 h 2085"/>
                  <a:gd name="T48" fmla="*/ 1064 w 3007"/>
                  <a:gd name="T49" fmla="*/ 1693 h 2085"/>
                  <a:gd name="T50" fmla="*/ 1661 w 3007"/>
                  <a:gd name="T51" fmla="*/ 1497 h 2085"/>
                  <a:gd name="T52" fmla="*/ 1845 w 3007"/>
                  <a:gd name="T53" fmla="*/ 1442 h 2085"/>
                  <a:gd name="T54" fmla="*/ 2252 w 3007"/>
                  <a:gd name="T55" fmla="*/ 1339 h 2085"/>
                  <a:gd name="T56" fmla="*/ 2551 w 3007"/>
                  <a:gd name="T57" fmla="*/ 1263 h 2085"/>
                  <a:gd name="T58" fmla="*/ 2730 w 3007"/>
                  <a:gd name="T59" fmla="*/ 1214 h 2085"/>
                  <a:gd name="T60" fmla="*/ 2876 w 3007"/>
                  <a:gd name="T61" fmla="*/ 1170 h 2085"/>
                  <a:gd name="T62" fmla="*/ 2974 w 3007"/>
                  <a:gd name="T63" fmla="*/ 1132 h 2085"/>
                  <a:gd name="T64" fmla="*/ 3007 w 3007"/>
                  <a:gd name="T65" fmla="*/ 871 h 2085"/>
                  <a:gd name="T66" fmla="*/ 2860 w 3007"/>
                  <a:gd name="T67" fmla="*/ 844 h 2085"/>
                  <a:gd name="T68" fmla="*/ 2670 w 3007"/>
                  <a:gd name="T69" fmla="*/ 806 h 2085"/>
                  <a:gd name="T70" fmla="*/ 2458 w 3007"/>
                  <a:gd name="T71" fmla="*/ 757 h 2085"/>
                  <a:gd name="T72" fmla="*/ 2138 w 3007"/>
                  <a:gd name="T73" fmla="*/ 670 h 2085"/>
                  <a:gd name="T74" fmla="*/ 1959 w 3007"/>
                  <a:gd name="T75" fmla="*/ 604 h 2085"/>
                  <a:gd name="T76" fmla="*/ 1824 w 3007"/>
                  <a:gd name="T77" fmla="*/ 534 h 2085"/>
                  <a:gd name="T78" fmla="*/ 1769 w 3007"/>
                  <a:gd name="T79" fmla="*/ 474 h 2085"/>
                  <a:gd name="T80" fmla="*/ 1753 w 3007"/>
                  <a:gd name="T81" fmla="*/ 436 h 2085"/>
                  <a:gd name="T82" fmla="*/ 1780 w 3007"/>
                  <a:gd name="T83" fmla="*/ 381 h 2085"/>
                  <a:gd name="T84" fmla="*/ 1862 w 3007"/>
                  <a:gd name="T85" fmla="*/ 316 h 2085"/>
                  <a:gd name="T86" fmla="*/ 1986 w 3007"/>
                  <a:gd name="T87" fmla="*/ 267 h 2085"/>
                  <a:gd name="T88" fmla="*/ 2149 w 3007"/>
                  <a:gd name="T89" fmla="*/ 229 h 2085"/>
                  <a:gd name="T90" fmla="*/ 2431 w 3007"/>
                  <a:gd name="T91" fmla="*/ 180 h 2085"/>
                  <a:gd name="T92" fmla="*/ 2827 w 3007"/>
                  <a:gd name="T93" fmla="*/ 125 h 2085"/>
                  <a:gd name="T94" fmla="*/ 3007 w 3007"/>
                  <a:gd name="T95" fmla="*/ 87 h 2085"/>
                  <a:gd name="T96" fmla="*/ 2909 w 3007"/>
                  <a:gd name="T97" fmla="*/ 22 h 2085"/>
                  <a:gd name="T98" fmla="*/ 2676 w 3007"/>
                  <a:gd name="T99" fmla="*/ 66 h 2085"/>
                  <a:gd name="T100" fmla="*/ 2285 w 3007"/>
                  <a:gd name="T101" fmla="*/ 120 h 2085"/>
                  <a:gd name="T102" fmla="*/ 2030 w 3007"/>
                  <a:gd name="T103" fmla="*/ 158 h 2085"/>
                  <a:gd name="T104" fmla="*/ 1791 w 3007"/>
                  <a:gd name="T105" fmla="*/ 202 h 2085"/>
                  <a:gd name="T106" fmla="*/ 1601 w 3007"/>
                  <a:gd name="T107" fmla="*/ 261 h 2085"/>
                  <a:gd name="T108" fmla="*/ 1471 w 3007"/>
                  <a:gd name="T109" fmla="*/ 338 h 2085"/>
                  <a:gd name="T110" fmla="*/ 1438 w 3007"/>
                  <a:gd name="T111" fmla="*/ 387 h 2085"/>
                  <a:gd name="T112" fmla="*/ 1427 w 3007"/>
                  <a:gd name="T113" fmla="*/ 441 h 2085"/>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3007" h="2085">
                    <a:moveTo>
                      <a:pt x="1427" y="441"/>
                    </a:moveTo>
                    <a:lnTo>
                      <a:pt x="1433" y="474"/>
                    </a:lnTo>
                    <a:lnTo>
                      <a:pt x="1444" y="501"/>
                    </a:lnTo>
                    <a:lnTo>
                      <a:pt x="1460" y="528"/>
                    </a:lnTo>
                    <a:lnTo>
                      <a:pt x="1482" y="550"/>
                    </a:lnTo>
                    <a:lnTo>
                      <a:pt x="1541" y="593"/>
                    </a:lnTo>
                    <a:lnTo>
                      <a:pt x="1623" y="637"/>
                    </a:lnTo>
                    <a:lnTo>
                      <a:pt x="1715" y="670"/>
                    </a:lnTo>
                    <a:lnTo>
                      <a:pt x="1818" y="702"/>
                    </a:lnTo>
                    <a:lnTo>
                      <a:pt x="1927" y="735"/>
                    </a:lnTo>
                    <a:lnTo>
                      <a:pt x="2041" y="762"/>
                    </a:lnTo>
                    <a:lnTo>
                      <a:pt x="2155" y="789"/>
                    </a:lnTo>
                    <a:lnTo>
                      <a:pt x="2269" y="822"/>
                    </a:lnTo>
                    <a:lnTo>
                      <a:pt x="2372" y="849"/>
                    </a:lnTo>
                    <a:lnTo>
                      <a:pt x="2464" y="882"/>
                    </a:lnTo>
                    <a:lnTo>
                      <a:pt x="2551" y="920"/>
                    </a:lnTo>
                    <a:lnTo>
                      <a:pt x="2616" y="958"/>
                    </a:lnTo>
                    <a:lnTo>
                      <a:pt x="2638" y="980"/>
                    </a:lnTo>
                    <a:lnTo>
                      <a:pt x="2659" y="1007"/>
                    </a:lnTo>
                    <a:lnTo>
                      <a:pt x="2676" y="1029"/>
                    </a:lnTo>
                    <a:lnTo>
                      <a:pt x="2681" y="1056"/>
                    </a:lnTo>
                    <a:lnTo>
                      <a:pt x="2681" y="1083"/>
                    </a:lnTo>
                    <a:lnTo>
                      <a:pt x="2676" y="1105"/>
                    </a:lnTo>
                    <a:lnTo>
                      <a:pt x="2665" y="1127"/>
                    </a:lnTo>
                    <a:lnTo>
                      <a:pt x="2643" y="1149"/>
                    </a:lnTo>
                    <a:lnTo>
                      <a:pt x="2616" y="1170"/>
                    </a:lnTo>
                    <a:lnTo>
                      <a:pt x="2583" y="1187"/>
                    </a:lnTo>
                    <a:lnTo>
                      <a:pt x="2545" y="1208"/>
                    </a:lnTo>
                    <a:lnTo>
                      <a:pt x="2502" y="1225"/>
                    </a:lnTo>
                    <a:lnTo>
                      <a:pt x="2448" y="1241"/>
                    </a:lnTo>
                    <a:lnTo>
                      <a:pt x="2388" y="1257"/>
                    </a:lnTo>
                    <a:lnTo>
                      <a:pt x="2328" y="1274"/>
                    </a:lnTo>
                    <a:lnTo>
                      <a:pt x="2258" y="1290"/>
                    </a:lnTo>
                    <a:lnTo>
                      <a:pt x="2106" y="1328"/>
                    </a:lnTo>
                    <a:lnTo>
                      <a:pt x="1932" y="1372"/>
                    </a:lnTo>
                    <a:lnTo>
                      <a:pt x="1742" y="1421"/>
                    </a:lnTo>
                    <a:lnTo>
                      <a:pt x="1531" y="1475"/>
                    </a:lnTo>
                    <a:lnTo>
                      <a:pt x="1308" y="1540"/>
                    </a:lnTo>
                    <a:lnTo>
                      <a:pt x="1069" y="1617"/>
                    </a:lnTo>
                    <a:lnTo>
                      <a:pt x="820" y="1709"/>
                    </a:lnTo>
                    <a:lnTo>
                      <a:pt x="554" y="1818"/>
                    </a:lnTo>
                    <a:lnTo>
                      <a:pt x="282" y="1943"/>
                    </a:lnTo>
                    <a:lnTo>
                      <a:pt x="0" y="2085"/>
                    </a:lnTo>
                    <a:lnTo>
                      <a:pt x="152" y="2085"/>
                    </a:lnTo>
                    <a:lnTo>
                      <a:pt x="244" y="2074"/>
                    </a:lnTo>
                    <a:lnTo>
                      <a:pt x="386" y="1992"/>
                    </a:lnTo>
                    <a:lnTo>
                      <a:pt x="537" y="1910"/>
                    </a:lnTo>
                    <a:lnTo>
                      <a:pt x="700" y="1834"/>
                    </a:lnTo>
                    <a:lnTo>
                      <a:pt x="879" y="1763"/>
                    </a:lnTo>
                    <a:lnTo>
                      <a:pt x="1064" y="1693"/>
                    </a:lnTo>
                    <a:lnTo>
                      <a:pt x="1259" y="1622"/>
                    </a:lnTo>
                    <a:lnTo>
                      <a:pt x="1661" y="1497"/>
                    </a:lnTo>
                    <a:lnTo>
                      <a:pt x="1748" y="1470"/>
                    </a:lnTo>
                    <a:lnTo>
                      <a:pt x="1845" y="1442"/>
                    </a:lnTo>
                    <a:lnTo>
                      <a:pt x="2046" y="1393"/>
                    </a:lnTo>
                    <a:lnTo>
                      <a:pt x="2252" y="1339"/>
                    </a:lnTo>
                    <a:lnTo>
                      <a:pt x="2458" y="1285"/>
                    </a:lnTo>
                    <a:lnTo>
                      <a:pt x="2551" y="1263"/>
                    </a:lnTo>
                    <a:lnTo>
                      <a:pt x="2643" y="1236"/>
                    </a:lnTo>
                    <a:lnTo>
                      <a:pt x="2730" y="1214"/>
                    </a:lnTo>
                    <a:lnTo>
                      <a:pt x="2806" y="1192"/>
                    </a:lnTo>
                    <a:lnTo>
                      <a:pt x="2876" y="1170"/>
                    </a:lnTo>
                    <a:lnTo>
                      <a:pt x="2931" y="1149"/>
                    </a:lnTo>
                    <a:lnTo>
                      <a:pt x="2974" y="1132"/>
                    </a:lnTo>
                    <a:lnTo>
                      <a:pt x="3007" y="1116"/>
                    </a:lnTo>
                    <a:lnTo>
                      <a:pt x="3007" y="871"/>
                    </a:lnTo>
                    <a:lnTo>
                      <a:pt x="2941" y="860"/>
                    </a:lnTo>
                    <a:lnTo>
                      <a:pt x="2860" y="844"/>
                    </a:lnTo>
                    <a:lnTo>
                      <a:pt x="2773" y="827"/>
                    </a:lnTo>
                    <a:lnTo>
                      <a:pt x="2670" y="806"/>
                    </a:lnTo>
                    <a:lnTo>
                      <a:pt x="2567" y="784"/>
                    </a:lnTo>
                    <a:lnTo>
                      <a:pt x="2458" y="757"/>
                    </a:lnTo>
                    <a:lnTo>
                      <a:pt x="2241" y="702"/>
                    </a:lnTo>
                    <a:lnTo>
                      <a:pt x="2138" y="670"/>
                    </a:lnTo>
                    <a:lnTo>
                      <a:pt x="2046" y="637"/>
                    </a:lnTo>
                    <a:lnTo>
                      <a:pt x="1959" y="604"/>
                    </a:lnTo>
                    <a:lnTo>
                      <a:pt x="1883" y="566"/>
                    </a:lnTo>
                    <a:lnTo>
                      <a:pt x="1824" y="534"/>
                    </a:lnTo>
                    <a:lnTo>
                      <a:pt x="1780" y="495"/>
                    </a:lnTo>
                    <a:lnTo>
                      <a:pt x="1769" y="474"/>
                    </a:lnTo>
                    <a:lnTo>
                      <a:pt x="1758" y="457"/>
                    </a:lnTo>
                    <a:lnTo>
                      <a:pt x="1753" y="436"/>
                    </a:lnTo>
                    <a:lnTo>
                      <a:pt x="1758" y="419"/>
                    </a:lnTo>
                    <a:lnTo>
                      <a:pt x="1780" y="381"/>
                    </a:lnTo>
                    <a:lnTo>
                      <a:pt x="1813" y="343"/>
                    </a:lnTo>
                    <a:lnTo>
                      <a:pt x="1862" y="316"/>
                    </a:lnTo>
                    <a:lnTo>
                      <a:pt x="1921" y="289"/>
                    </a:lnTo>
                    <a:lnTo>
                      <a:pt x="1986" y="267"/>
                    </a:lnTo>
                    <a:lnTo>
                      <a:pt x="2062" y="245"/>
                    </a:lnTo>
                    <a:lnTo>
                      <a:pt x="2149" y="229"/>
                    </a:lnTo>
                    <a:lnTo>
                      <a:pt x="2236" y="213"/>
                    </a:lnTo>
                    <a:lnTo>
                      <a:pt x="2431" y="180"/>
                    </a:lnTo>
                    <a:lnTo>
                      <a:pt x="2627" y="158"/>
                    </a:lnTo>
                    <a:lnTo>
                      <a:pt x="2827" y="125"/>
                    </a:lnTo>
                    <a:lnTo>
                      <a:pt x="2920" y="109"/>
                    </a:lnTo>
                    <a:lnTo>
                      <a:pt x="3007" y="87"/>
                    </a:lnTo>
                    <a:lnTo>
                      <a:pt x="3007" y="0"/>
                    </a:lnTo>
                    <a:lnTo>
                      <a:pt x="2909" y="22"/>
                    </a:lnTo>
                    <a:lnTo>
                      <a:pt x="2795" y="44"/>
                    </a:lnTo>
                    <a:lnTo>
                      <a:pt x="2676" y="66"/>
                    </a:lnTo>
                    <a:lnTo>
                      <a:pt x="2551" y="82"/>
                    </a:lnTo>
                    <a:lnTo>
                      <a:pt x="2285" y="120"/>
                    </a:lnTo>
                    <a:lnTo>
                      <a:pt x="2155" y="136"/>
                    </a:lnTo>
                    <a:lnTo>
                      <a:pt x="2030" y="158"/>
                    </a:lnTo>
                    <a:lnTo>
                      <a:pt x="1905" y="174"/>
                    </a:lnTo>
                    <a:lnTo>
                      <a:pt x="1791" y="202"/>
                    </a:lnTo>
                    <a:lnTo>
                      <a:pt x="1688" y="229"/>
                    </a:lnTo>
                    <a:lnTo>
                      <a:pt x="1601" y="261"/>
                    </a:lnTo>
                    <a:lnTo>
                      <a:pt x="1525" y="300"/>
                    </a:lnTo>
                    <a:lnTo>
                      <a:pt x="1471" y="338"/>
                    </a:lnTo>
                    <a:lnTo>
                      <a:pt x="1455" y="359"/>
                    </a:lnTo>
                    <a:lnTo>
                      <a:pt x="1438" y="387"/>
                    </a:lnTo>
                    <a:lnTo>
                      <a:pt x="1427" y="414"/>
                    </a:lnTo>
                    <a:lnTo>
                      <a:pt x="1427" y="44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800"/>
              </a:p>
            </p:txBody>
          </p:sp>
          <p:sp>
            <p:nvSpPr>
              <p:cNvPr id="11" name="Freeform 26">
                <a:extLst>
                  <a:ext uri="{FF2B5EF4-FFF2-40B4-BE49-F238E27FC236}">
                    <a16:creationId xmlns:a16="http://schemas.microsoft.com/office/drawing/2014/main" id="{BDFFDA22-181E-4A7F-9852-0655BB954D8C}"/>
                  </a:ext>
                </a:extLst>
              </p:cNvPr>
              <p:cNvSpPr>
                <a:spLocks/>
              </p:cNvSpPr>
              <p:nvPr/>
            </p:nvSpPr>
            <p:spPr bwMode="hidden">
              <a:xfrm>
                <a:off x="4501" y="2317"/>
                <a:ext cx="1248" cy="539"/>
              </a:xfrm>
              <a:custGeom>
                <a:avLst/>
                <a:gdLst/>
                <a:ahLst/>
                <a:cxnLst>
                  <a:cxn ang="0">
                    <a:pos x="0" y="332"/>
                  </a:cxn>
                  <a:cxn ang="0">
                    <a:pos x="0" y="360"/>
                  </a:cxn>
                  <a:cxn ang="0">
                    <a:pos x="5" y="387"/>
                  </a:cxn>
                  <a:cxn ang="0">
                    <a:pos x="27" y="414"/>
                  </a:cxn>
                  <a:cxn ang="0">
                    <a:pos x="54" y="436"/>
                  </a:cxn>
                  <a:cxn ang="0">
                    <a:pos x="92" y="463"/>
                  </a:cxn>
                  <a:cxn ang="0">
                    <a:pos x="141" y="490"/>
                  </a:cxn>
                  <a:cxn ang="0">
                    <a:pos x="195" y="512"/>
                  </a:cxn>
                  <a:cxn ang="0">
                    <a:pos x="255" y="539"/>
                  </a:cxn>
                  <a:cxn ang="0">
                    <a:pos x="212" y="517"/>
                  </a:cxn>
                  <a:cxn ang="0">
                    <a:pos x="179" y="490"/>
                  </a:cxn>
                  <a:cxn ang="0">
                    <a:pos x="157" y="468"/>
                  </a:cxn>
                  <a:cxn ang="0">
                    <a:pos x="141" y="447"/>
                  </a:cxn>
                  <a:cxn ang="0">
                    <a:pos x="136" y="425"/>
                  </a:cxn>
                  <a:cxn ang="0">
                    <a:pos x="136" y="403"/>
                  </a:cxn>
                  <a:cxn ang="0">
                    <a:pos x="141" y="381"/>
                  </a:cxn>
                  <a:cxn ang="0">
                    <a:pos x="157" y="365"/>
                  </a:cxn>
                  <a:cxn ang="0">
                    <a:pos x="179" y="343"/>
                  </a:cxn>
                  <a:cxn ang="0">
                    <a:pos x="201" y="327"/>
                  </a:cxn>
                  <a:cxn ang="0">
                    <a:pos x="266" y="294"/>
                  </a:cxn>
                  <a:cxn ang="0">
                    <a:pos x="353" y="262"/>
                  </a:cxn>
                  <a:cxn ang="0">
                    <a:pos x="445" y="234"/>
                  </a:cxn>
                  <a:cxn ang="0">
                    <a:pos x="554" y="213"/>
                  </a:cxn>
                  <a:cxn ang="0">
                    <a:pos x="662" y="191"/>
                  </a:cxn>
                  <a:cxn ang="0">
                    <a:pos x="890" y="153"/>
                  </a:cxn>
                  <a:cxn ang="0">
                    <a:pos x="993" y="136"/>
                  </a:cxn>
                  <a:cxn ang="0">
                    <a:pos x="1091" y="120"/>
                  </a:cxn>
                  <a:cxn ang="0">
                    <a:pos x="1178" y="115"/>
                  </a:cxn>
                  <a:cxn ang="0">
                    <a:pos x="1248" y="104"/>
                  </a:cxn>
                  <a:cxn ang="0">
                    <a:pos x="1248" y="0"/>
                  </a:cxn>
                  <a:cxn ang="0">
                    <a:pos x="1161" y="22"/>
                  </a:cxn>
                  <a:cxn ang="0">
                    <a:pos x="1069" y="38"/>
                  </a:cxn>
                  <a:cxn ang="0">
                    <a:pos x="874" y="71"/>
                  </a:cxn>
                  <a:cxn ang="0">
                    <a:pos x="673" y="93"/>
                  </a:cxn>
                  <a:cxn ang="0">
                    <a:pos x="483" y="126"/>
                  </a:cxn>
                  <a:cxn ang="0">
                    <a:pos x="391" y="142"/>
                  </a:cxn>
                  <a:cxn ang="0">
                    <a:pos x="309" y="158"/>
                  </a:cxn>
                  <a:cxn ang="0">
                    <a:pos x="228" y="180"/>
                  </a:cxn>
                  <a:cxn ang="0">
                    <a:pos x="163" y="202"/>
                  </a:cxn>
                  <a:cxn ang="0">
                    <a:pos x="103" y="229"/>
                  </a:cxn>
                  <a:cxn ang="0">
                    <a:pos x="54" y="256"/>
                  </a:cxn>
                  <a:cxn ang="0">
                    <a:pos x="22" y="294"/>
                  </a:cxn>
                  <a:cxn ang="0">
                    <a:pos x="0" y="332"/>
                  </a:cxn>
                  <a:cxn ang="0">
                    <a:pos x="0" y="332"/>
                  </a:cxn>
                </a:cxnLst>
                <a:rect l="0" t="0" r="r" b="b"/>
                <a:pathLst>
                  <a:path w="1248" h="539">
                    <a:moveTo>
                      <a:pt x="0" y="332"/>
                    </a:moveTo>
                    <a:lnTo>
                      <a:pt x="0" y="360"/>
                    </a:lnTo>
                    <a:lnTo>
                      <a:pt x="5" y="387"/>
                    </a:lnTo>
                    <a:lnTo>
                      <a:pt x="27" y="414"/>
                    </a:lnTo>
                    <a:lnTo>
                      <a:pt x="54" y="436"/>
                    </a:lnTo>
                    <a:lnTo>
                      <a:pt x="92" y="463"/>
                    </a:lnTo>
                    <a:lnTo>
                      <a:pt x="141" y="490"/>
                    </a:lnTo>
                    <a:lnTo>
                      <a:pt x="195" y="512"/>
                    </a:lnTo>
                    <a:lnTo>
                      <a:pt x="255" y="539"/>
                    </a:lnTo>
                    <a:lnTo>
                      <a:pt x="212" y="517"/>
                    </a:lnTo>
                    <a:lnTo>
                      <a:pt x="179" y="490"/>
                    </a:lnTo>
                    <a:lnTo>
                      <a:pt x="157" y="468"/>
                    </a:lnTo>
                    <a:lnTo>
                      <a:pt x="141" y="447"/>
                    </a:lnTo>
                    <a:lnTo>
                      <a:pt x="136" y="425"/>
                    </a:lnTo>
                    <a:lnTo>
                      <a:pt x="136" y="403"/>
                    </a:lnTo>
                    <a:lnTo>
                      <a:pt x="141" y="381"/>
                    </a:lnTo>
                    <a:lnTo>
                      <a:pt x="157" y="365"/>
                    </a:lnTo>
                    <a:lnTo>
                      <a:pt x="179" y="343"/>
                    </a:lnTo>
                    <a:lnTo>
                      <a:pt x="201" y="327"/>
                    </a:lnTo>
                    <a:lnTo>
                      <a:pt x="266" y="294"/>
                    </a:lnTo>
                    <a:lnTo>
                      <a:pt x="353" y="262"/>
                    </a:lnTo>
                    <a:lnTo>
                      <a:pt x="445" y="234"/>
                    </a:lnTo>
                    <a:lnTo>
                      <a:pt x="554" y="213"/>
                    </a:lnTo>
                    <a:lnTo>
                      <a:pt x="662" y="191"/>
                    </a:lnTo>
                    <a:lnTo>
                      <a:pt x="890" y="153"/>
                    </a:lnTo>
                    <a:lnTo>
                      <a:pt x="993" y="136"/>
                    </a:lnTo>
                    <a:lnTo>
                      <a:pt x="1091" y="120"/>
                    </a:lnTo>
                    <a:lnTo>
                      <a:pt x="1178" y="115"/>
                    </a:lnTo>
                    <a:lnTo>
                      <a:pt x="1248" y="104"/>
                    </a:lnTo>
                    <a:lnTo>
                      <a:pt x="1248" y="0"/>
                    </a:lnTo>
                    <a:lnTo>
                      <a:pt x="1161" y="22"/>
                    </a:lnTo>
                    <a:lnTo>
                      <a:pt x="1069" y="38"/>
                    </a:lnTo>
                    <a:lnTo>
                      <a:pt x="874" y="71"/>
                    </a:lnTo>
                    <a:lnTo>
                      <a:pt x="673" y="93"/>
                    </a:lnTo>
                    <a:lnTo>
                      <a:pt x="483" y="126"/>
                    </a:lnTo>
                    <a:lnTo>
                      <a:pt x="391" y="142"/>
                    </a:lnTo>
                    <a:lnTo>
                      <a:pt x="309" y="158"/>
                    </a:lnTo>
                    <a:lnTo>
                      <a:pt x="228" y="180"/>
                    </a:lnTo>
                    <a:lnTo>
                      <a:pt x="163" y="202"/>
                    </a:lnTo>
                    <a:lnTo>
                      <a:pt x="103" y="229"/>
                    </a:lnTo>
                    <a:lnTo>
                      <a:pt x="54" y="256"/>
                    </a:lnTo>
                    <a:lnTo>
                      <a:pt x="22" y="294"/>
                    </a:lnTo>
                    <a:lnTo>
                      <a:pt x="0" y="332"/>
                    </a:lnTo>
                    <a:lnTo>
                      <a:pt x="0" y="332"/>
                    </a:lnTo>
                    <a:close/>
                  </a:path>
                </a:pathLst>
              </a:custGeom>
              <a:gradFill rotWithShape="0">
                <a:gsLst>
                  <a:gs pos="0">
                    <a:schemeClr val="bg1">
                      <a:gamma/>
                      <a:shade val="87843"/>
                      <a:invGamma/>
                    </a:schemeClr>
                  </a:gs>
                  <a:gs pos="100000">
                    <a:schemeClr val="bg1"/>
                  </a:gs>
                </a:gsLst>
                <a:lin ang="2700000" scaled="1"/>
              </a:gradFill>
              <a:ln w="9525">
                <a:noFill/>
                <a:round/>
                <a:headEnd/>
                <a:tailEnd/>
              </a:ln>
            </p:spPr>
            <p:txBody>
              <a:bodyPr/>
              <a:lstStyle/>
              <a:p>
                <a:pPr eaLnBrk="0" hangingPunct="0">
                  <a:defRPr/>
                </a:pPr>
                <a:endParaRPr lang="en-US" sz="1800">
                  <a:solidFill>
                    <a:srgbClr val="FFFFFF"/>
                  </a:solidFill>
                  <a:latin typeface="+mn-lt"/>
                  <a:cs typeface="+mn-cs"/>
                </a:endParaRPr>
              </a:p>
            </p:txBody>
          </p:sp>
        </p:grpSp>
        <p:sp>
          <p:nvSpPr>
            <p:cNvPr id="5" name="Freeform 11">
              <a:extLst>
                <a:ext uri="{FF2B5EF4-FFF2-40B4-BE49-F238E27FC236}">
                  <a16:creationId xmlns:a16="http://schemas.microsoft.com/office/drawing/2014/main" id="{D82CF85F-7598-4CEF-8E03-4E50470B5AD3}"/>
                </a:ext>
              </a:extLst>
            </p:cNvPr>
            <p:cNvSpPr>
              <a:spLocks/>
            </p:cNvSpPr>
            <p:nvPr/>
          </p:nvSpPr>
          <p:spPr bwMode="hidden">
            <a:xfrm>
              <a:off x="3322" y="1341"/>
              <a:ext cx="1825" cy="1537"/>
            </a:xfrm>
            <a:custGeom>
              <a:avLst/>
              <a:gdLst/>
              <a:ahLst/>
              <a:cxnLst>
                <a:cxn ang="0">
                  <a:pos x="982" y="1061"/>
                </a:cxn>
                <a:cxn ang="0">
                  <a:pos x="1357" y="1012"/>
                </a:cxn>
                <a:cxn ang="0">
                  <a:pos x="1666" y="957"/>
                </a:cxn>
                <a:cxn ang="0">
                  <a:pos x="1916" y="897"/>
                </a:cxn>
                <a:cxn ang="0">
                  <a:pos x="2100" y="832"/>
                </a:cxn>
                <a:cxn ang="0">
                  <a:pos x="2220" y="756"/>
                </a:cxn>
                <a:cxn ang="0">
                  <a:pos x="2285" y="669"/>
                </a:cxn>
                <a:cxn ang="0">
                  <a:pos x="2290" y="560"/>
                </a:cxn>
                <a:cxn ang="0">
                  <a:pos x="2241" y="457"/>
                </a:cxn>
                <a:cxn ang="0">
                  <a:pos x="2144" y="364"/>
                </a:cxn>
                <a:cxn ang="0">
                  <a:pos x="2008" y="277"/>
                </a:cxn>
                <a:cxn ang="0">
                  <a:pos x="1769" y="157"/>
                </a:cxn>
                <a:cxn ang="0">
                  <a:pos x="1612" y="92"/>
                </a:cxn>
                <a:cxn ang="0">
                  <a:pos x="1476" y="43"/>
                </a:cxn>
                <a:cxn ang="0">
                  <a:pos x="1384" y="10"/>
                </a:cxn>
                <a:cxn ang="0">
                  <a:pos x="1346" y="0"/>
                </a:cxn>
                <a:cxn ang="0">
                  <a:pos x="1655" y="119"/>
                </a:cxn>
                <a:cxn ang="0">
                  <a:pos x="1948" y="255"/>
                </a:cxn>
                <a:cxn ang="0">
                  <a:pos x="2068" y="326"/>
                </a:cxn>
                <a:cxn ang="0">
                  <a:pos x="2171" y="402"/>
                </a:cxn>
                <a:cxn ang="0">
                  <a:pos x="2236" y="478"/>
                </a:cxn>
                <a:cxn ang="0">
                  <a:pos x="2263" y="560"/>
                </a:cxn>
                <a:cxn ang="0">
                  <a:pos x="2241" y="636"/>
                </a:cxn>
                <a:cxn ang="0">
                  <a:pos x="2171" y="702"/>
                </a:cxn>
                <a:cxn ang="0">
                  <a:pos x="2062" y="756"/>
                </a:cxn>
                <a:cxn ang="0">
                  <a:pos x="1921" y="800"/>
                </a:cxn>
                <a:cxn ang="0">
                  <a:pos x="1748" y="843"/>
                </a:cxn>
                <a:cxn ang="0">
                  <a:pos x="1351" y="908"/>
                </a:cxn>
                <a:cxn ang="0">
                  <a:pos x="923" y="968"/>
                </a:cxn>
                <a:cxn ang="0">
                  <a:pos x="521" y="1028"/>
                </a:cxn>
                <a:cxn ang="0">
                  <a:pos x="353" y="1066"/>
                </a:cxn>
                <a:cxn ang="0">
                  <a:pos x="206" y="1104"/>
                </a:cxn>
                <a:cxn ang="0">
                  <a:pos x="92" y="1148"/>
                </a:cxn>
                <a:cxn ang="0">
                  <a:pos x="22" y="1202"/>
                </a:cxn>
                <a:cxn ang="0">
                  <a:pos x="0" y="1262"/>
                </a:cxn>
                <a:cxn ang="0">
                  <a:pos x="27" y="1327"/>
                </a:cxn>
                <a:cxn ang="0">
                  <a:pos x="98" y="1382"/>
                </a:cxn>
                <a:cxn ang="0">
                  <a:pos x="196" y="1425"/>
                </a:cxn>
                <a:cxn ang="0">
                  <a:pos x="326" y="1469"/>
                </a:cxn>
                <a:cxn ang="0">
                  <a:pos x="217" y="1414"/>
                </a:cxn>
                <a:cxn ang="0">
                  <a:pos x="147" y="1360"/>
                </a:cxn>
                <a:cxn ang="0">
                  <a:pos x="120" y="1306"/>
                </a:cxn>
                <a:cxn ang="0">
                  <a:pos x="141" y="1257"/>
                </a:cxn>
                <a:cxn ang="0">
                  <a:pos x="212" y="1208"/>
                </a:cxn>
                <a:cxn ang="0">
                  <a:pos x="342" y="1164"/>
                </a:cxn>
                <a:cxn ang="0">
                  <a:pos x="527" y="1121"/>
                </a:cxn>
                <a:cxn ang="0">
                  <a:pos x="771" y="1088"/>
                </a:cxn>
              </a:cxnLst>
              <a:rect l="0" t="0" r="r" b="b"/>
              <a:pathLst>
                <a:path w="2296" h="1469">
                  <a:moveTo>
                    <a:pt x="771" y="1088"/>
                  </a:moveTo>
                  <a:lnTo>
                    <a:pt x="982" y="1061"/>
                  </a:lnTo>
                  <a:lnTo>
                    <a:pt x="1178" y="1034"/>
                  </a:lnTo>
                  <a:lnTo>
                    <a:pt x="1357" y="1012"/>
                  </a:lnTo>
                  <a:lnTo>
                    <a:pt x="1520" y="985"/>
                  </a:lnTo>
                  <a:lnTo>
                    <a:pt x="1666" y="957"/>
                  </a:lnTo>
                  <a:lnTo>
                    <a:pt x="1796" y="930"/>
                  </a:lnTo>
                  <a:lnTo>
                    <a:pt x="1916" y="897"/>
                  </a:lnTo>
                  <a:lnTo>
                    <a:pt x="2013" y="870"/>
                  </a:lnTo>
                  <a:lnTo>
                    <a:pt x="2100" y="832"/>
                  </a:lnTo>
                  <a:lnTo>
                    <a:pt x="2171" y="800"/>
                  </a:lnTo>
                  <a:lnTo>
                    <a:pt x="2220" y="756"/>
                  </a:lnTo>
                  <a:lnTo>
                    <a:pt x="2263" y="712"/>
                  </a:lnTo>
                  <a:lnTo>
                    <a:pt x="2285" y="669"/>
                  </a:lnTo>
                  <a:lnTo>
                    <a:pt x="2296" y="614"/>
                  </a:lnTo>
                  <a:lnTo>
                    <a:pt x="2290" y="560"/>
                  </a:lnTo>
                  <a:lnTo>
                    <a:pt x="2269" y="500"/>
                  </a:lnTo>
                  <a:lnTo>
                    <a:pt x="2241" y="457"/>
                  </a:lnTo>
                  <a:lnTo>
                    <a:pt x="2198" y="408"/>
                  </a:lnTo>
                  <a:lnTo>
                    <a:pt x="2144" y="364"/>
                  </a:lnTo>
                  <a:lnTo>
                    <a:pt x="2079" y="321"/>
                  </a:lnTo>
                  <a:lnTo>
                    <a:pt x="2008" y="277"/>
                  </a:lnTo>
                  <a:lnTo>
                    <a:pt x="1927" y="234"/>
                  </a:lnTo>
                  <a:lnTo>
                    <a:pt x="1769" y="157"/>
                  </a:lnTo>
                  <a:lnTo>
                    <a:pt x="1688" y="125"/>
                  </a:lnTo>
                  <a:lnTo>
                    <a:pt x="1612" y="92"/>
                  </a:lnTo>
                  <a:lnTo>
                    <a:pt x="1536" y="65"/>
                  </a:lnTo>
                  <a:lnTo>
                    <a:pt x="1476" y="43"/>
                  </a:lnTo>
                  <a:lnTo>
                    <a:pt x="1422" y="27"/>
                  </a:lnTo>
                  <a:lnTo>
                    <a:pt x="1384" y="10"/>
                  </a:lnTo>
                  <a:lnTo>
                    <a:pt x="1357" y="5"/>
                  </a:lnTo>
                  <a:lnTo>
                    <a:pt x="1346" y="0"/>
                  </a:lnTo>
                  <a:lnTo>
                    <a:pt x="1498" y="54"/>
                  </a:lnTo>
                  <a:lnTo>
                    <a:pt x="1655" y="119"/>
                  </a:lnTo>
                  <a:lnTo>
                    <a:pt x="1807" y="185"/>
                  </a:lnTo>
                  <a:lnTo>
                    <a:pt x="1948" y="255"/>
                  </a:lnTo>
                  <a:lnTo>
                    <a:pt x="2013" y="288"/>
                  </a:lnTo>
                  <a:lnTo>
                    <a:pt x="2068" y="326"/>
                  </a:lnTo>
                  <a:lnTo>
                    <a:pt x="2122" y="364"/>
                  </a:lnTo>
                  <a:lnTo>
                    <a:pt x="2171" y="402"/>
                  </a:lnTo>
                  <a:lnTo>
                    <a:pt x="2209" y="440"/>
                  </a:lnTo>
                  <a:lnTo>
                    <a:pt x="2236" y="478"/>
                  </a:lnTo>
                  <a:lnTo>
                    <a:pt x="2252" y="522"/>
                  </a:lnTo>
                  <a:lnTo>
                    <a:pt x="2263" y="560"/>
                  </a:lnTo>
                  <a:lnTo>
                    <a:pt x="2258" y="598"/>
                  </a:lnTo>
                  <a:lnTo>
                    <a:pt x="2241" y="636"/>
                  </a:lnTo>
                  <a:lnTo>
                    <a:pt x="2214" y="669"/>
                  </a:lnTo>
                  <a:lnTo>
                    <a:pt x="2171" y="702"/>
                  </a:lnTo>
                  <a:lnTo>
                    <a:pt x="2122" y="729"/>
                  </a:lnTo>
                  <a:lnTo>
                    <a:pt x="2062" y="756"/>
                  </a:lnTo>
                  <a:lnTo>
                    <a:pt x="1997" y="778"/>
                  </a:lnTo>
                  <a:lnTo>
                    <a:pt x="1921" y="800"/>
                  </a:lnTo>
                  <a:lnTo>
                    <a:pt x="1834" y="821"/>
                  </a:lnTo>
                  <a:lnTo>
                    <a:pt x="1748" y="843"/>
                  </a:lnTo>
                  <a:lnTo>
                    <a:pt x="1552" y="876"/>
                  </a:lnTo>
                  <a:lnTo>
                    <a:pt x="1351" y="908"/>
                  </a:lnTo>
                  <a:lnTo>
                    <a:pt x="1134" y="941"/>
                  </a:lnTo>
                  <a:lnTo>
                    <a:pt x="923" y="968"/>
                  </a:lnTo>
                  <a:lnTo>
                    <a:pt x="716" y="995"/>
                  </a:lnTo>
                  <a:lnTo>
                    <a:pt x="521" y="1028"/>
                  </a:lnTo>
                  <a:lnTo>
                    <a:pt x="434" y="1044"/>
                  </a:lnTo>
                  <a:lnTo>
                    <a:pt x="353" y="1066"/>
                  </a:lnTo>
                  <a:lnTo>
                    <a:pt x="277" y="1082"/>
                  </a:lnTo>
                  <a:lnTo>
                    <a:pt x="206" y="1104"/>
                  </a:lnTo>
                  <a:lnTo>
                    <a:pt x="147" y="1126"/>
                  </a:lnTo>
                  <a:lnTo>
                    <a:pt x="92" y="1148"/>
                  </a:lnTo>
                  <a:lnTo>
                    <a:pt x="54" y="1175"/>
                  </a:lnTo>
                  <a:lnTo>
                    <a:pt x="22" y="1202"/>
                  </a:lnTo>
                  <a:lnTo>
                    <a:pt x="6" y="1229"/>
                  </a:lnTo>
                  <a:lnTo>
                    <a:pt x="0" y="1262"/>
                  </a:lnTo>
                  <a:lnTo>
                    <a:pt x="11" y="1295"/>
                  </a:lnTo>
                  <a:lnTo>
                    <a:pt x="27" y="1327"/>
                  </a:lnTo>
                  <a:lnTo>
                    <a:pt x="54" y="1355"/>
                  </a:lnTo>
                  <a:lnTo>
                    <a:pt x="98" y="1382"/>
                  </a:lnTo>
                  <a:lnTo>
                    <a:pt x="141" y="1404"/>
                  </a:lnTo>
                  <a:lnTo>
                    <a:pt x="196" y="1425"/>
                  </a:lnTo>
                  <a:lnTo>
                    <a:pt x="261" y="1447"/>
                  </a:lnTo>
                  <a:lnTo>
                    <a:pt x="326" y="1469"/>
                  </a:lnTo>
                  <a:lnTo>
                    <a:pt x="266" y="1442"/>
                  </a:lnTo>
                  <a:lnTo>
                    <a:pt x="217" y="1414"/>
                  </a:lnTo>
                  <a:lnTo>
                    <a:pt x="174" y="1387"/>
                  </a:lnTo>
                  <a:lnTo>
                    <a:pt x="147" y="1360"/>
                  </a:lnTo>
                  <a:lnTo>
                    <a:pt x="125" y="1333"/>
                  </a:lnTo>
                  <a:lnTo>
                    <a:pt x="120" y="1306"/>
                  </a:lnTo>
                  <a:lnTo>
                    <a:pt x="125" y="1278"/>
                  </a:lnTo>
                  <a:lnTo>
                    <a:pt x="141" y="1257"/>
                  </a:lnTo>
                  <a:lnTo>
                    <a:pt x="174" y="1229"/>
                  </a:lnTo>
                  <a:lnTo>
                    <a:pt x="212" y="1208"/>
                  </a:lnTo>
                  <a:lnTo>
                    <a:pt x="272" y="1186"/>
                  </a:lnTo>
                  <a:lnTo>
                    <a:pt x="342" y="1164"/>
                  </a:lnTo>
                  <a:lnTo>
                    <a:pt x="423" y="1142"/>
                  </a:lnTo>
                  <a:lnTo>
                    <a:pt x="527" y="1121"/>
                  </a:lnTo>
                  <a:lnTo>
                    <a:pt x="641" y="1104"/>
                  </a:lnTo>
                  <a:lnTo>
                    <a:pt x="771" y="1088"/>
                  </a:lnTo>
                  <a:lnTo>
                    <a:pt x="771" y="1088"/>
                  </a:lnTo>
                  <a:close/>
                </a:path>
              </a:pathLst>
            </a:custGeom>
            <a:gradFill rotWithShape="0">
              <a:gsLst>
                <a:gs pos="0">
                  <a:schemeClr val="bg1">
                    <a:gamma/>
                    <a:shade val="84706"/>
                    <a:invGamma/>
                  </a:schemeClr>
                </a:gs>
                <a:gs pos="100000">
                  <a:schemeClr val="bg1"/>
                </a:gs>
              </a:gsLst>
              <a:lin ang="2700000" scaled="1"/>
            </a:gradFill>
            <a:ln w="9525">
              <a:noFill/>
              <a:round/>
              <a:headEnd/>
              <a:tailEnd/>
            </a:ln>
          </p:spPr>
          <p:txBody>
            <a:bodyPr/>
            <a:lstStyle/>
            <a:p>
              <a:pPr eaLnBrk="0" hangingPunct="0">
                <a:defRPr/>
              </a:pPr>
              <a:endParaRPr lang="en-US" sz="1800">
                <a:solidFill>
                  <a:srgbClr val="FFFFFF"/>
                </a:solidFill>
                <a:latin typeface="+mn-lt"/>
                <a:cs typeface="+mn-cs"/>
              </a:endParaRPr>
            </a:p>
          </p:txBody>
        </p:sp>
        <p:sp>
          <p:nvSpPr>
            <p:cNvPr id="6" name="Freeform 12">
              <a:extLst>
                <a:ext uri="{FF2B5EF4-FFF2-40B4-BE49-F238E27FC236}">
                  <a16:creationId xmlns:a16="http://schemas.microsoft.com/office/drawing/2014/main" id="{9C5871F9-7E6C-41EA-A5DF-4525860BB3F6}"/>
                </a:ext>
              </a:extLst>
            </p:cNvPr>
            <p:cNvSpPr>
              <a:spLocks/>
            </p:cNvSpPr>
            <p:nvPr/>
          </p:nvSpPr>
          <p:spPr bwMode="hidden">
            <a:xfrm>
              <a:off x="0" y="0"/>
              <a:ext cx="5758" cy="1776"/>
            </a:xfrm>
            <a:custGeom>
              <a:avLst/>
              <a:gdLst>
                <a:gd name="T0" fmla="*/ 0 w 5740"/>
                <a:gd name="T1" fmla="*/ 0 h 1906"/>
                <a:gd name="T2" fmla="*/ 0 w 5740"/>
                <a:gd name="T3" fmla="*/ 1776 h 1906"/>
                <a:gd name="T4" fmla="*/ 5758 w 5740"/>
                <a:gd name="T5" fmla="*/ 1776 h 1906"/>
                <a:gd name="T6" fmla="*/ 5758 w 5740"/>
                <a:gd name="T7" fmla="*/ 0 h 1906"/>
                <a:gd name="T8" fmla="*/ 0 w 5740"/>
                <a:gd name="T9" fmla="*/ 0 h 1906"/>
                <a:gd name="T10" fmla="*/ 0 w 5740"/>
                <a:gd name="T11" fmla="*/ 0 h 190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5740" h="1906">
                  <a:moveTo>
                    <a:pt x="0" y="0"/>
                  </a:moveTo>
                  <a:lnTo>
                    <a:pt x="0" y="1906"/>
                  </a:lnTo>
                  <a:lnTo>
                    <a:pt x="5740" y="1906"/>
                  </a:lnTo>
                  <a:lnTo>
                    <a:pt x="5740" y="0"/>
                  </a:lnTo>
                  <a:lnTo>
                    <a:pt x="0" y="0"/>
                  </a:lnTo>
                  <a:close/>
                </a:path>
              </a:pathLst>
            </a:custGeom>
            <a:gradFill rotWithShape="0">
              <a:gsLst>
                <a:gs pos="0">
                  <a:schemeClr val="bg2"/>
                </a:gs>
                <a:gs pos="100000">
                  <a:schemeClr val="bg1"/>
                </a:gs>
              </a:gsLst>
              <a:lin ang="54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800"/>
            </a:p>
          </p:txBody>
        </p:sp>
      </p:grpSp>
      <p:sp>
        <p:nvSpPr>
          <p:cNvPr id="12" name="Text Box 16">
            <a:extLst>
              <a:ext uri="{FF2B5EF4-FFF2-40B4-BE49-F238E27FC236}">
                <a16:creationId xmlns:a16="http://schemas.microsoft.com/office/drawing/2014/main" id="{EA486A38-E02B-419F-832B-F591A6D114C6}"/>
              </a:ext>
            </a:extLst>
          </p:cNvPr>
          <p:cNvSpPr txBox="1">
            <a:spLocks noChangeArrowheads="1"/>
          </p:cNvSpPr>
          <p:nvPr/>
        </p:nvSpPr>
        <p:spPr bwMode="auto">
          <a:xfrm>
            <a:off x="11074400" y="304801"/>
            <a:ext cx="711200"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pPr eaLnBrk="0" hangingPunct="0">
              <a:spcBef>
                <a:spcPct val="50000"/>
              </a:spcBef>
              <a:defRPr/>
            </a:pPr>
            <a:endParaRPr lang="en-US" altLang="en-US" sz="1800">
              <a:solidFill>
                <a:srgbClr val="FFFFFF"/>
              </a:solidFill>
              <a:latin typeface="Garamond" pitchFamily="18" charset="0"/>
            </a:endParaRPr>
          </a:p>
        </p:txBody>
      </p:sp>
      <p:sp>
        <p:nvSpPr>
          <p:cNvPr id="13" name="Text Box 17">
            <a:extLst>
              <a:ext uri="{FF2B5EF4-FFF2-40B4-BE49-F238E27FC236}">
                <a16:creationId xmlns:a16="http://schemas.microsoft.com/office/drawing/2014/main" id="{E9713014-F814-4515-828D-2FB4C3F52D34}"/>
              </a:ext>
            </a:extLst>
          </p:cNvPr>
          <p:cNvSpPr txBox="1">
            <a:spLocks noChangeArrowheads="1"/>
          </p:cNvSpPr>
          <p:nvPr/>
        </p:nvSpPr>
        <p:spPr bwMode="auto">
          <a:xfrm>
            <a:off x="11582400" y="228601"/>
            <a:ext cx="609600"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Calibri" panose="020F0502020204030204" pitchFamily="34" charset="0"/>
                <a:cs typeface="Arial" panose="020B0604020202020204" pitchFamily="34" charset="0"/>
              </a:defRPr>
            </a:lvl1pPr>
            <a:lvl2pPr marL="742950" indent="-285750" eaLnBrk="0" hangingPunct="0">
              <a:defRPr>
                <a:solidFill>
                  <a:schemeClr val="tx1"/>
                </a:solidFill>
                <a:latin typeface="Calibri" panose="020F0502020204030204" pitchFamily="34" charset="0"/>
                <a:cs typeface="Arial" panose="020B0604020202020204" pitchFamily="34" charset="0"/>
              </a:defRPr>
            </a:lvl2pPr>
            <a:lvl3pPr marL="1143000" indent="-228600" eaLnBrk="0" hangingPunct="0">
              <a:defRPr>
                <a:solidFill>
                  <a:schemeClr val="tx1"/>
                </a:solidFill>
                <a:latin typeface="Calibri" panose="020F0502020204030204" pitchFamily="34" charset="0"/>
                <a:cs typeface="Arial" panose="020B0604020202020204" pitchFamily="34" charset="0"/>
              </a:defRPr>
            </a:lvl3pPr>
            <a:lvl4pPr marL="1600200" indent="-228600" eaLnBrk="0" hangingPunct="0">
              <a:defRPr>
                <a:solidFill>
                  <a:schemeClr val="tx1"/>
                </a:solidFill>
                <a:latin typeface="Calibri" panose="020F0502020204030204" pitchFamily="34" charset="0"/>
                <a:cs typeface="Arial" panose="020B0604020202020204" pitchFamily="34" charset="0"/>
              </a:defRPr>
            </a:lvl4pPr>
            <a:lvl5pPr marL="2057400" indent="-228600" eaLnBrk="0" hangingPunct="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spcBef>
                <a:spcPct val="50000"/>
              </a:spcBef>
            </a:pPr>
            <a:fld id="{9F4D6EF6-ADDA-495D-A9A6-2664C095B927}" type="slidenum">
              <a:rPr lang="en-US" altLang="en-US" sz="1800">
                <a:solidFill>
                  <a:srgbClr val="FFFFFF"/>
                </a:solidFill>
                <a:latin typeface="Garamond" panose="02020404030301010803" pitchFamily="18" charset="0"/>
              </a:rPr>
              <a:pPr>
                <a:spcBef>
                  <a:spcPct val="50000"/>
                </a:spcBef>
              </a:pPr>
              <a:t>‹#›</a:t>
            </a:fld>
            <a:endParaRPr lang="en-US" altLang="en-US" sz="1800">
              <a:solidFill>
                <a:srgbClr val="FFFFFF"/>
              </a:solidFill>
              <a:latin typeface="Garamond" panose="02020404030301010803" pitchFamily="18" charset="0"/>
            </a:endParaRPr>
          </a:p>
        </p:txBody>
      </p:sp>
      <p:graphicFrame>
        <p:nvGraphicFramePr>
          <p:cNvPr id="14" name="Object 18">
            <a:extLst>
              <a:ext uri="{FF2B5EF4-FFF2-40B4-BE49-F238E27FC236}">
                <a16:creationId xmlns:a16="http://schemas.microsoft.com/office/drawing/2014/main" id="{9BEDA3A3-CF3D-4D8F-9A52-B58B8A4D2C30}"/>
              </a:ext>
            </a:extLst>
          </p:cNvPr>
          <p:cNvGraphicFramePr>
            <a:graphicFrameLocks noChangeAspect="1"/>
          </p:cNvGraphicFramePr>
          <p:nvPr/>
        </p:nvGraphicFramePr>
        <p:xfrm>
          <a:off x="9652000" y="5918200"/>
          <a:ext cx="2540000" cy="939800"/>
        </p:xfrm>
        <a:graphic>
          <a:graphicData uri="http://schemas.openxmlformats.org/presentationml/2006/ole">
            <mc:AlternateContent xmlns:mc="http://schemas.openxmlformats.org/markup-compatibility/2006">
              <mc:Choice xmlns:v="urn:schemas-microsoft-com:vml" Requires="v">
                <p:oleObj spid="_x0000_s9219" name="Bitmap Image" r:id="rId3" imgW="2142857" imgH="1057423" progId="Paint.Picture">
                  <p:embed/>
                </p:oleObj>
              </mc:Choice>
              <mc:Fallback>
                <p:oleObj name="Bitmap Image" r:id="rId3" imgW="2142857" imgH="1057423" progId="Paint.Picture">
                  <p:embed/>
                  <p:pic>
                    <p:nvPicPr>
                      <p:cNvPr id="14" name="Object 18">
                        <a:extLst>
                          <a:ext uri="{FF2B5EF4-FFF2-40B4-BE49-F238E27FC236}">
                            <a16:creationId xmlns:a16="http://schemas.microsoft.com/office/drawing/2014/main" id="{9BEDA3A3-CF3D-4D8F-9A52-B58B8A4D2C3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652000" y="5918200"/>
                        <a:ext cx="2540000" cy="939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
        <p:nvSpPr>
          <p:cNvPr id="15" name="Date Placeholder 14">
            <a:extLst>
              <a:ext uri="{FF2B5EF4-FFF2-40B4-BE49-F238E27FC236}">
                <a16:creationId xmlns:a16="http://schemas.microsoft.com/office/drawing/2014/main" id="{6D20918A-9BD4-4DCF-BEFF-0744D4FC6B90}"/>
              </a:ext>
            </a:extLst>
          </p:cNvPr>
          <p:cNvSpPr>
            <a:spLocks noGrp="1" noChangeArrowheads="1"/>
          </p:cNvSpPr>
          <p:nvPr>
            <p:ph type="dt" sz="half" idx="10"/>
          </p:nvPr>
        </p:nvSpPr>
        <p:spPr/>
        <p:txBody>
          <a:bodyPr/>
          <a:lstStyle>
            <a:lvl1pPr fontAlgn="auto">
              <a:spcBef>
                <a:spcPts val="0"/>
              </a:spcBef>
              <a:spcAft>
                <a:spcPts val="0"/>
              </a:spcAft>
              <a:defRPr/>
            </a:lvl1pPr>
          </a:lstStyle>
          <a:p>
            <a:pPr>
              <a:defRPr/>
            </a:pPr>
            <a:endParaRPr lang="en-US"/>
          </a:p>
        </p:txBody>
      </p:sp>
      <p:sp>
        <p:nvSpPr>
          <p:cNvPr id="16" name="Slide Number Placeholder 15">
            <a:extLst>
              <a:ext uri="{FF2B5EF4-FFF2-40B4-BE49-F238E27FC236}">
                <a16:creationId xmlns:a16="http://schemas.microsoft.com/office/drawing/2014/main" id="{74456756-95A1-4C09-896D-BDD6794B9F96}"/>
              </a:ext>
            </a:extLst>
          </p:cNvPr>
          <p:cNvSpPr>
            <a:spLocks noGrp="1" noChangeArrowheads="1"/>
          </p:cNvSpPr>
          <p:nvPr>
            <p:ph type="sldNum" sz="quarter" idx="11"/>
          </p:nvPr>
        </p:nvSpPr>
        <p:spPr/>
        <p:txBody>
          <a:bodyPr/>
          <a:lstStyle>
            <a:lvl1pPr>
              <a:defRPr/>
            </a:lvl1pPr>
          </a:lstStyle>
          <a:p>
            <a:fld id="{8DF74D22-169F-4836-8EF7-F9E043C9E303}" type="slidenum">
              <a:rPr lang="en-US" altLang="en-US"/>
              <a:pPr/>
              <a:t>‹#›</a:t>
            </a:fld>
            <a:endParaRPr lang="en-US" altLang="en-US"/>
          </a:p>
        </p:txBody>
      </p:sp>
      <p:sp>
        <p:nvSpPr>
          <p:cNvPr id="17" name="Rectangle 14">
            <a:extLst>
              <a:ext uri="{FF2B5EF4-FFF2-40B4-BE49-F238E27FC236}">
                <a16:creationId xmlns:a16="http://schemas.microsoft.com/office/drawing/2014/main" id="{0E4DE9BD-A327-41F5-8897-E10CDD8A2BC7}"/>
              </a:ext>
            </a:extLst>
          </p:cNvPr>
          <p:cNvSpPr>
            <a:spLocks noGrp="1" noChangeArrowheads="1"/>
          </p:cNvSpPr>
          <p:nvPr>
            <p:ph type="ftr" sz="quarter" idx="12"/>
          </p:nvPr>
        </p:nvSpPr>
        <p:spPr/>
        <p:txBody>
          <a:bodyPr/>
          <a:lstStyle>
            <a:lvl1pPr fontAlgn="auto">
              <a:spcBef>
                <a:spcPts val="0"/>
              </a:spcBef>
              <a:spcAft>
                <a:spcPts val="0"/>
              </a:spcAft>
              <a:defRPr/>
            </a:lvl1pPr>
          </a:lstStyle>
          <a:p>
            <a:pPr>
              <a:defRPr/>
            </a:pPr>
            <a:endParaRPr lang="en-US"/>
          </a:p>
        </p:txBody>
      </p:sp>
    </p:spTree>
    <p:extLst>
      <p:ext uri="{BB962C8B-B14F-4D97-AF65-F5344CB8AC3E}">
        <p14:creationId xmlns:p14="http://schemas.microsoft.com/office/powerpoint/2010/main" val="2801282862"/>
      </p:ext>
    </p:extLst>
  </p:cSld>
  <p:clrMapOvr>
    <a:masterClrMapping/>
  </p:clrMapOvr>
  <p:transition>
    <p:random/>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pSp>
        <p:nvGrpSpPr>
          <p:cNvPr id="2" name="Group 4">
            <a:extLst>
              <a:ext uri="{FF2B5EF4-FFF2-40B4-BE49-F238E27FC236}">
                <a16:creationId xmlns:a16="http://schemas.microsoft.com/office/drawing/2014/main" id="{1C544E3C-C997-437C-9418-523653C56BDC}"/>
              </a:ext>
            </a:extLst>
          </p:cNvPr>
          <p:cNvGrpSpPr>
            <a:grpSpLocks/>
          </p:cNvGrpSpPr>
          <p:nvPr/>
        </p:nvGrpSpPr>
        <p:grpSpPr bwMode="auto">
          <a:xfrm>
            <a:off x="1" y="1"/>
            <a:ext cx="12187767" cy="6850063"/>
            <a:chOff x="0" y="0"/>
            <a:chExt cx="5758" cy="4315"/>
          </a:xfrm>
        </p:grpSpPr>
        <p:grpSp>
          <p:nvGrpSpPr>
            <p:cNvPr id="3" name="Group 5">
              <a:extLst>
                <a:ext uri="{FF2B5EF4-FFF2-40B4-BE49-F238E27FC236}">
                  <a16:creationId xmlns:a16="http://schemas.microsoft.com/office/drawing/2014/main" id="{54E27800-5BCB-48BB-BD77-820EF30AC7F0}"/>
                </a:ext>
              </a:extLst>
            </p:cNvPr>
            <p:cNvGrpSpPr>
              <a:grpSpLocks/>
            </p:cNvGrpSpPr>
            <p:nvPr userDrawn="1"/>
          </p:nvGrpSpPr>
          <p:grpSpPr bwMode="auto">
            <a:xfrm>
              <a:off x="1728" y="2230"/>
              <a:ext cx="4027" cy="2085"/>
              <a:chOff x="1728" y="2230"/>
              <a:chExt cx="4027" cy="2085"/>
            </a:xfrm>
          </p:grpSpPr>
          <p:sp>
            <p:nvSpPr>
              <p:cNvPr id="6" name="Freeform 6">
                <a:extLst>
                  <a:ext uri="{FF2B5EF4-FFF2-40B4-BE49-F238E27FC236}">
                    <a16:creationId xmlns:a16="http://schemas.microsoft.com/office/drawing/2014/main" id="{1B082B0C-98CF-4C9E-B56E-C5452A97954D}"/>
                  </a:ext>
                </a:extLst>
              </p:cNvPr>
              <p:cNvSpPr>
                <a:spLocks/>
              </p:cNvSpPr>
              <p:nvPr/>
            </p:nvSpPr>
            <p:spPr bwMode="hidden">
              <a:xfrm>
                <a:off x="1728" y="2644"/>
                <a:ext cx="2882" cy="1671"/>
              </a:xfrm>
              <a:custGeom>
                <a:avLst/>
                <a:gdLst/>
                <a:ahLst/>
                <a:cxnLst>
                  <a:cxn ang="0">
                    <a:pos x="2740" y="528"/>
                  </a:cxn>
                  <a:cxn ang="0">
                    <a:pos x="2632" y="484"/>
                  </a:cxn>
                  <a:cxn ang="0">
                    <a:pos x="2480" y="424"/>
                  </a:cxn>
                  <a:cxn ang="0">
                    <a:pos x="2203" y="343"/>
                  </a:cxn>
                  <a:cxn ang="0">
                    <a:pos x="1970" y="277"/>
                  </a:cxn>
                  <a:cxn ang="0">
                    <a:pos x="1807" y="212"/>
                  </a:cxn>
                  <a:cxn ang="0">
                    <a:pos x="1693" y="152"/>
                  </a:cxn>
                  <a:cxn ang="0">
                    <a:pos x="1628" y="103"/>
                  </a:cxn>
                  <a:cxn ang="0">
                    <a:pos x="1590" y="60"/>
                  </a:cxn>
                  <a:cxn ang="0">
                    <a:pos x="1579" y="27"/>
                  </a:cxn>
                  <a:cxn ang="0">
                    <a:pos x="1585" y="0"/>
                  </a:cxn>
                  <a:cxn ang="0">
                    <a:pos x="1557" y="49"/>
                  </a:cxn>
                  <a:cxn ang="0">
                    <a:pos x="1568" y="98"/>
                  </a:cxn>
                  <a:cxn ang="0">
                    <a:pos x="1617" y="141"/>
                  </a:cxn>
                  <a:cxn ang="0">
                    <a:pos x="1688" y="185"/>
                  </a:cxn>
                  <a:cxn ang="0">
                    <a:pos x="1791" y="228"/>
                  </a:cxn>
                  <a:cxn ang="0">
                    <a:pos x="2040" y="310"/>
                  </a:cxn>
                  <a:cxn ang="0">
                    <a:pos x="2285" y="381"/>
                  </a:cxn>
                  <a:cxn ang="0">
                    <a:pos x="2464" y="435"/>
                  </a:cxn>
                  <a:cxn ang="0">
                    <a:pos x="2605" y="484"/>
                  </a:cxn>
                  <a:cxn ang="0">
                    <a:pos x="2708" y="528"/>
                  </a:cxn>
                  <a:cxn ang="0">
                    <a:pos x="2768" y="560"/>
                  </a:cxn>
                  <a:cxn ang="0">
                    <a:pos x="2795" y="593"/>
                  </a:cxn>
                  <a:cxn ang="0">
                    <a:pos x="2795" y="642"/>
                  </a:cxn>
                  <a:cxn ang="0">
                    <a:pos x="2762" y="691"/>
                  </a:cxn>
                  <a:cxn ang="0">
                    <a:pos x="2692" y="735"/>
                  </a:cxn>
                  <a:cxn ang="0">
                    <a:pos x="2589" y="778"/>
                  </a:cxn>
                  <a:cxn ang="0">
                    <a:pos x="2458" y="822"/>
                  </a:cxn>
                  <a:cxn ang="0">
                    <a:pos x="2301" y="865"/>
                  </a:cxn>
                  <a:cxn ang="0">
                    <a:pos x="2030" y="930"/>
                  </a:cxn>
                  <a:cxn ang="0">
                    <a:pos x="1606" y="1034"/>
                  </a:cxn>
                  <a:cxn ang="0">
                    <a:pos x="1145" y="1164"/>
                  </a:cxn>
                  <a:cxn ang="0">
                    <a:pos x="673" y="1328"/>
                  </a:cxn>
                  <a:cxn ang="0">
                    <a:pos x="217" y="1545"/>
                  </a:cxn>
                  <a:cxn ang="0">
                    <a:pos x="353" y="1671"/>
                  </a:cxn>
                  <a:cxn ang="0">
                    <a:pos x="754" y="1469"/>
                  </a:cxn>
                  <a:cxn ang="0">
                    <a:pos x="1145" y="1311"/>
                  </a:cxn>
                  <a:cxn ang="0">
                    <a:pos x="1519" y="1186"/>
                  </a:cxn>
                  <a:cxn ang="0">
                    <a:pos x="1861" y="1083"/>
                  </a:cxn>
                  <a:cxn ang="0">
                    <a:pos x="2165" y="1007"/>
                  </a:cxn>
                  <a:cxn ang="0">
                    <a:pos x="2426" y="947"/>
                  </a:cxn>
                  <a:cxn ang="0">
                    <a:pos x="2626" y="892"/>
                  </a:cxn>
                  <a:cxn ang="0">
                    <a:pos x="2762" y="838"/>
                  </a:cxn>
                  <a:cxn ang="0">
                    <a:pos x="2827" y="794"/>
                  </a:cxn>
                  <a:cxn ang="0">
                    <a:pos x="2865" y="745"/>
                  </a:cxn>
                  <a:cxn ang="0">
                    <a:pos x="2882" y="702"/>
                  </a:cxn>
                  <a:cxn ang="0">
                    <a:pos x="2854" y="620"/>
                  </a:cxn>
                  <a:cxn ang="0">
                    <a:pos x="2800" y="560"/>
                  </a:cxn>
                  <a:cxn ang="0">
                    <a:pos x="2773" y="544"/>
                  </a:cxn>
                </a:cxnLst>
                <a:rect l="0" t="0" r="r" b="b"/>
                <a:pathLst>
                  <a:path w="2882" h="1671">
                    <a:moveTo>
                      <a:pt x="2773" y="544"/>
                    </a:moveTo>
                    <a:lnTo>
                      <a:pt x="2740" y="528"/>
                    </a:lnTo>
                    <a:lnTo>
                      <a:pt x="2692" y="506"/>
                    </a:lnTo>
                    <a:lnTo>
                      <a:pt x="2632" y="484"/>
                    </a:lnTo>
                    <a:lnTo>
                      <a:pt x="2561" y="457"/>
                    </a:lnTo>
                    <a:lnTo>
                      <a:pt x="2480" y="424"/>
                    </a:lnTo>
                    <a:lnTo>
                      <a:pt x="2388" y="397"/>
                    </a:lnTo>
                    <a:lnTo>
                      <a:pt x="2203" y="343"/>
                    </a:lnTo>
                    <a:lnTo>
                      <a:pt x="2078" y="310"/>
                    </a:lnTo>
                    <a:lnTo>
                      <a:pt x="1970" y="277"/>
                    </a:lnTo>
                    <a:lnTo>
                      <a:pt x="1878" y="245"/>
                    </a:lnTo>
                    <a:lnTo>
                      <a:pt x="1807" y="212"/>
                    </a:lnTo>
                    <a:lnTo>
                      <a:pt x="1742" y="179"/>
                    </a:lnTo>
                    <a:lnTo>
                      <a:pt x="1693" y="152"/>
                    </a:lnTo>
                    <a:lnTo>
                      <a:pt x="1655" y="125"/>
                    </a:lnTo>
                    <a:lnTo>
                      <a:pt x="1628" y="103"/>
                    </a:lnTo>
                    <a:lnTo>
                      <a:pt x="1606" y="81"/>
                    </a:lnTo>
                    <a:lnTo>
                      <a:pt x="1590" y="60"/>
                    </a:lnTo>
                    <a:lnTo>
                      <a:pt x="1585" y="43"/>
                    </a:lnTo>
                    <a:lnTo>
                      <a:pt x="1579" y="27"/>
                    </a:lnTo>
                    <a:lnTo>
                      <a:pt x="1585" y="5"/>
                    </a:lnTo>
                    <a:lnTo>
                      <a:pt x="1585" y="0"/>
                    </a:lnTo>
                    <a:lnTo>
                      <a:pt x="1568" y="27"/>
                    </a:lnTo>
                    <a:lnTo>
                      <a:pt x="1557" y="49"/>
                    </a:lnTo>
                    <a:lnTo>
                      <a:pt x="1557" y="76"/>
                    </a:lnTo>
                    <a:lnTo>
                      <a:pt x="1568" y="98"/>
                    </a:lnTo>
                    <a:lnTo>
                      <a:pt x="1590" y="120"/>
                    </a:lnTo>
                    <a:lnTo>
                      <a:pt x="1617" y="141"/>
                    </a:lnTo>
                    <a:lnTo>
                      <a:pt x="1650" y="163"/>
                    </a:lnTo>
                    <a:lnTo>
                      <a:pt x="1688" y="185"/>
                    </a:lnTo>
                    <a:lnTo>
                      <a:pt x="1737" y="207"/>
                    </a:lnTo>
                    <a:lnTo>
                      <a:pt x="1791" y="228"/>
                    </a:lnTo>
                    <a:lnTo>
                      <a:pt x="1905" y="267"/>
                    </a:lnTo>
                    <a:lnTo>
                      <a:pt x="2040" y="310"/>
                    </a:lnTo>
                    <a:lnTo>
                      <a:pt x="2182" y="348"/>
                    </a:lnTo>
                    <a:lnTo>
                      <a:pt x="2285" y="381"/>
                    </a:lnTo>
                    <a:lnTo>
                      <a:pt x="2382" y="408"/>
                    </a:lnTo>
                    <a:lnTo>
                      <a:pt x="2464" y="435"/>
                    </a:lnTo>
                    <a:lnTo>
                      <a:pt x="2540" y="462"/>
                    </a:lnTo>
                    <a:lnTo>
                      <a:pt x="2605" y="484"/>
                    </a:lnTo>
                    <a:lnTo>
                      <a:pt x="2659" y="506"/>
                    </a:lnTo>
                    <a:lnTo>
                      <a:pt x="2708" y="528"/>
                    </a:lnTo>
                    <a:lnTo>
                      <a:pt x="2740" y="544"/>
                    </a:lnTo>
                    <a:lnTo>
                      <a:pt x="2768" y="560"/>
                    </a:lnTo>
                    <a:lnTo>
                      <a:pt x="2784" y="577"/>
                    </a:lnTo>
                    <a:lnTo>
                      <a:pt x="2795" y="593"/>
                    </a:lnTo>
                    <a:lnTo>
                      <a:pt x="2800" y="615"/>
                    </a:lnTo>
                    <a:lnTo>
                      <a:pt x="2795" y="642"/>
                    </a:lnTo>
                    <a:lnTo>
                      <a:pt x="2784" y="664"/>
                    </a:lnTo>
                    <a:lnTo>
                      <a:pt x="2762" y="691"/>
                    </a:lnTo>
                    <a:lnTo>
                      <a:pt x="2730" y="713"/>
                    </a:lnTo>
                    <a:lnTo>
                      <a:pt x="2692" y="735"/>
                    </a:lnTo>
                    <a:lnTo>
                      <a:pt x="2643" y="756"/>
                    </a:lnTo>
                    <a:lnTo>
                      <a:pt x="2589" y="778"/>
                    </a:lnTo>
                    <a:lnTo>
                      <a:pt x="2529" y="800"/>
                    </a:lnTo>
                    <a:lnTo>
                      <a:pt x="2458" y="822"/>
                    </a:lnTo>
                    <a:lnTo>
                      <a:pt x="2382" y="843"/>
                    </a:lnTo>
                    <a:lnTo>
                      <a:pt x="2301" y="865"/>
                    </a:lnTo>
                    <a:lnTo>
                      <a:pt x="2214" y="887"/>
                    </a:lnTo>
                    <a:lnTo>
                      <a:pt x="2030" y="930"/>
                    </a:lnTo>
                    <a:lnTo>
                      <a:pt x="1823" y="979"/>
                    </a:lnTo>
                    <a:lnTo>
                      <a:pt x="1606" y="1034"/>
                    </a:lnTo>
                    <a:lnTo>
                      <a:pt x="1378" y="1094"/>
                    </a:lnTo>
                    <a:lnTo>
                      <a:pt x="1145" y="1164"/>
                    </a:lnTo>
                    <a:lnTo>
                      <a:pt x="912" y="1241"/>
                    </a:lnTo>
                    <a:lnTo>
                      <a:pt x="673" y="1328"/>
                    </a:lnTo>
                    <a:lnTo>
                      <a:pt x="440" y="1431"/>
                    </a:lnTo>
                    <a:lnTo>
                      <a:pt x="217" y="1545"/>
                    </a:lnTo>
                    <a:lnTo>
                      <a:pt x="0" y="1671"/>
                    </a:lnTo>
                    <a:lnTo>
                      <a:pt x="353" y="1671"/>
                    </a:lnTo>
                    <a:lnTo>
                      <a:pt x="554" y="1567"/>
                    </a:lnTo>
                    <a:lnTo>
                      <a:pt x="754" y="1469"/>
                    </a:lnTo>
                    <a:lnTo>
                      <a:pt x="955" y="1388"/>
                    </a:lnTo>
                    <a:lnTo>
                      <a:pt x="1145" y="1311"/>
                    </a:lnTo>
                    <a:lnTo>
                      <a:pt x="1335" y="1241"/>
                    </a:lnTo>
                    <a:lnTo>
                      <a:pt x="1519" y="1186"/>
                    </a:lnTo>
                    <a:lnTo>
                      <a:pt x="1693" y="1132"/>
                    </a:lnTo>
                    <a:lnTo>
                      <a:pt x="1861" y="1083"/>
                    </a:lnTo>
                    <a:lnTo>
                      <a:pt x="2019" y="1045"/>
                    </a:lnTo>
                    <a:lnTo>
                      <a:pt x="2165" y="1007"/>
                    </a:lnTo>
                    <a:lnTo>
                      <a:pt x="2301" y="974"/>
                    </a:lnTo>
                    <a:lnTo>
                      <a:pt x="2426" y="947"/>
                    </a:lnTo>
                    <a:lnTo>
                      <a:pt x="2534" y="914"/>
                    </a:lnTo>
                    <a:lnTo>
                      <a:pt x="2626" y="892"/>
                    </a:lnTo>
                    <a:lnTo>
                      <a:pt x="2702" y="865"/>
                    </a:lnTo>
                    <a:lnTo>
                      <a:pt x="2762" y="838"/>
                    </a:lnTo>
                    <a:lnTo>
                      <a:pt x="2800" y="816"/>
                    </a:lnTo>
                    <a:lnTo>
                      <a:pt x="2827" y="794"/>
                    </a:lnTo>
                    <a:lnTo>
                      <a:pt x="2849" y="767"/>
                    </a:lnTo>
                    <a:lnTo>
                      <a:pt x="2865" y="745"/>
                    </a:lnTo>
                    <a:lnTo>
                      <a:pt x="2876" y="724"/>
                    </a:lnTo>
                    <a:lnTo>
                      <a:pt x="2882" y="702"/>
                    </a:lnTo>
                    <a:lnTo>
                      <a:pt x="2876" y="658"/>
                    </a:lnTo>
                    <a:lnTo>
                      <a:pt x="2854" y="620"/>
                    </a:lnTo>
                    <a:lnTo>
                      <a:pt x="2833" y="588"/>
                    </a:lnTo>
                    <a:lnTo>
                      <a:pt x="2800" y="560"/>
                    </a:lnTo>
                    <a:lnTo>
                      <a:pt x="2773" y="544"/>
                    </a:lnTo>
                    <a:lnTo>
                      <a:pt x="2773" y="544"/>
                    </a:lnTo>
                    <a:close/>
                  </a:path>
                </a:pathLst>
              </a:custGeom>
              <a:gradFill rotWithShape="0">
                <a:gsLst>
                  <a:gs pos="0">
                    <a:schemeClr val="bg1"/>
                  </a:gs>
                  <a:gs pos="100000">
                    <a:schemeClr val="bg1">
                      <a:gamma/>
                      <a:shade val="90980"/>
                      <a:invGamma/>
                    </a:schemeClr>
                  </a:gs>
                </a:gsLst>
                <a:lin ang="0" scaled="1"/>
              </a:gradFill>
              <a:ln w="9525">
                <a:noFill/>
                <a:round/>
                <a:headEnd/>
                <a:tailEnd/>
              </a:ln>
            </p:spPr>
            <p:txBody>
              <a:bodyPr/>
              <a:lstStyle/>
              <a:p>
                <a:pPr eaLnBrk="0" hangingPunct="0">
                  <a:defRPr/>
                </a:pPr>
                <a:endParaRPr lang="en-US" sz="1800">
                  <a:solidFill>
                    <a:srgbClr val="FFFFFF"/>
                  </a:solidFill>
                  <a:latin typeface="+mn-lt"/>
                  <a:cs typeface="+mn-cs"/>
                </a:endParaRPr>
              </a:p>
            </p:txBody>
          </p:sp>
          <p:sp>
            <p:nvSpPr>
              <p:cNvPr id="7" name="Freeform 7">
                <a:extLst>
                  <a:ext uri="{FF2B5EF4-FFF2-40B4-BE49-F238E27FC236}">
                    <a16:creationId xmlns:a16="http://schemas.microsoft.com/office/drawing/2014/main" id="{372ECC18-3D88-4291-B003-EB62733DBB52}"/>
                  </a:ext>
                </a:extLst>
              </p:cNvPr>
              <p:cNvSpPr>
                <a:spLocks/>
              </p:cNvSpPr>
              <p:nvPr/>
            </p:nvSpPr>
            <p:spPr bwMode="hidden">
              <a:xfrm>
                <a:off x="4170" y="2671"/>
                <a:ext cx="1259" cy="811"/>
              </a:xfrm>
              <a:custGeom>
                <a:avLst/>
                <a:gdLst/>
                <a:ahLst/>
                <a:cxnLst>
                  <a:cxn ang="0">
                    <a:pos x="1259" y="615"/>
                  </a:cxn>
                  <a:cxn ang="0">
                    <a:pos x="1248" y="588"/>
                  </a:cxn>
                  <a:cxn ang="0">
                    <a:pos x="1237" y="566"/>
                  </a:cxn>
                  <a:cxn ang="0">
                    <a:pos x="1216" y="539"/>
                  </a:cxn>
                  <a:cxn ang="0">
                    <a:pos x="1188" y="517"/>
                  </a:cxn>
                  <a:cxn ang="0">
                    <a:pos x="1123" y="479"/>
                  </a:cxn>
                  <a:cxn ang="0">
                    <a:pos x="1042" y="441"/>
                  </a:cxn>
                  <a:cxn ang="0">
                    <a:pos x="944" y="408"/>
                  </a:cxn>
                  <a:cxn ang="0">
                    <a:pos x="841" y="381"/>
                  </a:cxn>
                  <a:cxn ang="0">
                    <a:pos x="727" y="348"/>
                  </a:cxn>
                  <a:cxn ang="0">
                    <a:pos x="613" y="321"/>
                  </a:cxn>
                  <a:cxn ang="0">
                    <a:pos x="499" y="294"/>
                  </a:cxn>
                  <a:cxn ang="0">
                    <a:pos x="391" y="261"/>
                  </a:cxn>
                  <a:cxn ang="0">
                    <a:pos x="288" y="229"/>
                  </a:cxn>
                  <a:cxn ang="0">
                    <a:pos x="195" y="196"/>
                  </a:cxn>
                  <a:cxn ang="0">
                    <a:pos x="119" y="152"/>
                  </a:cxn>
                  <a:cxn ang="0">
                    <a:pos x="54" y="109"/>
                  </a:cxn>
                  <a:cxn ang="0">
                    <a:pos x="33" y="87"/>
                  </a:cxn>
                  <a:cxn ang="0">
                    <a:pos x="16" y="60"/>
                  </a:cxn>
                  <a:cxn ang="0">
                    <a:pos x="5" y="33"/>
                  </a:cxn>
                  <a:cxn ang="0">
                    <a:pos x="0" y="0"/>
                  </a:cxn>
                  <a:cxn ang="0">
                    <a:pos x="0" y="6"/>
                  </a:cxn>
                  <a:cxn ang="0">
                    <a:pos x="0" y="11"/>
                  </a:cxn>
                  <a:cxn ang="0">
                    <a:pos x="0" y="38"/>
                  </a:cxn>
                  <a:cxn ang="0">
                    <a:pos x="5" y="60"/>
                  </a:cxn>
                  <a:cxn ang="0">
                    <a:pos x="16" y="87"/>
                  </a:cxn>
                  <a:cxn ang="0">
                    <a:pos x="33" y="114"/>
                  </a:cxn>
                  <a:cxn ang="0">
                    <a:pos x="54" y="142"/>
                  </a:cxn>
                  <a:cxn ang="0">
                    <a:pos x="87" y="174"/>
                  </a:cxn>
                  <a:cxn ang="0">
                    <a:pos x="125" y="207"/>
                  </a:cxn>
                  <a:cxn ang="0">
                    <a:pos x="179" y="240"/>
                  </a:cxn>
                  <a:cxn ang="0">
                    <a:pos x="244" y="278"/>
                  </a:cxn>
                  <a:cxn ang="0">
                    <a:pos x="326" y="310"/>
                  </a:cxn>
                  <a:cxn ang="0">
                    <a:pos x="418" y="348"/>
                  </a:cxn>
                  <a:cxn ang="0">
                    <a:pos x="526" y="381"/>
                  </a:cxn>
                  <a:cxn ang="0">
                    <a:pos x="657" y="414"/>
                  </a:cxn>
                  <a:cxn ang="0">
                    <a:pos x="749" y="435"/>
                  </a:cxn>
                  <a:cxn ang="0">
                    <a:pos x="830" y="463"/>
                  </a:cxn>
                  <a:cxn ang="0">
                    <a:pos x="901" y="490"/>
                  </a:cxn>
                  <a:cxn ang="0">
                    <a:pos x="966" y="512"/>
                  </a:cxn>
                  <a:cxn ang="0">
                    <a:pos x="1015" y="539"/>
                  </a:cxn>
                  <a:cxn ang="0">
                    <a:pos x="1053" y="566"/>
                  </a:cxn>
                  <a:cxn ang="0">
                    <a:pos x="1080" y="593"/>
                  </a:cxn>
                  <a:cxn ang="0">
                    <a:pos x="1102" y="620"/>
                  </a:cxn>
                  <a:cxn ang="0">
                    <a:pos x="1112" y="648"/>
                  </a:cxn>
                  <a:cxn ang="0">
                    <a:pos x="1118" y="675"/>
                  </a:cxn>
                  <a:cxn ang="0">
                    <a:pos x="1112" y="697"/>
                  </a:cxn>
                  <a:cxn ang="0">
                    <a:pos x="1096" y="724"/>
                  </a:cxn>
                  <a:cxn ang="0">
                    <a:pos x="1080" y="746"/>
                  </a:cxn>
                  <a:cxn ang="0">
                    <a:pos x="1053" y="767"/>
                  </a:cxn>
                  <a:cxn ang="0">
                    <a:pos x="1015" y="789"/>
                  </a:cxn>
                  <a:cxn ang="0">
                    <a:pos x="977" y="811"/>
                  </a:cxn>
                  <a:cxn ang="0">
                    <a:pos x="1047" y="789"/>
                  </a:cxn>
                  <a:cxn ang="0">
                    <a:pos x="1107" y="767"/>
                  </a:cxn>
                  <a:cxn ang="0">
                    <a:pos x="1156" y="746"/>
                  </a:cxn>
                  <a:cxn ang="0">
                    <a:pos x="1199" y="724"/>
                  </a:cxn>
                  <a:cxn ang="0">
                    <a:pos x="1226" y="702"/>
                  </a:cxn>
                  <a:cxn ang="0">
                    <a:pos x="1248" y="675"/>
                  </a:cxn>
                  <a:cxn ang="0">
                    <a:pos x="1259" y="648"/>
                  </a:cxn>
                  <a:cxn ang="0">
                    <a:pos x="1259" y="615"/>
                  </a:cxn>
                  <a:cxn ang="0">
                    <a:pos x="1259" y="615"/>
                  </a:cxn>
                </a:cxnLst>
                <a:rect l="0" t="0" r="r" b="b"/>
                <a:pathLst>
                  <a:path w="1259" h="811">
                    <a:moveTo>
                      <a:pt x="1259" y="615"/>
                    </a:moveTo>
                    <a:lnTo>
                      <a:pt x="1248" y="588"/>
                    </a:lnTo>
                    <a:lnTo>
                      <a:pt x="1237" y="566"/>
                    </a:lnTo>
                    <a:lnTo>
                      <a:pt x="1216" y="539"/>
                    </a:lnTo>
                    <a:lnTo>
                      <a:pt x="1188" y="517"/>
                    </a:lnTo>
                    <a:lnTo>
                      <a:pt x="1123" y="479"/>
                    </a:lnTo>
                    <a:lnTo>
                      <a:pt x="1042" y="441"/>
                    </a:lnTo>
                    <a:lnTo>
                      <a:pt x="944" y="408"/>
                    </a:lnTo>
                    <a:lnTo>
                      <a:pt x="841" y="381"/>
                    </a:lnTo>
                    <a:lnTo>
                      <a:pt x="727" y="348"/>
                    </a:lnTo>
                    <a:lnTo>
                      <a:pt x="613" y="321"/>
                    </a:lnTo>
                    <a:lnTo>
                      <a:pt x="499" y="294"/>
                    </a:lnTo>
                    <a:lnTo>
                      <a:pt x="391" y="261"/>
                    </a:lnTo>
                    <a:lnTo>
                      <a:pt x="288" y="229"/>
                    </a:lnTo>
                    <a:lnTo>
                      <a:pt x="195" y="196"/>
                    </a:lnTo>
                    <a:lnTo>
                      <a:pt x="119" y="152"/>
                    </a:lnTo>
                    <a:lnTo>
                      <a:pt x="54" y="109"/>
                    </a:lnTo>
                    <a:lnTo>
                      <a:pt x="33" y="87"/>
                    </a:lnTo>
                    <a:lnTo>
                      <a:pt x="16" y="60"/>
                    </a:lnTo>
                    <a:lnTo>
                      <a:pt x="5" y="33"/>
                    </a:lnTo>
                    <a:lnTo>
                      <a:pt x="0" y="0"/>
                    </a:lnTo>
                    <a:lnTo>
                      <a:pt x="0" y="6"/>
                    </a:lnTo>
                    <a:lnTo>
                      <a:pt x="0" y="11"/>
                    </a:lnTo>
                    <a:lnTo>
                      <a:pt x="0" y="38"/>
                    </a:lnTo>
                    <a:lnTo>
                      <a:pt x="5" y="60"/>
                    </a:lnTo>
                    <a:lnTo>
                      <a:pt x="16" y="87"/>
                    </a:lnTo>
                    <a:lnTo>
                      <a:pt x="33" y="114"/>
                    </a:lnTo>
                    <a:lnTo>
                      <a:pt x="54" y="142"/>
                    </a:lnTo>
                    <a:lnTo>
                      <a:pt x="87" y="174"/>
                    </a:lnTo>
                    <a:lnTo>
                      <a:pt x="125" y="207"/>
                    </a:lnTo>
                    <a:lnTo>
                      <a:pt x="179" y="240"/>
                    </a:lnTo>
                    <a:lnTo>
                      <a:pt x="244" y="278"/>
                    </a:lnTo>
                    <a:lnTo>
                      <a:pt x="326" y="310"/>
                    </a:lnTo>
                    <a:lnTo>
                      <a:pt x="418" y="348"/>
                    </a:lnTo>
                    <a:lnTo>
                      <a:pt x="526" y="381"/>
                    </a:lnTo>
                    <a:lnTo>
                      <a:pt x="657" y="414"/>
                    </a:lnTo>
                    <a:lnTo>
                      <a:pt x="749" y="435"/>
                    </a:lnTo>
                    <a:lnTo>
                      <a:pt x="830" y="463"/>
                    </a:lnTo>
                    <a:lnTo>
                      <a:pt x="901" y="490"/>
                    </a:lnTo>
                    <a:lnTo>
                      <a:pt x="966" y="512"/>
                    </a:lnTo>
                    <a:lnTo>
                      <a:pt x="1015" y="539"/>
                    </a:lnTo>
                    <a:lnTo>
                      <a:pt x="1053" y="566"/>
                    </a:lnTo>
                    <a:lnTo>
                      <a:pt x="1080" y="593"/>
                    </a:lnTo>
                    <a:lnTo>
                      <a:pt x="1102" y="620"/>
                    </a:lnTo>
                    <a:lnTo>
                      <a:pt x="1112" y="648"/>
                    </a:lnTo>
                    <a:lnTo>
                      <a:pt x="1118" y="675"/>
                    </a:lnTo>
                    <a:lnTo>
                      <a:pt x="1112" y="697"/>
                    </a:lnTo>
                    <a:lnTo>
                      <a:pt x="1096" y="724"/>
                    </a:lnTo>
                    <a:lnTo>
                      <a:pt x="1080" y="746"/>
                    </a:lnTo>
                    <a:lnTo>
                      <a:pt x="1053" y="767"/>
                    </a:lnTo>
                    <a:lnTo>
                      <a:pt x="1015" y="789"/>
                    </a:lnTo>
                    <a:lnTo>
                      <a:pt x="977" y="811"/>
                    </a:lnTo>
                    <a:lnTo>
                      <a:pt x="1047" y="789"/>
                    </a:lnTo>
                    <a:lnTo>
                      <a:pt x="1107" y="767"/>
                    </a:lnTo>
                    <a:lnTo>
                      <a:pt x="1156" y="746"/>
                    </a:lnTo>
                    <a:lnTo>
                      <a:pt x="1199" y="724"/>
                    </a:lnTo>
                    <a:lnTo>
                      <a:pt x="1226" y="702"/>
                    </a:lnTo>
                    <a:lnTo>
                      <a:pt x="1248" y="675"/>
                    </a:lnTo>
                    <a:lnTo>
                      <a:pt x="1259" y="648"/>
                    </a:lnTo>
                    <a:lnTo>
                      <a:pt x="1259" y="615"/>
                    </a:lnTo>
                    <a:lnTo>
                      <a:pt x="1259" y="615"/>
                    </a:lnTo>
                    <a:close/>
                  </a:path>
                </a:pathLst>
              </a:custGeom>
              <a:gradFill rotWithShape="0">
                <a:gsLst>
                  <a:gs pos="0">
                    <a:schemeClr val="bg1"/>
                  </a:gs>
                  <a:gs pos="100000">
                    <a:schemeClr val="bg1">
                      <a:gamma/>
                      <a:shade val="90980"/>
                      <a:invGamma/>
                    </a:schemeClr>
                  </a:gs>
                </a:gsLst>
                <a:lin ang="2700000" scaled="1"/>
              </a:gradFill>
              <a:ln w="9525">
                <a:noFill/>
                <a:round/>
                <a:headEnd/>
                <a:tailEnd/>
              </a:ln>
            </p:spPr>
            <p:txBody>
              <a:bodyPr/>
              <a:lstStyle/>
              <a:p>
                <a:pPr eaLnBrk="0" hangingPunct="0">
                  <a:defRPr/>
                </a:pPr>
                <a:endParaRPr lang="en-US" sz="1800">
                  <a:solidFill>
                    <a:srgbClr val="FFFFFF"/>
                  </a:solidFill>
                  <a:latin typeface="+mn-lt"/>
                  <a:cs typeface="+mn-cs"/>
                </a:endParaRPr>
              </a:p>
            </p:txBody>
          </p:sp>
          <p:sp>
            <p:nvSpPr>
              <p:cNvPr id="8" name="Freeform 8">
                <a:extLst>
                  <a:ext uri="{FF2B5EF4-FFF2-40B4-BE49-F238E27FC236}">
                    <a16:creationId xmlns:a16="http://schemas.microsoft.com/office/drawing/2014/main" id="{EC182E6A-260D-4DB8-ADA7-C825C40DDADB}"/>
                  </a:ext>
                </a:extLst>
              </p:cNvPr>
              <p:cNvSpPr>
                <a:spLocks/>
              </p:cNvSpPr>
              <p:nvPr/>
            </p:nvSpPr>
            <p:spPr bwMode="hidden">
              <a:xfrm>
                <a:off x="2900" y="3346"/>
                <a:ext cx="2849" cy="969"/>
              </a:xfrm>
              <a:custGeom>
                <a:avLst/>
                <a:gdLst/>
                <a:ahLst/>
                <a:cxnLst>
                  <a:cxn ang="0">
                    <a:pos x="92" y="958"/>
                  </a:cxn>
                  <a:cxn ang="0">
                    <a:pos x="0" y="969"/>
                  </a:cxn>
                  <a:cxn ang="0">
                    <a:pos x="391" y="969"/>
                  </a:cxn>
                  <a:cxn ang="0">
                    <a:pos x="434" y="947"/>
                  </a:cxn>
                  <a:cxn ang="0">
                    <a:pos x="483" y="914"/>
                  </a:cxn>
                  <a:cxn ang="0">
                    <a:pos x="554" y="876"/>
                  </a:cxn>
                  <a:cxn ang="0">
                    <a:pos x="635" y="838"/>
                  </a:cxn>
                  <a:cxn ang="0">
                    <a:pos x="727" y="794"/>
                  </a:cxn>
                  <a:cxn ang="0">
                    <a:pos x="836" y="745"/>
                  </a:cxn>
                  <a:cxn ang="0">
                    <a:pos x="961" y="696"/>
                  </a:cxn>
                  <a:cxn ang="0">
                    <a:pos x="1102" y="642"/>
                  </a:cxn>
                  <a:cxn ang="0">
                    <a:pos x="1259" y="582"/>
                  </a:cxn>
                  <a:cxn ang="0">
                    <a:pos x="1433" y="522"/>
                  </a:cxn>
                  <a:cxn ang="0">
                    <a:pos x="1623" y="462"/>
                  </a:cxn>
                  <a:cxn ang="0">
                    <a:pos x="1829" y="403"/>
                  </a:cxn>
                  <a:cxn ang="0">
                    <a:pos x="2057" y="343"/>
                  </a:cxn>
                  <a:cxn ang="0">
                    <a:pos x="2301" y="283"/>
                  </a:cxn>
                  <a:cxn ang="0">
                    <a:pos x="2567" y="223"/>
                  </a:cxn>
                  <a:cxn ang="0">
                    <a:pos x="2849" y="163"/>
                  </a:cxn>
                  <a:cxn ang="0">
                    <a:pos x="2849" y="0"/>
                  </a:cxn>
                  <a:cxn ang="0">
                    <a:pos x="2817" y="16"/>
                  </a:cxn>
                  <a:cxn ang="0">
                    <a:pos x="2773" y="33"/>
                  </a:cxn>
                  <a:cxn ang="0">
                    <a:pos x="2719" y="54"/>
                  </a:cxn>
                  <a:cxn ang="0">
                    <a:pos x="2648" y="76"/>
                  </a:cxn>
                  <a:cxn ang="0">
                    <a:pos x="2572" y="98"/>
                  </a:cxn>
                  <a:cxn ang="0">
                    <a:pos x="2491" y="120"/>
                  </a:cxn>
                  <a:cxn ang="0">
                    <a:pos x="2399" y="147"/>
                  </a:cxn>
                  <a:cxn ang="0">
                    <a:pos x="2301" y="169"/>
                  </a:cxn>
                  <a:cxn ang="0">
                    <a:pos x="2095" y="223"/>
                  </a:cxn>
                  <a:cxn ang="0">
                    <a:pos x="1889" y="277"/>
                  </a:cxn>
                  <a:cxn ang="0">
                    <a:pos x="1688" y="326"/>
                  </a:cxn>
                  <a:cxn ang="0">
                    <a:pos x="1590" y="354"/>
                  </a:cxn>
                  <a:cxn ang="0">
                    <a:pos x="1503" y="381"/>
                  </a:cxn>
                  <a:cxn ang="0">
                    <a:pos x="1107" y="506"/>
                  </a:cxn>
                  <a:cxn ang="0">
                    <a:pos x="912" y="577"/>
                  </a:cxn>
                  <a:cxn ang="0">
                    <a:pos x="727" y="647"/>
                  </a:cxn>
                  <a:cxn ang="0">
                    <a:pos x="548" y="718"/>
                  </a:cxn>
                  <a:cxn ang="0">
                    <a:pos x="380" y="794"/>
                  </a:cxn>
                  <a:cxn ang="0">
                    <a:pos x="228" y="876"/>
                  </a:cxn>
                  <a:cxn ang="0">
                    <a:pos x="92" y="958"/>
                  </a:cxn>
                  <a:cxn ang="0">
                    <a:pos x="92" y="958"/>
                  </a:cxn>
                </a:cxnLst>
                <a:rect l="0" t="0" r="r" b="b"/>
                <a:pathLst>
                  <a:path w="2849" h="969">
                    <a:moveTo>
                      <a:pt x="92" y="958"/>
                    </a:moveTo>
                    <a:lnTo>
                      <a:pt x="0" y="969"/>
                    </a:lnTo>
                    <a:lnTo>
                      <a:pt x="391" y="969"/>
                    </a:lnTo>
                    <a:lnTo>
                      <a:pt x="434" y="947"/>
                    </a:lnTo>
                    <a:lnTo>
                      <a:pt x="483" y="914"/>
                    </a:lnTo>
                    <a:lnTo>
                      <a:pt x="554" y="876"/>
                    </a:lnTo>
                    <a:lnTo>
                      <a:pt x="635" y="838"/>
                    </a:lnTo>
                    <a:lnTo>
                      <a:pt x="727" y="794"/>
                    </a:lnTo>
                    <a:lnTo>
                      <a:pt x="836" y="745"/>
                    </a:lnTo>
                    <a:lnTo>
                      <a:pt x="961" y="696"/>
                    </a:lnTo>
                    <a:lnTo>
                      <a:pt x="1102" y="642"/>
                    </a:lnTo>
                    <a:lnTo>
                      <a:pt x="1259" y="582"/>
                    </a:lnTo>
                    <a:lnTo>
                      <a:pt x="1433" y="522"/>
                    </a:lnTo>
                    <a:lnTo>
                      <a:pt x="1623" y="462"/>
                    </a:lnTo>
                    <a:lnTo>
                      <a:pt x="1829" y="403"/>
                    </a:lnTo>
                    <a:lnTo>
                      <a:pt x="2057" y="343"/>
                    </a:lnTo>
                    <a:lnTo>
                      <a:pt x="2301" y="283"/>
                    </a:lnTo>
                    <a:lnTo>
                      <a:pt x="2567" y="223"/>
                    </a:lnTo>
                    <a:lnTo>
                      <a:pt x="2849" y="163"/>
                    </a:lnTo>
                    <a:lnTo>
                      <a:pt x="2849" y="0"/>
                    </a:lnTo>
                    <a:lnTo>
                      <a:pt x="2817" y="16"/>
                    </a:lnTo>
                    <a:lnTo>
                      <a:pt x="2773" y="33"/>
                    </a:lnTo>
                    <a:lnTo>
                      <a:pt x="2719" y="54"/>
                    </a:lnTo>
                    <a:lnTo>
                      <a:pt x="2648" y="76"/>
                    </a:lnTo>
                    <a:lnTo>
                      <a:pt x="2572" y="98"/>
                    </a:lnTo>
                    <a:lnTo>
                      <a:pt x="2491" y="120"/>
                    </a:lnTo>
                    <a:lnTo>
                      <a:pt x="2399" y="147"/>
                    </a:lnTo>
                    <a:lnTo>
                      <a:pt x="2301" y="169"/>
                    </a:lnTo>
                    <a:lnTo>
                      <a:pt x="2095" y="223"/>
                    </a:lnTo>
                    <a:lnTo>
                      <a:pt x="1889" y="277"/>
                    </a:lnTo>
                    <a:lnTo>
                      <a:pt x="1688" y="326"/>
                    </a:lnTo>
                    <a:lnTo>
                      <a:pt x="1590" y="354"/>
                    </a:lnTo>
                    <a:lnTo>
                      <a:pt x="1503" y="381"/>
                    </a:lnTo>
                    <a:lnTo>
                      <a:pt x="1107" y="506"/>
                    </a:lnTo>
                    <a:lnTo>
                      <a:pt x="912" y="577"/>
                    </a:lnTo>
                    <a:lnTo>
                      <a:pt x="727" y="647"/>
                    </a:lnTo>
                    <a:lnTo>
                      <a:pt x="548" y="718"/>
                    </a:lnTo>
                    <a:lnTo>
                      <a:pt x="380" y="794"/>
                    </a:lnTo>
                    <a:lnTo>
                      <a:pt x="228" y="876"/>
                    </a:lnTo>
                    <a:lnTo>
                      <a:pt x="92" y="958"/>
                    </a:lnTo>
                    <a:lnTo>
                      <a:pt x="92" y="958"/>
                    </a:lnTo>
                    <a:close/>
                  </a:path>
                </a:pathLst>
              </a:custGeom>
              <a:gradFill rotWithShape="0">
                <a:gsLst>
                  <a:gs pos="0">
                    <a:schemeClr val="bg1">
                      <a:gamma/>
                      <a:shade val="81961"/>
                      <a:invGamma/>
                    </a:schemeClr>
                  </a:gs>
                  <a:gs pos="100000">
                    <a:schemeClr val="bg1"/>
                  </a:gs>
                </a:gsLst>
                <a:lin ang="5400000" scaled="1"/>
              </a:gradFill>
              <a:ln w="9525">
                <a:noFill/>
                <a:round/>
                <a:headEnd/>
                <a:tailEnd/>
              </a:ln>
            </p:spPr>
            <p:txBody>
              <a:bodyPr/>
              <a:lstStyle/>
              <a:p>
                <a:pPr eaLnBrk="0" hangingPunct="0">
                  <a:defRPr/>
                </a:pPr>
                <a:endParaRPr lang="en-US" sz="1800">
                  <a:solidFill>
                    <a:srgbClr val="FFFFFF"/>
                  </a:solidFill>
                  <a:latin typeface="+mn-lt"/>
                  <a:cs typeface="+mn-cs"/>
                </a:endParaRPr>
              </a:p>
            </p:txBody>
          </p:sp>
          <p:sp>
            <p:nvSpPr>
              <p:cNvPr id="9" name="Freeform 9">
                <a:extLst>
                  <a:ext uri="{FF2B5EF4-FFF2-40B4-BE49-F238E27FC236}">
                    <a16:creationId xmlns:a16="http://schemas.microsoft.com/office/drawing/2014/main" id="{84C21CA6-1C48-4A3B-956D-64582DA8E4EB}"/>
                  </a:ext>
                </a:extLst>
              </p:cNvPr>
              <p:cNvSpPr>
                <a:spLocks/>
              </p:cNvSpPr>
              <p:nvPr/>
            </p:nvSpPr>
            <p:spPr bwMode="hidden">
              <a:xfrm>
                <a:off x="2748" y="2230"/>
                <a:ext cx="3007" cy="2085"/>
              </a:xfrm>
              <a:custGeom>
                <a:avLst/>
                <a:gdLst>
                  <a:gd name="T0" fmla="*/ 1433 w 3007"/>
                  <a:gd name="T1" fmla="*/ 474 h 2085"/>
                  <a:gd name="T2" fmla="*/ 1460 w 3007"/>
                  <a:gd name="T3" fmla="*/ 528 h 2085"/>
                  <a:gd name="T4" fmla="*/ 1541 w 3007"/>
                  <a:gd name="T5" fmla="*/ 593 h 2085"/>
                  <a:gd name="T6" fmla="*/ 1715 w 3007"/>
                  <a:gd name="T7" fmla="*/ 670 h 2085"/>
                  <a:gd name="T8" fmla="*/ 1927 w 3007"/>
                  <a:gd name="T9" fmla="*/ 735 h 2085"/>
                  <a:gd name="T10" fmla="*/ 2155 w 3007"/>
                  <a:gd name="T11" fmla="*/ 789 h 2085"/>
                  <a:gd name="T12" fmla="*/ 2372 w 3007"/>
                  <a:gd name="T13" fmla="*/ 849 h 2085"/>
                  <a:gd name="T14" fmla="*/ 2551 w 3007"/>
                  <a:gd name="T15" fmla="*/ 920 h 2085"/>
                  <a:gd name="T16" fmla="*/ 2638 w 3007"/>
                  <a:gd name="T17" fmla="*/ 980 h 2085"/>
                  <a:gd name="T18" fmla="*/ 2676 w 3007"/>
                  <a:gd name="T19" fmla="*/ 1029 h 2085"/>
                  <a:gd name="T20" fmla="*/ 2681 w 3007"/>
                  <a:gd name="T21" fmla="*/ 1083 h 2085"/>
                  <a:gd name="T22" fmla="*/ 2665 w 3007"/>
                  <a:gd name="T23" fmla="*/ 1127 h 2085"/>
                  <a:gd name="T24" fmla="*/ 2616 w 3007"/>
                  <a:gd name="T25" fmla="*/ 1170 h 2085"/>
                  <a:gd name="T26" fmla="*/ 2545 w 3007"/>
                  <a:gd name="T27" fmla="*/ 1208 h 2085"/>
                  <a:gd name="T28" fmla="*/ 2448 w 3007"/>
                  <a:gd name="T29" fmla="*/ 1241 h 2085"/>
                  <a:gd name="T30" fmla="*/ 2328 w 3007"/>
                  <a:gd name="T31" fmla="*/ 1274 h 2085"/>
                  <a:gd name="T32" fmla="*/ 2106 w 3007"/>
                  <a:gd name="T33" fmla="*/ 1328 h 2085"/>
                  <a:gd name="T34" fmla="*/ 1742 w 3007"/>
                  <a:gd name="T35" fmla="*/ 1421 h 2085"/>
                  <a:gd name="T36" fmla="*/ 1308 w 3007"/>
                  <a:gd name="T37" fmla="*/ 1540 h 2085"/>
                  <a:gd name="T38" fmla="*/ 820 w 3007"/>
                  <a:gd name="T39" fmla="*/ 1709 h 2085"/>
                  <a:gd name="T40" fmla="*/ 282 w 3007"/>
                  <a:gd name="T41" fmla="*/ 1943 h 2085"/>
                  <a:gd name="T42" fmla="*/ 152 w 3007"/>
                  <a:gd name="T43" fmla="*/ 2085 h 2085"/>
                  <a:gd name="T44" fmla="*/ 386 w 3007"/>
                  <a:gd name="T45" fmla="*/ 1992 h 2085"/>
                  <a:gd name="T46" fmla="*/ 700 w 3007"/>
                  <a:gd name="T47" fmla="*/ 1834 h 2085"/>
                  <a:gd name="T48" fmla="*/ 1064 w 3007"/>
                  <a:gd name="T49" fmla="*/ 1693 h 2085"/>
                  <a:gd name="T50" fmla="*/ 1661 w 3007"/>
                  <a:gd name="T51" fmla="*/ 1497 h 2085"/>
                  <a:gd name="T52" fmla="*/ 1845 w 3007"/>
                  <a:gd name="T53" fmla="*/ 1442 h 2085"/>
                  <a:gd name="T54" fmla="*/ 2252 w 3007"/>
                  <a:gd name="T55" fmla="*/ 1339 h 2085"/>
                  <a:gd name="T56" fmla="*/ 2551 w 3007"/>
                  <a:gd name="T57" fmla="*/ 1263 h 2085"/>
                  <a:gd name="T58" fmla="*/ 2730 w 3007"/>
                  <a:gd name="T59" fmla="*/ 1214 h 2085"/>
                  <a:gd name="T60" fmla="*/ 2876 w 3007"/>
                  <a:gd name="T61" fmla="*/ 1170 h 2085"/>
                  <a:gd name="T62" fmla="*/ 2974 w 3007"/>
                  <a:gd name="T63" fmla="*/ 1132 h 2085"/>
                  <a:gd name="T64" fmla="*/ 3007 w 3007"/>
                  <a:gd name="T65" fmla="*/ 871 h 2085"/>
                  <a:gd name="T66" fmla="*/ 2860 w 3007"/>
                  <a:gd name="T67" fmla="*/ 844 h 2085"/>
                  <a:gd name="T68" fmla="*/ 2670 w 3007"/>
                  <a:gd name="T69" fmla="*/ 806 h 2085"/>
                  <a:gd name="T70" fmla="*/ 2458 w 3007"/>
                  <a:gd name="T71" fmla="*/ 757 h 2085"/>
                  <a:gd name="T72" fmla="*/ 2138 w 3007"/>
                  <a:gd name="T73" fmla="*/ 670 h 2085"/>
                  <a:gd name="T74" fmla="*/ 1959 w 3007"/>
                  <a:gd name="T75" fmla="*/ 604 h 2085"/>
                  <a:gd name="T76" fmla="*/ 1824 w 3007"/>
                  <a:gd name="T77" fmla="*/ 534 h 2085"/>
                  <a:gd name="T78" fmla="*/ 1769 w 3007"/>
                  <a:gd name="T79" fmla="*/ 474 h 2085"/>
                  <a:gd name="T80" fmla="*/ 1753 w 3007"/>
                  <a:gd name="T81" fmla="*/ 436 h 2085"/>
                  <a:gd name="T82" fmla="*/ 1780 w 3007"/>
                  <a:gd name="T83" fmla="*/ 381 h 2085"/>
                  <a:gd name="T84" fmla="*/ 1862 w 3007"/>
                  <a:gd name="T85" fmla="*/ 316 h 2085"/>
                  <a:gd name="T86" fmla="*/ 1986 w 3007"/>
                  <a:gd name="T87" fmla="*/ 267 h 2085"/>
                  <a:gd name="T88" fmla="*/ 2149 w 3007"/>
                  <a:gd name="T89" fmla="*/ 229 h 2085"/>
                  <a:gd name="T90" fmla="*/ 2431 w 3007"/>
                  <a:gd name="T91" fmla="*/ 180 h 2085"/>
                  <a:gd name="T92" fmla="*/ 2827 w 3007"/>
                  <a:gd name="T93" fmla="*/ 125 h 2085"/>
                  <a:gd name="T94" fmla="*/ 3007 w 3007"/>
                  <a:gd name="T95" fmla="*/ 87 h 2085"/>
                  <a:gd name="T96" fmla="*/ 2909 w 3007"/>
                  <a:gd name="T97" fmla="*/ 22 h 2085"/>
                  <a:gd name="T98" fmla="*/ 2676 w 3007"/>
                  <a:gd name="T99" fmla="*/ 66 h 2085"/>
                  <a:gd name="T100" fmla="*/ 2285 w 3007"/>
                  <a:gd name="T101" fmla="*/ 120 h 2085"/>
                  <a:gd name="T102" fmla="*/ 2030 w 3007"/>
                  <a:gd name="T103" fmla="*/ 158 h 2085"/>
                  <a:gd name="T104" fmla="*/ 1791 w 3007"/>
                  <a:gd name="T105" fmla="*/ 202 h 2085"/>
                  <a:gd name="T106" fmla="*/ 1601 w 3007"/>
                  <a:gd name="T107" fmla="*/ 261 h 2085"/>
                  <a:gd name="T108" fmla="*/ 1471 w 3007"/>
                  <a:gd name="T109" fmla="*/ 338 h 2085"/>
                  <a:gd name="T110" fmla="*/ 1438 w 3007"/>
                  <a:gd name="T111" fmla="*/ 387 h 2085"/>
                  <a:gd name="T112" fmla="*/ 1427 w 3007"/>
                  <a:gd name="T113" fmla="*/ 441 h 2085"/>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3007" h="2085">
                    <a:moveTo>
                      <a:pt x="1427" y="441"/>
                    </a:moveTo>
                    <a:lnTo>
                      <a:pt x="1433" y="474"/>
                    </a:lnTo>
                    <a:lnTo>
                      <a:pt x="1444" y="501"/>
                    </a:lnTo>
                    <a:lnTo>
                      <a:pt x="1460" y="528"/>
                    </a:lnTo>
                    <a:lnTo>
                      <a:pt x="1482" y="550"/>
                    </a:lnTo>
                    <a:lnTo>
                      <a:pt x="1541" y="593"/>
                    </a:lnTo>
                    <a:lnTo>
                      <a:pt x="1623" y="637"/>
                    </a:lnTo>
                    <a:lnTo>
                      <a:pt x="1715" y="670"/>
                    </a:lnTo>
                    <a:lnTo>
                      <a:pt x="1818" y="702"/>
                    </a:lnTo>
                    <a:lnTo>
                      <a:pt x="1927" y="735"/>
                    </a:lnTo>
                    <a:lnTo>
                      <a:pt x="2041" y="762"/>
                    </a:lnTo>
                    <a:lnTo>
                      <a:pt x="2155" y="789"/>
                    </a:lnTo>
                    <a:lnTo>
                      <a:pt x="2269" y="822"/>
                    </a:lnTo>
                    <a:lnTo>
                      <a:pt x="2372" y="849"/>
                    </a:lnTo>
                    <a:lnTo>
                      <a:pt x="2464" y="882"/>
                    </a:lnTo>
                    <a:lnTo>
                      <a:pt x="2551" y="920"/>
                    </a:lnTo>
                    <a:lnTo>
                      <a:pt x="2616" y="958"/>
                    </a:lnTo>
                    <a:lnTo>
                      <a:pt x="2638" y="980"/>
                    </a:lnTo>
                    <a:lnTo>
                      <a:pt x="2659" y="1007"/>
                    </a:lnTo>
                    <a:lnTo>
                      <a:pt x="2676" y="1029"/>
                    </a:lnTo>
                    <a:lnTo>
                      <a:pt x="2681" y="1056"/>
                    </a:lnTo>
                    <a:lnTo>
                      <a:pt x="2681" y="1083"/>
                    </a:lnTo>
                    <a:lnTo>
                      <a:pt x="2676" y="1105"/>
                    </a:lnTo>
                    <a:lnTo>
                      <a:pt x="2665" y="1127"/>
                    </a:lnTo>
                    <a:lnTo>
                      <a:pt x="2643" y="1149"/>
                    </a:lnTo>
                    <a:lnTo>
                      <a:pt x="2616" y="1170"/>
                    </a:lnTo>
                    <a:lnTo>
                      <a:pt x="2583" y="1187"/>
                    </a:lnTo>
                    <a:lnTo>
                      <a:pt x="2545" y="1208"/>
                    </a:lnTo>
                    <a:lnTo>
                      <a:pt x="2502" y="1225"/>
                    </a:lnTo>
                    <a:lnTo>
                      <a:pt x="2448" y="1241"/>
                    </a:lnTo>
                    <a:lnTo>
                      <a:pt x="2388" y="1257"/>
                    </a:lnTo>
                    <a:lnTo>
                      <a:pt x="2328" y="1274"/>
                    </a:lnTo>
                    <a:lnTo>
                      <a:pt x="2258" y="1290"/>
                    </a:lnTo>
                    <a:lnTo>
                      <a:pt x="2106" y="1328"/>
                    </a:lnTo>
                    <a:lnTo>
                      <a:pt x="1932" y="1372"/>
                    </a:lnTo>
                    <a:lnTo>
                      <a:pt x="1742" y="1421"/>
                    </a:lnTo>
                    <a:lnTo>
                      <a:pt x="1531" y="1475"/>
                    </a:lnTo>
                    <a:lnTo>
                      <a:pt x="1308" y="1540"/>
                    </a:lnTo>
                    <a:lnTo>
                      <a:pt x="1069" y="1617"/>
                    </a:lnTo>
                    <a:lnTo>
                      <a:pt x="820" y="1709"/>
                    </a:lnTo>
                    <a:lnTo>
                      <a:pt x="554" y="1818"/>
                    </a:lnTo>
                    <a:lnTo>
                      <a:pt x="282" y="1943"/>
                    </a:lnTo>
                    <a:lnTo>
                      <a:pt x="0" y="2085"/>
                    </a:lnTo>
                    <a:lnTo>
                      <a:pt x="152" y="2085"/>
                    </a:lnTo>
                    <a:lnTo>
                      <a:pt x="244" y="2074"/>
                    </a:lnTo>
                    <a:lnTo>
                      <a:pt x="386" y="1992"/>
                    </a:lnTo>
                    <a:lnTo>
                      <a:pt x="537" y="1910"/>
                    </a:lnTo>
                    <a:lnTo>
                      <a:pt x="700" y="1834"/>
                    </a:lnTo>
                    <a:lnTo>
                      <a:pt x="879" y="1763"/>
                    </a:lnTo>
                    <a:lnTo>
                      <a:pt x="1064" y="1693"/>
                    </a:lnTo>
                    <a:lnTo>
                      <a:pt x="1259" y="1622"/>
                    </a:lnTo>
                    <a:lnTo>
                      <a:pt x="1661" y="1497"/>
                    </a:lnTo>
                    <a:lnTo>
                      <a:pt x="1748" y="1470"/>
                    </a:lnTo>
                    <a:lnTo>
                      <a:pt x="1845" y="1442"/>
                    </a:lnTo>
                    <a:lnTo>
                      <a:pt x="2046" y="1393"/>
                    </a:lnTo>
                    <a:lnTo>
                      <a:pt x="2252" y="1339"/>
                    </a:lnTo>
                    <a:lnTo>
                      <a:pt x="2458" y="1285"/>
                    </a:lnTo>
                    <a:lnTo>
                      <a:pt x="2551" y="1263"/>
                    </a:lnTo>
                    <a:lnTo>
                      <a:pt x="2643" y="1236"/>
                    </a:lnTo>
                    <a:lnTo>
                      <a:pt x="2730" y="1214"/>
                    </a:lnTo>
                    <a:lnTo>
                      <a:pt x="2806" y="1192"/>
                    </a:lnTo>
                    <a:lnTo>
                      <a:pt x="2876" y="1170"/>
                    </a:lnTo>
                    <a:lnTo>
                      <a:pt x="2931" y="1149"/>
                    </a:lnTo>
                    <a:lnTo>
                      <a:pt x="2974" y="1132"/>
                    </a:lnTo>
                    <a:lnTo>
                      <a:pt x="3007" y="1116"/>
                    </a:lnTo>
                    <a:lnTo>
                      <a:pt x="3007" y="871"/>
                    </a:lnTo>
                    <a:lnTo>
                      <a:pt x="2941" y="860"/>
                    </a:lnTo>
                    <a:lnTo>
                      <a:pt x="2860" y="844"/>
                    </a:lnTo>
                    <a:lnTo>
                      <a:pt x="2773" y="827"/>
                    </a:lnTo>
                    <a:lnTo>
                      <a:pt x="2670" y="806"/>
                    </a:lnTo>
                    <a:lnTo>
                      <a:pt x="2567" y="784"/>
                    </a:lnTo>
                    <a:lnTo>
                      <a:pt x="2458" y="757"/>
                    </a:lnTo>
                    <a:lnTo>
                      <a:pt x="2241" y="702"/>
                    </a:lnTo>
                    <a:lnTo>
                      <a:pt x="2138" y="670"/>
                    </a:lnTo>
                    <a:lnTo>
                      <a:pt x="2046" y="637"/>
                    </a:lnTo>
                    <a:lnTo>
                      <a:pt x="1959" y="604"/>
                    </a:lnTo>
                    <a:lnTo>
                      <a:pt x="1883" y="566"/>
                    </a:lnTo>
                    <a:lnTo>
                      <a:pt x="1824" y="534"/>
                    </a:lnTo>
                    <a:lnTo>
                      <a:pt x="1780" y="495"/>
                    </a:lnTo>
                    <a:lnTo>
                      <a:pt x="1769" y="474"/>
                    </a:lnTo>
                    <a:lnTo>
                      <a:pt x="1758" y="457"/>
                    </a:lnTo>
                    <a:lnTo>
                      <a:pt x="1753" y="436"/>
                    </a:lnTo>
                    <a:lnTo>
                      <a:pt x="1758" y="419"/>
                    </a:lnTo>
                    <a:lnTo>
                      <a:pt x="1780" y="381"/>
                    </a:lnTo>
                    <a:lnTo>
                      <a:pt x="1813" y="343"/>
                    </a:lnTo>
                    <a:lnTo>
                      <a:pt x="1862" y="316"/>
                    </a:lnTo>
                    <a:lnTo>
                      <a:pt x="1921" y="289"/>
                    </a:lnTo>
                    <a:lnTo>
                      <a:pt x="1986" y="267"/>
                    </a:lnTo>
                    <a:lnTo>
                      <a:pt x="2062" y="245"/>
                    </a:lnTo>
                    <a:lnTo>
                      <a:pt x="2149" y="229"/>
                    </a:lnTo>
                    <a:lnTo>
                      <a:pt x="2236" y="213"/>
                    </a:lnTo>
                    <a:lnTo>
                      <a:pt x="2431" y="180"/>
                    </a:lnTo>
                    <a:lnTo>
                      <a:pt x="2627" y="158"/>
                    </a:lnTo>
                    <a:lnTo>
                      <a:pt x="2827" y="125"/>
                    </a:lnTo>
                    <a:lnTo>
                      <a:pt x="2920" y="109"/>
                    </a:lnTo>
                    <a:lnTo>
                      <a:pt x="3007" y="87"/>
                    </a:lnTo>
                    <a:lnTo>
                      <a:pt x="3007" y="0"/>
                    </a:lnTo>
                    <a:lnTo>
                      <a:pt x="2909" y="22"/>
                    </a:lnTo>
                    <a:lnTo>
                      <a:pt x="2795" y="44"/>
                    </a:lnTo>
                    <a:lnTo>
                      <a:pt x="2676" y="66"/>
                    </a:lnTo>
                    <a:lnTo>
                      <a:pt x="2551" y="82"/>
                    </a:lnTo>
                    <a:lnTo>
                      <a:pt x="2285" y="120"/>
                    </a:lnTo>
                    <a:lnTo>
                      <a:pt x="2155" y="136"/>
                    </a:lnTo>
                    <a:lnTo>
                      <a:pt x="2030" y="158"/>
                    </a:lnTo>
                    <a:lnTo>
                      <a:pt x="1905" y="174"/>
                    </a:lnTo>
                    <a:lnTo>
                      <a:pt x="1791" y="202"/>
                    </a:lnTo>
                    <a:lnTo>
                      <a:pt x="1688" y="229"/>
                    </a:lnTo>
                    <a:lnTo>
                      <a:pt x="1601" y="261"/>
                    </a:lnTo>
                    <a:lnTo>
                      <a:pt x="1525" y="300"/>
                    </a:lnTo>
                    <a:lnTo>
                      <a:pt x="1471" y="338"/>
                    </a:lnTo>
                    <a:lnTo>
                      <a:pt x="1455" y="359"/>
                    </a:lnTo>
                    <a:lnTo>
                      <a:pt x="1438" y="387"/>
                    </a:lnTo>
                    <a:lnTo>
                      <a:pt x="1427" y="414"/>
                    </a:lnTo>
                    <a:lnTo>
                      <a:pt x="1427" y="44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800"/>
              </a:p>
            </p:txBody>
          </p:sp>
          <p:sp>
            <p:nvSpPr>
              <p:cNvPr id="10" name="Freeform 10">
                <a:extLst>
                  <a:ext uri="{FF2B5EF4-FFF2-40B4-BE49-F238E27FC236}">
                    <a16:creationId xmlns:a16="http://schemas.microsoft.com/office/drawing/2014/main" id="{1690B4FB-33C8-4C8E-85F5-2DD5C3E80C0E}"/>
                  </a:ext>
                </a:extLst>
              </p:cNvPr>
              <p:cNvSpPr>
                <a:spLocks/>
              </p:cNvSpPr>
              <p:nvPr/>
            </p:nvSpPr>
            <p:spPr bwMode="hidden">
              <a:xfrm>
                <a:off x="4501" y="2317"/>
                <a:ext cx="1248" cy="539"/>
              </a:xfrm>
              <a:custGeom>
                <a:avLst/>
                <a:gdLst/>
                <a:ahLst/>
                <a:cxnLst>
                  <a:cxn ang="0">
                    <a:pos x="0" y="332"/>
                  </a:cxn>
                  <a:cxn ang="0">
                    <a:pos x="0" y="360"/>
                  </a:cxn>
                  <a:cxn ang="0">
                    <a:pos x="5" y="387"/>
                  </a:cxn>
                  <a:cxn ang="0">
                    <a:pos x="27" y="414"/>
                  </a:cxn>
                  <a:cxn ang="0">
                    <a:pos x="54" y="436"/>
                  </a:cxn>
                  <a:cxn ang="0">
                    <a:pos x="92" y="463"/>
                  </a:cxn>
                  <a:cxn ang="0">
                    <a:pos x="141" y="490"/>
                  </a:cxn>
                  <a:cxn ang="0">
                    <a:pos x="195" y="512"/>
                  </a:cxn>
                  <a:cxn ang="0">
                    <a:pos x="255" y="539"/>
                  </a:cxn>
                  <a:cxn ang="0">
                    <a:pos x="212" y="517"/>
                  </a:cxn>
                  <a:cxn ang="0">
                    <a:pos x="179" y="490"/>
                  </a:cxn>
                  <a:cxn ang="0">
                    <a:pos x="157" y="468"/>
                  </a:cxn>
                  <a:cxn ang="0">
                    <a:pos x="141" y="447"/>
                  </a:cxn>
                  <a:cxn ang="0">
                    <a:pos x="136" y="425"/>
                  </a:cxn>
                  <a:cxn ang="0">
                    <a:pos x="136" y="403"/>
                  </a:cxn>
                  <a:cxn ang="0">
                    <a:pos x="141" y="381"/>
                  </a:cxn>
                  <a:cxn ang="0">
                    <a:pos x="157" y="365"/>
                  </a:cxn>
                  <a:cxn ang="0">
                    <a:pos x="179" y="343"/>
                  </a:cxn>
                  <a:cxn ang="0">
                    <a:pos x="201" y="327"/>
                  </a:cxn>
                  <a:cxn ang="0">
                    <a:pos x="266" y="294"/>
                  </a:cxn>
                  <a:cxn ang="0">
                    <a:pos x="353" y="262"/>
                  </a:cxn>
                  <a:cxn ang="0">
                    <a:pos x="445" y="234"/>
                  </a:cxn>
                  <a:cxn ang="0">
                    <a:pos x="554" y="213"/>
                  </a:cxn>
                  <a:cxn ang="0">
                    <a:pos x="662" y="191"/>
                  </a:cxn>
                  <a:cxn ang="0">
                    <a:pos x="890" y="153"/>
                  </a:cxn>
                  <a:cxn ang="0">
                    <a:pos x="993" y="136"/>
                  </a:cxn>
                  <a:cxn ang="0">
                    <a:pos x="1091" y="120"/>
                  </a:cxn>
                  <a:cxn ang="0">
                    <a:pos x="1178" y="115"/>
                  </a:cxn>
                  <a:cxn ang="0">
                    <a:pos x="1248" y="104"/>
                  </a:cxn>
                  <a:cxn ang="0">
                    <a:pos x="1248" y="0"/>
                  </a:cxn>
                  <a:cxn ang="0">
                    <a:pos x="1161" y="22"/>
                  </a:cxn>
                  <a:cxn ang="0">
                    <a:pos x="1069" y="38"/>
                  </a:cxn>
                  <a:cxn ang="0">
                    <a:pos x="874" y="71"/>
                  </a:cxn>
                  <a:cxn ang="0">
                    <a:pos x="673" y="93"/>
                  </a:cxn>
                  <a:cxn ang="0">
                    <a:pos x="483" y="126"/>
                  </a:cxn>
                  <a:cxn ang="0">
                    <a:pos x="391" y="142"/>
                  </a:cxn>
                  <a:cxn ang="0">
                    <a:pos x="309" y="158"/>
                  </a:cxn>
                  <a:cxn ang="0">
                    <a:pos x="228" y="180"/>
                  </a:cxn>
                  <a:cxn ang="0">
                    <a:pos x="163" y="202"/>
                  </a:cxn>
                  <a:cxn ang="0">
                    <a:pos x="103" y="229"/>
                  </a:cxn>
                  <a:cxn ang="0">
                    <a:pos x="54" y="256"/>
                  </a:cxn>
                  <a:cxn ang="0">
                    <a:pos x="22" y="294"/>
                  </a:cxn>
                  <a:cxn ang="0">
                    <a:pos x="0" y="332"/>
                  </a:cxn>
                  <a:cxn ang="0">
                    <a:pos x="0" y="332"/>
                  </a:cxn>
                </a:cxnLst>
                <a:rect l="0" t="0" r="r" b="b"/>
                <a:pathLst>
                  <a:path w="1248" h="539">
                    <a:moveTo>
                      <a:pt x="0" y="332"/>
                    </a:moveTo>
                    <a:lnTo>
                      <a:pt x="0" y="360"/>
                    </a:lnTo>
                    <a:lnTo>
                      <a:pt x="5" y="387"/>
                    </a:lnTo>
                    <a:lnTo>
                      <a:pt x="27" y="414"/>
                    </a:lnTo>
                    <a:lnTo>
                      <a:pt x="54" y="436"/>
                    </a:lnTo>
                    <a:lnTo>
                      <a:pt x="92" y="463"/>
                    </a:lnTo>
                    <a:lnTo>
                      <a:pt x="141" y="490"/>
                    </a:lnTo>
                    <a:lnTo>
                      <a:pt x="195" y="512"/>
                    </a:lnTo>
                    <a:lnTo>
                      <a:pt x="255" y="539"/>
                    </a:lnTo>
                    <a:lnTo>
                      <a:pt x="212" y="517"/>
                    </a:lnTo>
                    <a:lnTo>
                      <a:pt x="179" y="490"/>
                    </a:lnTo>
                    <a:lnTo>
                      <a:pt x="157" y="468"/>
                    </a:lnTo>
                    <a:lnTo>
                      <a:pt x="141" y="447"/>
                    </a:lnTo>
                    <a:lnTo>
                      <a:pt x="136" y="425"/>
                    </a:lnTo>
                    <a:lnTo>
                      <a:pt x="136" y="403"/>
                    </a:lnTo>
                    <a:lnTo>
                      <a:pt x="141" y="381"/>
                    </a:lnTo>
                    <a:lnTo>
                      <a:pt x="157" y="365"/>
                    </a:lnTo>
                    <a:lnTo>
                      <a:pt x="179" y="343"/>
                    </a:lnTo>
                    <a:lnTo>
                      <a:pt x="201" y="327"/>
                    </a:lnTo>
                    <a:lnTo>
                      <a:pt x="266" y="294"/>
                    </a:lnTo>
                    <a:lnTo>
                      <a:pt x="353" y="262"/>
                    </a:lnTo>
                    <a:lnTo>
                      <a:pt x="445" y="234"/>
                    </a:lnTo>
                    <a:lnTo>
                      <a:pt x="554" y="213"/>
                    </a:lnTo>
                    <a:lnTo>
                      <a:pt x="662" y="191"/>
                    </a:lnTo>
                    <a:lnTo>
                      <a:pt x="890" y="153"/>
                    </a:lnTo>
                    <a:lnTo>
                      <a:pt x="993" y="136"/>
                    </a:lnTo>
                    <a:lnTo>
                      <a:pt x="1091" y="120"/>
                    </a:lnTo>
                    <a:lnTo>
                      <a:pt x="1178" y="115"/>
                    </a:lnTo>
                    <a:lnTo>
                      <a:pt x="1248" y="104"/>
                    </a:lnTo>
                    <a:lnTo>
                      <a:pt x="1248" y="0"/>
                    </a:lnTo>
                    <a:lnTo>
                      <a:pt x="1161" y="22"/>
                    </a:lnTo>
                    <a:lnTo>
                      <a:pt x="1069" y="38"/>
                    </a:lnTo>
                    <a:lnTo>
                      <a:pt x="874" y="71"/>
                    </a:lnTo>
                    <a:lnTo>
                      <a:pt x="673" y="93"/>
                    </a:lnTo>
                    <a:lnTo>
                      <a:pt x="483" y="126"/>
                    </a:lnTo>
                    <a:lnTo>
                      <a:pt x="391" y="142"/>
                    </a:lnTo>
                    <a:lnTo>
                      <a:pt x="309" y="158"/>
                    </a:lnTo>
                    <a:lnTo>
                      <a:pt x="228" y="180"/>
                    </a:lnTo>
                    <a:lnTo>
                      <a:pt x="163" y="202"/>
                    </a:lnTo>
                    <a:lnTo>
                      <a:pt x="103" y="229"/>
                    </a:lnTo>
                    <a:lnTo>
                      <a:pt x="54" y="256"/>
                    </a:lnTo>
                    <a:lnTo>
                      <a:pt x="22" y="294"/>
                    </a:lnTo>
                    <a:lnTo>
                      <a:pt x="0" y="332"/>
                    </a:lnTo>
                    <a:lnTo>
                      <a:pt x="0" y="332"/>
                    </a:lnTo>
                    <a:close/>
                  </a:path>
                </a:pathLst>
              </a:custGeom>
              <a:gradFill rotWithShape="0">
                <a:gsLst>
                  <a:gs pos="0">
                    <a:schemeClr val="bg1">
                      <a:gamma/>
                      <a:shade val="87843"/>
                      <a:invGamma/>
                    </a:schemeClr>
                  </a:gs>
                  <a:gs pos="100000">
                    <a:schemeClr val="bg1"/>
                  </a:gs>
                </a:gsLst>
                <a:lin ang="2700000" scaled="1"/>
              </a:gradFill>
              <a:ln w="9525">
                <a:noFill/>
                <a:round/>
                <a:headEnd/>
                <a:tailEnd/>
              </a:ln>
            </p:spPr>
            <p:txBody>
              <a:bodyPr/>
              <a:lstStyle/>
              <a:p>
                <a:pPr eaLnBrk="0" hangingPunct="0">
                  <a:defRPr/>
                </a:pPr>
                <a:endParaRPr lang="en-US" sz="1800">
                  <a:solidFill>
                    <a:srgbClr val="FFFFFF"/>
                  </a:solidFill>
                  <a:latin typeface="+mn-lt"/>
                  <a:cs typeface="+mn-cs"/>
                </a:endParaRPr>
              </a:p>
            </p:txBody>
          </p:sp>
        </p:grpSp>
        <p:sp>
          <p:nvSpPr>
            <p:cNvPr id="4" name="Freeform 11">
              <a:extLst>
                <a:ext uri="{FF2B5EF4-FFF2-40B4-BE49-F238E27FC236}">
                  <a16:creationId xmlns:a16="http://schemas.microsoft.com/office/drawing/2014/main" id="{0D27CAC2-8E96-4660-9C60-DE3C8886FEA5}"/>
                </a:ext>
              </a:extLst>
            </p:cNvPr>
            <p:cNvSpPr>
              <a:spLocks/>
            </p:cNvSpPr>
            <p:nvPr/>
          </p:nvSpPr>
          <p:spPr bwMode="hidden">
            <a:xfrm>
              <a:off x="3322" y="1341"/>
              <a:ext cx="1825" cy="1537"/>
            </a:xfrm>
            <a:custGeom>
              <a:avLst/>
              <a:gdLst/>
              <a:ahLst/>
              <a:cxnLst>
                <a:cxn ang="0">
                  <a:pos x="982" y="1061"/>
                </a:cxn>
                <a:cxn ang="0">
                  <a:pos x="1357" y="1012"/>
                </a:cxn>
                <a:cxn ang="0">
                  <a:pos x="1666" y="957"/>
                </a:cxn>
                <a:cxn ang="0">
                  <a:pos x="1916" y="897"/>
                </a:cxn>
                <a:cxn ang="0">
                  <a:pos x="2100" y="832"/>
                </a:cxn>
                <a:cxn ang="0">
                  <a:pos x="2220" y="756"/>
                </a:cxn>
                <a:cxn ang="0">
                  <a:pos x="2285" y="669"/>
                </a:cxn>
                <a:cxn ang="0">
                  <a:pos x="2290" y="560"/>
                </a:cxn>
                <a:cxn ang="0">
                  <a:pos x="2241" y="457"/>
                </a:cxn>
                <a:cxn ang="0">
                  <a:pos x="2144" y="364"/>
                </a:cxn>
                <a:cxn ang="0">
                  <a:pos x="2008" y="277"/>
                </a:cxn>
                <a:cxn ang="0">
                  <a:pos x="1769" y="157"/>
                </a:cxn>
                <a:cxn ang="0">
                  <a:pos x="1612" y="92"/>
                </a:cxn>
                <a:cxn ang="0">
                  <a:pos x="1476" y="43"/>
                </a:cxn>
                <a:cxn ang="0">
                  <a:pos x="1384" y="10"/>
                </a:cxn>
                <a:cxn ang="0">
                  <a:pos x="1346" y="0"/>
                </a:cxn>
                <a:cxn ang="0">
                  <a:pos x="1655" y="119"/>
                </a:cxn>
                <a:cxn ang="0">
                  <a:pos x="1948" y="255"/>
                </a:cxn>
                <a:cxn ang="0">
                  <a:pos x="2068" y="326"/>
                </a:cxn>
                <a:cxn ang="0">
                  <a:pos x="2171" y="402"/>
                </a:cxn>
                <a:cxn ang="0">
                  <a:pos x="2236" y="478"/>
                </a:cxn>
                <a:cxn ang="0">
                  <a:pos x="2263" y="560"/>
                </a:cxn>
                <a:cxn ang="0">
                  <a:pos x="2241" y="636"/>
                </a:cxn>
                <a:cxn ang="0">
                  <a:pos x="2171" y="702"/>
                </a:cxn>
                <a:cxn ang="0">
                  <a:pos x="2062" y="756"/>
                </a:cxn>
                <a:cxn ang="0">
                  <a:pos x="1921" y="800"/>
                </a:cxn>
                <a:cxn ang="0">
                  <a:pos x="1748" y="843"/>
                </a:cxn>
                <a:cxn ang="0">
                  <a:pos x="1351" y="908"/>
                </a:cxn>
                <a:cxn ang="0">
                  <a:pos x="923" y="968"/>
                </a:cxn>
                <a:cxn ang="0">
                  <a:pos x="521" y="1028"/>
                </a:cxn>
                <a:cxn ang="0">
                  <a:pos x="353" y="1066"/>
                </a:cxn>
                <a:cxn ang="0">
                  <a:pos x="206" y="1104"/>
                </a:cxn>
                <a:cxn ang="0">
                  <a:pos x="92" y="1148"/>
                </a:cxn>
                <a:cxn ang="0">
                  <a:pos x="22" y="1202"/>
                </a:cxn>
                <a:cxn ang="0">
                  <a:pos x="0" y="1262"/>
                </a:cxn>
                <a:cxn ang="0">
                  <a:pos x="27" y="1327"/>
                </a:cxn>
                <a:cxn ang="0">
                  <a:pos x="98" y="1382"/>
                </a:cxn>
                <a:cxn ang="0">
                  <a:pos x="196" y="1425"/>
                </a:cxn>
                <a:cxn ang="0">
                  <a:pos x="326" y="1469"/>
                </a:cxn>
                <a:cxn ang="0">
                  <a:pos x="217" y="1414"/>
                </a:cxn>
                <a:cxn ang="0">
                  <a:pos x="147" y="1360"/>
                </a:cxn>
                <a:cxn ang="0">
                  <a:pos x="120" y="1306"/>
                </a:cxn>
                <a:cxn ang="0">
                  <a:pos x="141" y="1257"/>
                </a:cxn>
                <a:cxn ang="0">
                  <a:pos x="212" y="1208"/>
                </a:cxn>
                <a:cxn ang="0">
                  <a:pos x="342" y="1164"/>
                </a:cxn>
                <a:cxn ang="0">
                  <a:pos x="527" y="1121"/>
                </a:cxn>
                <a:cxn ang="0">
                  <a:pos x="771" y="1088"/>
                </a:cxn>
              </a:cxnLst>
              <a:rect l="0" t="0" r="r" b="b"/>
              <a:pathLst>
                <a:path w="2296" h="1469">
                  <a:moveTo>
                    <a:pt x="771" y="1088"/>
                  </a:moveTo>
                  <a:lnTo>
                    <a:pt x="982" y="1061"/>
                  </a:lnTo>
                  <a:lnTo>
                    <a:pt x="1178" y="1034"/>
                  </a:lnTo>
                  <a:lnTo>
                    <a:pt x="1357" y="1012"/>
                  </a:lnTo>
                  <a:lnTo>
                    <a:pt x="1520" y="985"/>
                  </a:lnTo>
                  <a:lnTo>
                    <a:pt x="1666" y="957"/>
                  </a:lnTo>
                  <a:lnTo>
                    <a:pt x="1796" y="930"/>
                  </a:lnTo>
                  <a:lnTo>
                    <a:pt x="1916" y="897"/>
                  </a:lnTo>
                  <a:lnTo>
                    <a:pt x="2013" y="870"/>
                  </a:lnTo>
                  <a:lnTo>
                    <a:pt x="2100" y="832"/>
                  </a:lnTo>
                  <a:lnTo>
                    <a:pt x="2171" y="800"/>
                  </a:lnTo>
                  <a:lnTo>
                    <a:pt x="2220" y="756"/>
                  </a:lnTo>
                  <a:lnTo>
                    <a:pt x="2263" y="712"/>
                  </a:lnTo>
                  <a:lnTo>
                    <a:pt x="2285" y="669"/>
                  </a:lnTo>
                  <a:lnTo>
                    <a:pt x="2296" y="614"/>
                  </a:lnTo>
                  <a:lnTo>
                    <a:pt x="2290" y="560"/>
                  </a:lnTo>
                  <a:lnTo>
                    <a:pt x="2269" y="500"/>
                  </a:lnTo>
                  <a:lnTo>
                    <a:pt x="2241" y="457"/>
                  </a:lnTo>
                  <a:lnTo>
                    <a:pt x="2198" y="408"/>
                  </a:lnTo>
                  <a:lnTo>
                    <a:pt x="2144" y="364"/>
                  </a:lnTo>
                  <a:lnTo>
                    <a:pt x="2079" y="321"/>
                  </a:lnTo>
                  <a:lnTo>
                    <a:pt x="2008" y="277"/>
                  </a:lnTo>
                  <a:lnTo>
                    <a:pt x="1927" y="234"/>
                  </a:lnTo>
                  <a:lnTo>
                    <a:pt x="1769" y="157"/>
                  </a:lnTo>
                  <a:lnTo>
                    <a:pt x="1688" y="125"/>
                  </a:lnTo>
                  <a:lnTo>
                    <a:pt x="1612" y="92"/>
                  </a:lnTo>
                  <a:lnTo>
                    <a:pt x="1536" y="65"/>
                  </a:lnTo>
                  <a:lnTo>
                    <a:pt x="1476" y="43"/>
                  </a:lnTo>
                  <a:lnTo>
                    <a:pt x="1422" y="27"/>
                  </a:lnTo>
                  <a:lnTo>
                    <a:pt x="1384" y="10"/>
                  </a:lnTo>
                  <a:lnTo>
                    <a:pt x="1357" y="5"/>
                  </a:lnTo>
                  <a:lnTo>
                    <a:pt x="1346" y="0"/>
                  </a:lnTo>
                  <a:lnTo>
                    <a:pt x="1498" y="54"/>
                  </a:lnTo>
                  <a:lnTo>
                    <a:pt x="1655" y="119"/>
                  </a:lnTo>
                  <a:lnTo>
                    <a:pt x="1807" y="185"/>
                  </a:lnTo>
                  <a:lnTo>
                    <a:pt x="1948" y="255"/>
                  </a:lnTo>
                  <a:lnTo>
                    <a:pt x="2013" y="288"/>
                  </a:lnTo>
                  <a:lnTo>
                    <a:pt x="2068" y="326"/>
                  </a:lnTo>
                  <a:lnTo>
                    <a:pt x="2122" y="364"/>
                  </a:lnTo>
                  <a:lnTo>
                    <a:pt x="2171" y="402"/>
                  </a:lnTo>
                  <a:lnTo>
                    <a:pt x="2209" y="440"/>
                  </a:lnTo>
                  <a:lnTo>
                    <a:pt x="2236" y="478"/>
                  </a:lnTo>
                  <a:lnTo>
                    <a:pt x="2252" y="522"/>
                  </a:lnTo>
                  <a:lnTo>
                    <a:pt x="2263" y="560"/>
                  </a:lnTo>
                  <a:lnTo>
                    <a:pt x="2258" y="598"/>
                  </a:lnTo>
                  <a:lnTo>
                    <a:pt x="2241" y="636"/>
                  </a:lnTo>
                  <a:lnTo>
                    <a:pt x="2214" y="669"/>
                  </a:lnTo>
                  <a:lnTo>
                    <a:pt x="2171" y="702"/>
                  </a:lnTo>
                  <a:lnTo>
                    <a:pt x="2122" y="729"/>
                  </a:lnTo>
                  <a:lnTo>
                    <a:pt x="2062" y="756"/>
                  </a:lnTo>
                  <a:lnTo>
                    <a:pt x="1997" y="778"/>
                  </a:lnTo>
                  <a:lnTo>
                    <a:pt x="1921" y="800"/>
                  </a:lnTo>
                  <a:lnTo>
                    <a:pt x="1834" y="821"/>
                  </a:lnTo>
                  <a:lnTo>
                    <a:pt x="1748" y="843"/>
                  </a:lnTo>
                  <a:lnTo>
                    <a:pt x="1552" y="876"/>
                  </a:lnTo>
                  <a:lnTo>
                    <a:pt x="1351" y="908"/>
                  </a:lnTo>
                  <a:lnTo>
                    <a:pt x="1134" y="941"/>
                  </a:lnTo>
                  <a:lnTo>
                    <a:pt x="923" y="968"/>
                  </a:lnTo>
                  <a:lnTo>
                    <a:pt x="716" y="995"/>
                  </a:lnTo>
                  <a:lnTo>
                    <a:pt x="521" y="1028"/>
                  </a:lnTo>
                  <a:lnTo>
                    <a:pt x="434" y="1044"/>
                  </a:lnTo>
                  <a:lnTo>
                    <a:pt x="353" y="1066"/>
                  </a:lnTo>
                  <a:lnTo>
                    <a:pt x="277" y="1082"/>
                  </a:lnTo>
                  <a:lnTo>
                    <a:pt x="206" y="1104"/>
                  </a:lnTo>
                  <a:lnTo>
                    <a:pt x="147" y="1126"/>
                  </a:lnTo>
                  <a:lnTo>
                    <a:pt x="92" y="1148"/>
                  </a:lnTo>
                  <a:lnTo>
                    <a:pt x="54" y="1175"/>
                  </a:lnTo>
                  <a:lnTo>
                    <a:pt x="22" y="1202"/>
                  </a:lnTo>
                  <a:lnTo>
                    <a:pt x="6" y="1229"/>
                  </a:lnTo>
                  <a:lnTo>
                    <a:pt x="0" y="1262"/>
                  </a:lnTo>
                  <a:lnTo>
                    <a:pt x="11" y="1295"/>
                  </a:lnTo>
                  <a:lnTo>
                    <a:pt x="27" y="1327"/>
                  </a:lnTo>
                  <a:lnTo>
                    <a:pt x="54" y="1355"/>
                  </a:lnTo>
                  <a:lnTo>
                    <a:pt x="98" y="1382"/>
                  </a:lnTo>
                  <a:lnTo>
                    <a:pt x="141" y="1404"/>
                  </a:lnTo>
                  <a:lnTo>
                    <a:pt x="196" y="1425"/>
                  </a:lnTo>
                  <a:lnTo>
                    <a:pt x="261" y="1447"/>
                  </a:lnTo>
                  <a:lnTo>
                    <a:pt x="326" y="1469"/>
                  </a:lnTo>
                  <a:lnTo>
                    <a:pt x="266" y="1442"/>
                  </a:lnTo>
                  <a:lnTo>
                    <a:pt x="217" y="1414"/>
                  </a:lnTo>
                  <a:lnTo>
                    <a:pt x="174" y="1387"/>
                  </a:lnTo>
                  <a:lnTo>
                    <a:pt x="147" y="1360"/>
                  </a:lnTo>
                  <a:lnTo>
                    <a:pt x="125" y="1333"/>
                  </a:lnTo>
                  <a:lnTo>
                    <a:pt x="120" y="1306"/>
                  </a:lnTo>
                  <a:lnTo>
                    <a:pt x="125" y="1278"/>
                  </a:lnTo>
                  <a:lnTo>
                    <a:pt x="141" y="1257"/>
                  </a:lnTo>
                  <a:lnTo>
                    <a:pt x="174" y="1229"/>
                  </a:lnTo>
                  <a:lnTo>
                    <a:pt x="212" y="1208"/>
                  </a:lnTo>
                  <a:lnTo>
                    <a:pt x="272" y="1186"/>
                  </a:lnTo>
                  <a:lnTo>
                    <a:pt x="342" y="1164"/>
                  </a:lnTo>
                  <a:lnTo>
                    <a:pt x="423" y="1142"/>
                  </a:lnTo>
                  <a:lnTo>
                    <a:pt x="527" y="1121"/>
                  </a:lnTo>
                  <a:lnTo>
                    <a:pt x="641" y="1104"/>
                  </a:lnTo>
                  <a:lnTo>
                    <a:pt x="771" y="1088"/>
                  </a:lnTo>
                  <a:lnTo>
                    <a:pt x="771" y="1088"/>
                  </a:lnTo>
                  <a:close/>
                </a:path>
              </a:pathLst>
            </a:custGeom>
            <a:gradFill rotWithShape="0">
              <a:gsLst>
                <a:gs pos="0">
                  <a:schemeClr val="bg1">
                    <a:gamma/>
                    <a:shade val="84706"/>
                    <a:invGamma/>
                  </a:schemeClr>
                </a:gs>
                <a:gs pos="100000">
                  <a:schemeClr val="bg1"/>
                </a:gs>
              </a:gsLst>
              <a:lin ang="2700000" scaled="1"/>
            </a:gradFill>
            <a:ln w="9525">
              <a:noFill/>
              <a:round/>
              <a:headEnd/>
              <a:tailEnd/>
            </a:ln>
          </p:spPr>
          <p:txBody>
            <a:bodyPr/>
            <a:lstStyle/>
            <a:p>
              <a:pPr eaLnBrk="0" hangingPunct="0">
                <a:defRPr/>
              </a:pPr>
              <a:endParaRPr lang="en-US" sz="1800">
                <a:solidFill>
                  <a:srgbClr val="FFFFFF"/>
                </a:solidFill>
                <a:latin typeface="+mn-lt"/>
                <a:cs typeface="+mn-cs"/>
              </a:endParaRPr>
            </a:p>
          </p:txBody>
        </p:sp>
        <p:sp>
          <p:nvSpPr>
            <p:cNvPr id="5" name="Freeform 12">
              <a:extLst>
                <a:ext uri="{FF2B5EF4-FFF2-40B4-BE49-F238E27FC236}">
                  <a16:creationId xmlns:a16="http://schemas.microsoft.com/office/drawing/2014/main" id="{0DC5BB1C-FB99-4567-9B8C-9911A4188055}"/>
                </a:ext>
              </a:extLst>
            </p:cNvPr>
            <p:cNvSpPr>
              <a:spLocks/>
            </p:cNvSpPr>
            <p:nvPr/>
          </p:nvSpPr>
          <p:spPr bwMode="hidden">
            <a:xfrm>
              <a:off x="0" y="0"/>
              <a:ext cx="5758" cy="1776"/>
            </a:xfrm>
            <a:custGeom>
              <a:avLst/>
              <a:gdLst>
                <a:gd name="T0" fmla="*/ 0 w 5740"/>
                <a:gd name="T1" fmla="*/ 0 h 1906"/>
                <a:gd name="T2" fmla="*/ 0 w 5740"/>
                <a:gd name="T3" fmla="*/ 1776 h 1906"/>
                <a:gd name="T4" fmla="*/ 5758 w 5740"/>
                <a:gd name="T5" fmla="*/ 1776 h 1906"/>
                <a:gd name="T6" fmla="*/ 5758 w 5740"/>
                <a:gd name="T7" fmla="*/ 0 h 1906"/>
                <a:gd name="T8" fmla="*/ 0 w 5740"/>
                <a:gd name="T9" fmla="*/ 0 h 1906"/>
                <a:gd name="T10" fmla="*/ 0 w 5740"/>
                <a:gd name="T11" fmla="*/ 0 h 190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5740" h="1906">
                  <a:moveTo>
                    <a:pt x="0" y="0"/>
                  </a:moveTo>
                  <a:lnTo>
                    <a:pt x="0" y="1906"/>
                  </a:lnTo>
                  <a:lnTo>
                    <a:pt x="5740" y="1906"/>
                  </a:lnTo>
                  <a:lnTo>
                    <a:pt x="5740" y="0"/>
                  </a:lnTo>
                  <a:lnTo>
                    <a:pt x="0" y="0"/>
                  </a:lnTo>
                  <a:close/>
                </a:path>
              </a:pathLst>
            </a:custGeom>
            <a:gradFill rotWithShape="0">
              <a:gsLst>
                <a:gs pos="0">
                  <a:schemeClr val="bg2"/>
                </a:gs>
                <a:gs pos="100000">
                  <a:schemeClr val="bg1"/>
                </a:gs>
              </a:gsLst>
              <a:lin ang="54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800"/>
            </a:p>
          </p:txBody>
        </p:sp>
      </p:grpSp>
      <p:sp>
        <p:nvSpPr>
          <p:cNvPr id="11" name="Text Box 16">
            <a:extLst>
              <a:ext uri="{FF2B5EF4-FFF2-40B4-BE49-F238E27FC236}">
                <a16:creationId xmlns:a16="http://schemas.microsoft.com/office/drawing/2014/main" id="{EF7F8B5F-6E08-40D7-BFF1-FCA73CE1CCAE}"/>
              </a:ext>
            </a:extLst>
          </p:cNvPr>
          <p:cNvSpPr txBox="1">
            <a:spLocks noChangeArrowheads="1"/>
          </p:cNvSpPr>
          <p:nvPr/>
        </p:nvSpPr>
        <p:spPr bwMode="auto">
          <a:xfrm>
            <a:off x="11074400" y="304801"/>
            <a:ext cx="711200"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pPr eaLnBrk="0" hangingPunct="0">
              <a:spcBef>
                <a:spcPct val="50000"/>
              </a:spcBef>
              <a:defRPr/>
            </a:pPr>
            <a:endParaRPr lang="en-US" altLang="en-US" sz="1800">
              <a:solidFill>
                <a:srgbClr val="FFFFFF"/>
              </a:solidFill>
              <a:latin typeface="Garamond" pitchFamily="18" charset="0"/>
            </a:endParaRPr>
          </a:p>
        </p:txBody>
      </p:sp>
      <p:sp>
        <p:nvSpPr>
          <p:cNvPr id="12" name="Text Box 17">
            <a:extLst>
              <a:ext uri="{FF2B5EF4-FFF2-40B4-BE49-F238E27FC236}">
                <a16:creationId xmlns:a16="http://schemas.microsoft.com/office/drawing/2014/main" id="{3E003B48-F424-4113-ABA4-1FD4B06EC83A}"/>
              </a:ext>
            </a:extLst>
          </p:cNvPr>
          <p:cNvSpPr txBox="1">
            <a:spLocks noChangeArrowheads="1"/>
          </p:cNvSpPr>
          <p:nvPr/>
        </p:nvSpPr>
        <p:spPr bwMode="auto">
          <a:xfrm>
            <a:off x="11582400" y="228601"/>
            <a:ext cx="609600"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Calibri" panose="020F0502020204030204" pitchFamily="34" charset="0"/>
                <a:cs typeface="Arial" panose="020B0604020202020204" pitchFamily="34" charset="0"/>
              </a:defRPr>
            </a:lvl1pPr>
            <a:lvl2pPr marL="742950" indent="-285750" eaLnBrk="0" hangingPunct="0">
              <a:defRPr>
                <a:solidFill>
                  <a:schemeClr val="tx1"/>
                </a:solidFill>
                <a:latin typeface="Calibri" panose="020F0502020204030204" pitchFamily="34" charset="0"/>
                <a:cs typeface="Arial" panose="020B0604020202020204" pitchFamily="34" charset="0"/>
              </a:defRPr>
            </a:lvl2pPr>
            <a:lvl3pPr marL="1143000" indent="-228600" eaLnBrk="0" hangingPunct="0">
              <a:defRPr>
                <a:solidFill>
                  <a:schemeClr val="tx1"/>
                </a:solidFill>
                <a:latin typeface="Calibri" panose="020F0502020204030204" pitchFamily="34" charset="0"/>
                <a:cs typeface="Arial" panose="020B0604020202020204" pitchFamily="34" charset="0"/>
              </a:defRPr>
            </a:lvl3pPr>
            <a:lvl4pPr marL="1600200" indent="-228600" eaLnBrk="0" hangingPunct="0">
              <a:defRPr>
                <a:solidFill>
                  <a:schemeClr val="tx1"/>
                </a:solidFill>
                <a:latin typeface="Calibri" panose="020F0502020204030204" pitchFamily="34" charset="0"/>
                <a:cs typeface="Arial" panose="020B0604020202020204" pitchFamily="34" charset="0"/>
              </a:defRPr>
            </a:lvl4pPr>
            <a:lvl5pPr marL="2057400" indent="-228600" eaLnBrk="0" hangingPunct="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spcBef>
                <a:spcPct val="50000"/>
              </a:spcBef>
            </a:pPr>
            <a:fld id="{8B076B7A-4115-4E84-87F9-9CD2B691D9E1}" type="slidenum">
              <a:rPr lang="en-US" altLang="en-US" sz="1800">
                <a:solidFill>
                  <a:srgbClr val="FFFFFF"/>
                </a:solidFill>
                <a:latin typeface="Garamond" panose="02020404030301010803" pitchFamily="18" charset="0"/>
              </a:rPr>
              <a:pPr>
                <a:spcBef>
                  <a:spcPct val="50000"/>
                </a:spcBef>
              </a:pPr>
              <a:t>‹#›</a:t>
            </a:fld>
            <a:endParaRPr lang="en-US" altLang="en-US" sz="1800">
              <a:solidFill>
                <a:srgbClr val="FFFFFF"/>
              </a:solidFill>
              <a:latin typeface="Garamond" panose="02020404030301010803" pitchFamily="18" charset="0"/>
            </a:endParaRPr>
          </a:p>
        </p:txBody>
      </p:sp>
      <p:graphicFrame>
        <p:nvGraphicFramePr>
          <p:cNvPr id="13" name="Object 18">
            <a:extLst>
              <a:ext uri="{FF2B5EF4-FFF2-40B4-BE49-F238E27FC236}">
                <a16:creationId xmlns:a16="http://schemas.microsoft.com/office/drawing/2014/main" id="{D09544F4-08A8-494D-9E7B-2068F2CEA29E}"/>
              </a:ext>
            </a:extLst>
          </p:cNvPr>
          <p:cNvGraphicFramePr>
            <a:graphicFrameLocks noChangeAspect="1"/>
          </p:cNvGraphicFramePr>
          <p:nvPr/>
        </p:nvGraphicFramePr>
        <p:xfrm>
          <a:off x="9652000" y="5918200"/>
          <a:ext cx="2540000" cy="939800"/>
        </p:xfrm>
        <a:graphic>
          <a:graphicData uri="http://schemas.openxmlformats.org/presentationml/2006/ole">
            <mc:AlternateContent xmlns:mc="http://schemas.openxmlformats.org/markup-compatibility/2006">
              <mc:Choice xmlns:v="urn:schemas-microsoft-com:vml" Requires="v">
                <p:oleObj spid="_x0000_s10243" name="Bitmap Image" r:id="rId3" imgW="2142857" imgH="1057423" progId="Paint.Picture">
                  <p:embed/>
                </p:oleObj>
              </mc:Choice>
              <mc:Fallback>
                <p:oleObj name="Bitmap Image" r:id="rId3" imgW="2142857" imgH="1057423" progId="Paint.Picture">
                  <p:embed/>
                  <p:pic>
                    <p:nvPicPr>
                      <p:cNvPr id="13" name="Object 18">
                        <a:extLst>
                          <a:ext uri="{FF2B5EF4-FFF2-40B4-BE49-F238E27FC236}">
                            <a16:creationId xmlns:a16="http://schemas.microsoft.com/office/drawing/2014/main" id="{D09544F4-08A8-494D-9E7B-2068F2CEA29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652000" y="5918200"/>
                        <a:ext cx="2540000" cy="939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14" name="Rectangle 2">
            <a:extLst>
              <a:ext uri="{FF2B5EF4-FFF2-40B4-BE49-F238E27FC236}">
                <a16:creationId xmlns:a16="http://schemas.microsoft.com/office/drawing/2014/main" id="{9659C0AA-FE70-4D81-B35F-11A014A8F4FB}"/>
              </a:ext>
            </a:extLst>
          </p:cNvPr>
          <p:cNvSpPr>
            <a:spLocks noGrp="1" noChangeArrowheads="1"/>
          </p:cNvSpPr>
          <p:nvPr>
            <p:ph type="dt" sz="half" idx="10"/>
          </p:nvPr>
        </p:nvSpPr>
        <p:spPr/>
        <p:txBody>
          <a:bodyPr/>
          <a:lstStyle>
            <a:lvl1pPr fontAlgn="auto">
              <a:spcBef>
                <a:spcPts val="0"/>
              </a:spcBef>
              <a:spcAft>
                <a:spcPts val="0"/>
              </a:spcAft>
              <a:defRPr/>
            </a:lvl1pPr>
          </a:lstStyle>
          <a:p>
            <a:pPr>
              <a:defRPr/>
            </a:pPr>
            <a:endParaRPr lang="en-US"/>
          </a:p>
        </p:txBody>
      </p:sp>
      <p:sp>
        <p:nvSpPr>
          <p:cNvPr id="15" name="Rectangle 3">
            <a:extLst>
              <a:ext uri="{FF2B5EF4-FFF2-40B4-BE49-F238E27FC236}">
                <a16:creationId xmlns:a16="http://schemas.microsoft.com/office/drawing/2014/main" id="{B3A60433-571B-495A-B507-6ACA7240ED78}"/>
              </a:ext>
            </a:extLst>
          </p:cNvPr>
          <p:cNvSpPr>
            <a:spLocks noGrp="1" noChangeArrowheads="1"/>
          </p:cNvSpPr>
          <p:nvPr>
            <p:ph type="sldNum" sz="quarter" idx="11"/>
          </p:nvPr>
        </p:nvSpPr>
        <p:spPr/>
        <p:txBody>
          <a:bodyPr/>
          <a:lstStyle>
            <a:lvl1pPr>
              <a:defRPr/>
            </a:lvl1pPr>
          </a:lstStyle>
          <a:p>
            <a:fld id="{B95CF091-E210-4E52-943A-E630DD6CED01}" type="slidenum">
              <a:rPr lang="en-US" altLang="en-US"/>
              <a:pPr/>
              <a:t>‹#›</a:t>
            </a:fld>
            <a:endParaRPr lang="en-US" altLang="en-US"/>
          </a:p>
        </p:txBody>
      </p:sp>
      <p:sp>
        <p:nvSpPr>
          <p:cNvPr id="16" name="Rectangle 14">
            <a:extLst>
              <a:ext uri="{FF2B5EF4-FFF2-40B4-BE49-F238E27FC236}">
                <a16:creationId xmlns:a16="http://schemas.microsoft.com/office/drawing/2014/main" id="{8D97E242-1CEC-4EC9-947C-B929E5A34A5D}"/>
              </a:ext>
            </a:extLst>
          </p:cNvPr>
          <p:cNvSpPr>
            <a:spLocks noGrp="1" noChangeArrowheads="1"/>
          </p:cNvSpPr>
          <p:nvPr>
            <p:ph type="ftr" sz="quarter" idx="12"/>
          </p:nvPr>
        </p:nvSpPr>
        <p:spPr/>
        <p:txBody>
          <a:bodyPr/>
          <a:lstStyle>
            <a:lvl1pPr fontAlgn="auto">
              <a:spcBef>
                <a:spcPts val="0"/>
              </a:spcBef>
              <a:spcAft>
                <a:spcPts val="0"/>
              </a:spcAft>
              <a:defRPr/>
            </a:lvl1pPr>
          </a:lstStyle>
          <a:p>
            <a:pPr>
              <a:defRPr/>
            </a:pPr>
            <a:endParaRPr lang="en-US"/>
          </a:p>
        </p:txBody>
      </p:sp>
    </p:spTree>
    <p:extLst>
      <p:ext uri="{BB962C8B-B14F-4D97-AF65-F5344CB8AC3E}">
        <p14:creationId xmlns:p14="http://schemas.microsoft.com/office/powerpoint/2010/main" val="616288776"/>
      </p:ext>
    </p:extLst>
  </p:cSld>
  <p:clrMapOvr>
    <a:masterClrMapping/>
  </p:clrMapOvr>
  <p:transition>
    <p:random/>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grpSp>
        <p:nvGrpSpPr>
          <p:cNvPr id="5" name="Group 18">
            <a:extLst>
              <a:ext uri="{FF2B5EF4-FFF2-40B4-BE49-F238E27FC236}">
                <a16:creationId xmlns:a16="http://schemas.microsoft.com/office/drawing/2014/main" id="{75CF122D-0FE4-4CCE-9D45-69ACC9CBA9AB}"/>
              </a:ext>
            </a:extLst>
          </p:cNvPr>
          <p:cNvGrpSpPr>
            <a:grpSpLocks/>
          </p:cNvGrpSpPr>
          <p:nvPr/>
        </p:nvGrpSpPr>
        <p:grpSpPr bwMode="auto">
          <a:xfrm>
            <a:off x="1" y="1"/>
            <a:ext cx="12187767" cy="6850063"/>
            <a:chOff x="0" y="0"/>
            <a:chExt cx="5758" cy="4315"/>
          </a:xfrm>
        </p:grpSpPr>
        <p:grpSp>
          <p:nvGrpSpPr>
            <p:cNvPr id="6" name="Group 19">
              <a:extLst>
                <a:ext uri="{FF2B5EF4-FFF2-40B4-BE49-F238E27FC236}">
                  <a16:creationId xmlns:a16="http://schemas.microsoft.com/office/drawing/2014/main" id="{2E76A416-92A1-444A-A2CE-A23E903EA430}"/>
                </a:ext>
              </a:extLst>
            </p:cNvPr>
            <p:cNvGrpSpPr>
              <a:grpSpLocks/>
            </p:cNvGrpSpPr>
            <p:nvPr userDrawn="1"/>
          </p:nvGrpSpPr>
          <p:grpSpPr bwMode="auto">
            <a:xfrm>
              <a:off x="1728" y="2230"/>
              <a:ext cx="4027" cy="2085"/>
              <a:chOff x="1728" y="2230"/>
              <a:chExt cx="4027" cy="2085"/>
            </a:xfrm>
          </p:grpSpPr>
          <p:sp>
            <p:nvSpPr>
              <p:cNvPr id="9" name="Freeform 6">
                <a:extLst>
                  <a:ext uri="{FF2B5EF4-FFF2-40B4-BE49-F238E27FC236}">
                    <a16:creationId xmlns:a16="http://schemas.microsoft.com/office/drawing/2014/main" id="{07A8D127-DA39-4648-BEE2-84619C36D1FD}"/>
                  </a:ext>
                </a:extLst>
              </p:cNvPr>
              <p:cNvSpPr>
                <a:spLocks/>
              </p:cNvSpPr>
              <p:nvPr/>
            </p:nvSpPr>
            <p:spPr bwMode="hidden">
              <a:xfrm>
                <a:off x="1728" y="2644"/>
                <a:ext cx="2882" cy="1671"/>
              </a:xfrm>
              <a:custGeom>
                <a:avLst/>
                <a:gdLst/>
                <a:ahLst/>
                <a:cxnLst>
                  <a:cxn ang="0">
                    <a:pos x="2740" y="528"/>
                  </a:cxn>
                  <a:cxn ang="0">
                    <a:pos x="2632" y="484"/>
                  </a:cxn>
                  <a:cxn ang="0">
                    <a:pos x="2480" y="424"/>
                  </a:cxn>
                  <a:cxn ang="0">
                    <a:pos x="2203" y="343"/>
                  </a:cxn>
                  <a:cxn ang="0">
                    <a:pos x="1970" y="277"/>
                  </a:cxn>
                  <a:cxn ang="0">
                    <a:pos x="1807" y="212"/>
                  </a:cxn>
                  <a:cxn ang="0">
                    <a:pos x="1693" y="152"/>
                  </a:cxn>
                  <a:cxn ang="0">
                    <a:pos x="1628" y="103"/>
                  </a:cxn>
                  <a:cxn ang="0">
                    <a:pos x="1590" y="60"/>
                  </a:cxn>
                  <a:cxn ang="0">
                    <a:pos x="1579" y="27"/>
                  </a:cxn>
                  <a:cxn ang="0">
                    <a:pos x="1585" y="0"/>
                  </a:cxn>
                  <a:cxn ang="0">
                    <a:pos x="1557" y="49"/>
                  </a:cxn>
                  <a:cxn ang="0">
                    <a:pos x="1568" y="98"/>
                  </a:cxn>
                  <a:cxn ang="0">
                    <a:pos x="1617" y="141"/>
                  </a:cxn>
                  <a:cxn ang="0">
                    <a:pos x="1688" y="185"/>
                  </a:cxn>
                  <a:cxn ang="0">
                    <a:pos x="1791" y="228"/>
                  </a:cxn>
                  <a:cxn ang="0">
                    <a:pos x="2040" y="310"/>
                  </a:cxn>
                  <a:cxn ang="0">
                    <a:pos x="2285" y="381"/>
                  </a:cxn>
                  <a:cxn ang="0">
                    <a:pos x="2464" y="435"/>
                  </a:cxn>
                  <a:cxn ang="0">
                    <a:pos x="2605" y="484"/>
                  </a:cxn>
                  <a:cxn ang="0">
                    <a:pos x="2708" y="528"/>
                  </a:cxn>
                  <a:cxn ang="0">
                    <a:pos x="2768" y="560"/>
                  </a:cxn>
                  <a:cxn ang="0">
                    <a:pos x="2795" y="593"/>
                  </a:cxn>
                  <a:cxn ang="0">
                    <a:pos x="2795" y="642"/>
                  </a:cxn>
                  <a:cxn ang="0">
                    <a:pos x="2762" y="691"/>
                  </a:cxn>
                  <a:cxn ang="0">
                    <a:pos x="2692" y="735"/>
                  </a:cxn>
                  <a:cxn ang="0">
                    <a:pos x="2589" y="778"/>
                  </a:cxn>
                  <a:cxn ang="0">
                    <a:pos x="2458" y="822"/>
                  </a:cxn>
                  <a:cxn ang="0">
                    <a:pos x="2301" y="865"/>
                  </a:cxn>
                  <a:cxn ang="0">
                    <a:pos x="2030" y="930"/>
                  </a:cxn>
                  <a:cxn ang="0">
                    <a:pos x="1606" y="1034"/>
                  </a:cxn>
                  <a:cxn ang="0">
                    <a:pos x="1145" y="1164"/>
                  </a:cxn>
                  <a:cxn ang="0">
                    <a:pos x="673" y="1328"/>
                  </a:cxn>
                  <a:cxn ang="0">
                    <a:pos x="217" y="1545"/>
                  </a:cxn>
                  <a:cxn ang="0">
                    <a:pos x="353" y="1671"/>
                  </a:cxn>
                  <a:cxn ang="0">
                    <a:pos x="754" y="1469"/>
                  </a:cxn>
                  <a:cxn ang="0">
                    <a:pos x="1145" y="1311"/>
                  </a:cxn>
                  <a:cxn ang="0">
                    <a:pos x="1519" y="1186"/>
                  </a:cxn>
                  <a:cxn ang="0">
                    <a:pos x="1861" y="1083"/>
                  </a:cxn>
                  <a:cxn ang="0">
                    <a:pos x="2165" y="1007"/>
                  </a:cxn>
                  <a:cxn ang="0">
                    <a:pos x="2426" y="947"/>
                  </a:cxn>
                  <a:cxn ang="0">
                    <a:pos x="2626" y="892"/>
                  </a:cxn>
                  <a:cxn ang="0">
                    <a:pos x="2762" y="838"/>
                  </a:cxn>
                  <a:cxn ang="0">
                    <a:pos x="2827" y="794"/>
                  </a:cxn>
                  <a:cxn ang="0">
                    <a:pos x="2865" y="745"/>
                  </a:cxn>
                  <a:cxn ang="0">
                    <a:pos x="2882" y="702"/>
                  </a:cxn>
                  <a:cxn ang="0">
                    <a:pos x="2854" y="620"/>
                  </a:cxn>
                  <a:cxn ang="0">
                    <a:pos x="2800" y="560"/>
                  </a:cxn>
                  <a:cxn ang="0">
                    <a:pos x="2773" y="544"/>
                  </a:cxn>
                </a:cxnLst>
                <a:rect l="0" t="0" r="r" b="b"/>
                <a:pathLst>
                  <a:path w="2882" h="1671">
                    <a:moveTo>
                      <a:pt x="2773" y="544"/>
                    </a:moveTo>
                    <a:lnTo>
                      <a:pt x="2740" y="528"/>
                    </a:lnTo>
                    <a:lnTo>
                      <a:pt x="2692" y="506"/>
                    </a:lnTo>
                    <a:lnTo>
                      <a:pt x="2632" y="484"/>
                    </a:lnTo>
                    <a:lnTo>
                      <a:pt x="2561" y="457"/>
                    </a:lnTo>
                    <a:lnTo>
                      <a:pt x="2480" y="424"/>
                    </a:lnTo>
                    <a:lnTo>
                      <a:pt x="2388" y="397"/>
                    </a:lnTo>
                    <a:lnTo>
                      <a:pt x="2203" y="343"/>
                    </a:lnTo>
                    <a:lnTo>
                      <a:pt x="2078" y="310"/>
                    </a:lnTo>
                    <a:lnTo>
                      <a:pt x="1970" y="277"/>
                    </a:lnTo>
                    <a:lnTo>
                      <a:pt x="1878" y="245"/>
                    </a:lnTo>
                    <a:lnTo>
                      <a:pt x="1807" y="212"/>
                    </a:lnTo>
                    <a:lnTo>
                      <a:pt x="1742" y="179"/>
                    </a:lnTo>
                    <a:lnTo>
                      <a:pt x="1693" y="152"/>
                    </a:lnTo>
                    <a:lnTo>
                      <a:pt x="1655" y="125"/>
                    </a:lnTo>
                    <a:lnTo>
                      <a:pt x="1628" y="103"/>
                    </a:lnTo>
                    <a:lnTo>
                      <a:pt x="1606" y="81"/>
                    </a:lnTo>
                    <a:lnTo>
                      <a:pt x="1590" y="60"/>
                    </a:lnTo>
                    <a:lnTo>
                      <a:pt x="1585" y="43"/>
                    </a:lnTo>
                    <a:lnTo>
                      <a:pt x="1579" y="27"/>
                    </a:lnTo>
                    <a:lnTo>
                      <a:pt x="1585" y="5"/>
                    </a:lnTo>
                    <a:lnTo>
                      <a:pt x="1585" y="0"/>
                    </a:lnTo>
                    <a:lnTo>
                      <a:pt x="1568" y="27"/>
                    </a:lnTo>
                    <a:lnTo>
                      <a:pt x="1557" y="49"/>
                    </a:lnTo>
                    <a:lnTo>
                      <a:pt x="1557" y="76"/>
                    </a:lnTo>
                    <a:lnTo>
                      <a:pt x="1568" y="98"/>
                    </a:lnTo>
                    <a:lnTo>
                      <a:pt x="1590" y="120"/>
                    </a:lnTo>
                    <a:lnTo>
                      <a:pt x="1617" y="141"/>
                    </a:lnTo>
                    <a:lnTo>
                      <a:pt x="1650" y="163"/>
                    </a:lnTo>
                    <a:lnTo>
                      <a:pt x="1688" y="185"/>
                    </a:lnTo>
                    <a:lnTo>
                      <a:pt x="1737" y="207"/>
                    </a:lnTo>
                    <a:lnTo>
                      <a:pt x="1791" y="228"/>
                    </a:lnTo>
                    <a:lnTo>
                      <a:pt x="1905" y="267"/>
                    </a:lnTo>
                    <a:lnTo>
                      <a:pt x="2040" y="310"/>
                    </a:lnTo>
                    <a:lnTo>
                      <a:pt x="2182" y="348"/>
                    </a:lnTo>
                    <a:lnTo>
                      <a:pt x="2285" y="381"/>
                    </a:lnTo>
                    <a:lnTo>
                      <a:pt x="2382" y="408"/>
                    </a:lnTo>
                    <a:lnTo>
                      <a:pt x="2464" y="435"/>
                    </a:lnTo>
                    <a:lnTo>
                      <a:pt x="2540" y="462"/>
                    </a:lnTo>
                    <a:lnTo>
                      <a:pt x="2605" y="484"/>
                    </a:lnTo>
                    <a:lnTo>
                      <a:pt x="2659" y="506"/>
                    </a:lnTo>
                    <a:lnTo>
                      <a:pt x="2708" y="528"/>
                    </a:lnTo>
                    <a:lnTo>
                      <a:pt x="2740" y="544"/>
                    </a:lnTo>
                    <a:lnTo>
                      <a:pt x="2768" y="560"/>
                    </a:lnTo>
                    <a:lnTo>
                      <a:pt x="2784" y="577"/>
                    </a:lnTo>
                    <a:lnTo>
                      <a:pt x="2795" y="593"/>
                    </a:lnTo>
                    <a:lnTo>
                      <a:pt x="2800" y="615"/>
                    </a:lnTo>
                    <a:lnTo>
                      <a:pt x="2795" y="642"/>
                    </a:lnTo>
                    <a:lnTo>
                      <a:pt x="2784" y="664"/>
                    </a:lnTo>
                    <a:lnTo>
                      <a:pt x="2762" y="691"/>
                    </a:lnTo>
                    <a:lnTo>
                      <a:pt x="2730" y="713"/>
                    </a:lnTo>
                    <a:lnTo>
                      <a:pt x="2692" y="735"/>
                    </a:lnTo>
                    <a:lnTo>
                      <a:pt x="2643" y="756"/>
                    </a:lnTo>
                    <a:lnTo>
                      <a:pt x="2589" y="778"/>
                    </a:lnTo>
                    <a:lnTo>
                      <a:pt x="2529" y="800"/>
                    </a:lnTo>
                    <a:lnTo>
                      <a:pt x="2458" y="822"/>
                    </a:lnTo>
                    <a:lnTo>
                      <a:pt x="2382" y="843"/>
                    </a:lnTo>
                    <a:lnTo>
                      <a:pt x="2301" y="865"/>
                    </a:lnTo>
                    <a:lnTo>
                      <a:pt x="2214" y="887"/>
                    </a:lnTo>
                    <a:lnTo>
                      <a:pt x="2030" y="930"/>
                    </a:lnTo>
                    <a:lnTo>
                      <a:pt x="1823" y="979"/>
                    </a:lnTo>
                    <a:lnTo>
                      <a:pt x="1606" y="1034"/>
                    </a:lnTo>
                    <a:lnTo>
                      <a:pt x="1378" y="1094"/>
                    </a:lnTo>
                    <a:lnTo>
                      <a:pt x="1145" y="1164"/>
                    </a:lnTo>
                    <a:lnTo>
                      <a:pt x="912" y="1241"/>
                    </a:lnTo>
                    <a:lnTo>
                      <a:pt x="673" y="1328"/>
                    </a:lnTo>
                    <a:lnTo>
                      <a:pt x="440" y="1431"/>
                    </a:lnTo>
                    <a:lnTo>
                      <a:pt x="217" y="1545"/>
                    </a:lnTo>
                    <a:lnTo>
                      <a:pt x="0" y="1671"/>
                    </a:lnTo>
                    <a:lnTo>
                      <a:pt x="353" y="1671"/>
                    </a:lnTo>
                    <a:lnTo>
                      <a:pt x="554" y="1567"/>
                    </a:lnTo>
                    <a:lnTo>
                      <a:pt x="754" y="1469"/>
                    </a:lnTo>
                    <a:lnTo>
                      <a:pt x="955" y="1388"/>
                    </a:lnTo>
                    <a:lnTo>
                      <a:pt x="1145" y="1311"/>
                    </a:lnTo>
                    <a:lnTo>
                      <a:pt x="1335" y="1241"/>
                    </a:lnTo>
                    <a:lnTo>
                      <a:pt x="1519" y="1186"/>
                    </a:lnTo>
                    <a:lnTo>
                      <a:pt x="1693" y="1132"/>
                    </a:lnTo>
                    <a:lnTo>
                      <a:pt x="1861" y="1083"/>
                    </a:lnTo>
                    <a:lnTo>
                      <a:pt x="2019" y="1045"/>
                    </a:lnTo>
                    <a:lnTo>
                      <a:pt x="2165" y="1007"/>
                    </a:lnTo>
                    <a:lnTo>
                      <a:pt x="2301" y="974"/>
                    </a:lnTo>
                    <a:lnTo>
                      <a:pt x="2426" y="947"/>
                    </a:lnTo>
                    <a:lnTo>
                      <a:pt x="2534" y="914"/>
                    </a:lnTo>
                    <a:lnTo>
                      <a:pt x="2626" y="892"/>
                    </a:lnTo>
                    <a:lnTo>
                      <a:pt x="2702" y="865"/>
                    </a:lnTo>
                    <a:lnTo>
                      <a:pt x="2762" y="838"/>
                    </a:lnTo>
                    <a:lnTo>
                      <a:pt x="2800" y="816"/>
                    </a:lnTo>
                    <a:lnTo>
                      <a:pt x="2827" y="794"/>
                    </a:lnTo>
                    <a:lnTo>
                      <a:pt x="2849" y="767"/>
                    </a:lnTo>
                    <a:lnTo>
                      <a:pt x="2865" y="745"/>
                    </a:lnTo>
                    <a:lnTo>
                      <a:pt x="2876" y="724"/>
                    </a:lnTo>
                    <a:lnTo>
                      <a:pt x="2882" y="702"/>
                    </a:lnTo>
                    <a:lnTo>
                      <a:pt x="2876" y="658"/>
                    </a:lnTo>
                    <a:lnTo>
                      <a:pt x="2854" y="620"/>
                    </a:lnTo>
                    <a:lnTo>
                      <a:pt x="2833" y="588"/>
                    </a:lnTo>
                    <a:lnTo>
                      <a:pt x="2800" y="560"/>
                    </a:lnTo>
                    <a:lnTo>
                      <a:pt x="2773" y="544"/>
                    </a:lnTo>
                    <a:lnTo>
                      <a:pt x="2773" y="544"/>
                    </a:lnTo>
                    <a:close/>
                  </a:path>
                </a:pathLst>
              </a:custGeom>
              <a:gradFill rotWithShape="0">
                <a:gsLst>
                  <a:gs pos="0">
                    <a:schemeClr val="bg1"/>
                  </a:gs>
                  <a:gs pos="100000">
                    <a:schemeClr val="bg1">
                      <a:gamma/>
                      <a:shade val="90980"/>
                      <a:invGamma/>
                    </a:schemeClr>
                  </a:gs>
                </a:gsLst>
                <a:lin ang="0" scaled="1"/>
              </a:gradFill>
              <a:ln w="9525">
                <a:noFill/>
                <a:round/>
                <a:headEnd/>
                <a:tailEnd/>
              </a:ln>
            </p:spPr>
            <p:txBody>
              <a:bodyPr/>
              <a:lstStyle/>
              <a:p>
                <a:pPr eaLnBrk="0" hangingPunct="0">
                  <a:defRPr/>
                </a:pPr>
                <a:endParaRPr lang="en-US" sz="1800">
                  <a:solidFill>
                    <a:srgbClr val="FFFFFF"/>
                  </a:solidFill>
                  <a:latin typeface="+mn-lt"/>
                  <a:cs typeface="+mn-cs"/>
                </a:endParaRPr>
              </a:p>
            </p:txBody>
          </p:sp>
          <p:sp>
            <p:nvSpPr>
              <p:cNvPr id="10" name="Freeform 7">
                <a:extLst>
                  <a:ext uri="{FF2B5EF4-FFF2-40B4-BE49-F238E27FC236}">
                    <a16:creationId xmlns:a16="http://schemas.microsoft.com/office/drawing/2014/main" id="{9E1CA35E-0F46-451A-8E9B-6D31A793D4EC}"/>
                  </a:ext>
                </a:extLst>
              </p:cNvPr>
              <p:cNvSpPr>
                <a:spLocks/>
              </p:cNvSpPr>
              <p:nvPr/>
            </p:nvSpPr>
            <p:spPr bwMode="hidden">
              <a:xfrm>
                <a:off x="4170" y="2671"/>
                <a:ext cx="1259" cy="811"/>
              </a:xfrm>
              <a:custGeom>
                <a:avLst/>
                <a:gdLst/>
                <a:ahLst/>
                <a:cxnLst>
                  <a:cxn ang="0">
                    <a:pos x="1259" y="615"/>
                  </a:cxn>
                  <a:cxn ang="0">
                    <a:pos x="1248" y="588"/>
                  </a:cxn>
                  <a:cxn ang="0">
                    <a:pos x="1237" y="566"/>
                  </a:cxn>
                  <a:cxn ang="0">
                    <a:pos x="1216" y="539"/>
                  </a:cxn>
                  <a:cxn ang="0">
                    <a:pos x="1188" y="517"/>
                  </a:cxn>
                  <a:cxn ang="0">
                    <a:pos x="1123" y="479"/>
                  </a:cxn>
                  <a:cxn ang="0">
                    <a:pos x="1042" y="441"/>
                  </a:cxn>
                  <a:cxn ang="0">
                    <a:pos x="944" y="408"/>
                  </a:cxn>
                  <a:cxn ang="0">
                    <a:pos x="841" y="381"/>
                  </a:cxn>
                  <a:cxn ang="0">
                    <a:pos x="727" y="348"/>
                  </a:cxn>
                  <a:cxn ang="0">
                    <a:pos x="613" y="321"/>
                  </a:cxn>
                  <a:cxn ang="0">
                    <a:pos x="499" y="294"/>
                  </a:cxn>
                  <a:cxn ang="0">
                    <a:pos x="391" y="261"/>
                  </a:cxn>
                  <a:cxn ang="0">
                    <a:pos x="288" y="229"/>
                  </a:cxn>
                  <a:cxn ang="0">
                    <a:pos x="195" y="196"/>
                  </a:cxn>
                  <a:cxn ang="0">
                    <a:pos x="119" y="152"/>
                  </a:cxn>
                  <a:cxn ang="0">
                    <a:pos x="54" y="109"/>
                  </a:cxn>
                  <a:cxn ang="0">
                    <a:pos x="33" y="87"/>
                  </a:cxn>
                  <a:cxn ang="0">
                    <a:pos x="16" y="60"/>
                  </a:cxn>
                  <a:cxn ang="0">
                    <a:pos x="5" y="33"/>
                  </a:cxn>
                  <a:cxn ang="0">
                    <a:pos x="0" y="0"/>
                  </a:cxn>
                  <a:cxn ang="0">
                    <a:pos x="0" y="6"/>
                  </a:cxn>
                  <a:cxn ang="0">
                    <a:pos x="0" y="11"/>
                  </a:cxn>
                  <a:cxn ang="0">
                    <a:pos x="0" y="38"/>
                  </a:cxn>
                  <a:cxn ang="0">
                    <a:pos x="5" y="60"/>
                  </a:cxn>
                  <a:cxn ang="0">
                    <a:pos x="16" y="87"/>
                  </a:cxn>
                  <a:cxn ang="0">
                    <a:pos x="33" y="114"/>
                  </a:cxn>
                  <a:cxn ang="0">
                    <a:pos x="54" y="142"/>
                  </a:cxn>
                  <a:cxn ang="0">
                    <a:pos x="87" y="174"/>
                  </a:cxn>
                  <a:cxn ang="0">
                    <a:pos x="125" y="207"/>
                  </a:cxn>
                  <a:cxn ang="0">
                    <a:pos x="179" y="240"/>
                  </a:cxn>
                  <a:cxn ang="0">
                    <a:pos x="244" y="278"/>
                  </a:cxn>
                  <a:cxn ang="0">
                    <a:pos x="326" y="310"/>
                  </a:cxn>
                  <a:cxn ang="0">
                    <a:pos x="418" y="348"/>
                  </a:cxn>
                  <a:cxn ang="0">
                    <a:pos x="526" y="381"/>
                  </a:cxn>
                  <a:cxn ang="0">
                    <a:pos x="657" y="414"/>
                  </a:cxn>
                  <a:cxn ang="0">
                    <a:pos x="749" y="435"/>
                  </a:cxn>
                  <a:cxn ang="0">
                    <a:pos x="830" y="463"/>
                  </a:cxn>
                  <a:cxn ang="0">
                    <a:pos x="901" y="490"/>
                  </a:cxn>
                  <a:cxn ang="0">
                    <a:pos x="966" y="512"/>
                  </a:cxn>
                  <a:cxn ang="0">
                    <a:pos x="1015" y="539"/>
                  </a:cxn>
                  <a:cxn ang="0">
                    <a:pos x="1053" y="566"/>
                  </a:cxn>
                  <a:cxn ang="0">
                    <a:pos x="1080" y="593"/>
                  </a:cxn>
                  <a:cxn ang="0">
                    <a:pos x="1102" y="620"/>
                  </a:cxn>
                  <a:cxn ang="0">
                    <a:pos x="1112" y="648"/>
                  </a:cxn>
                  <a:cxn ang="0">
                    <a:pos x="1118" y="675"/>
                  </a:cxn>
                  <a:cxn ang="0">
                    <a:pos x="1112" y="697"/>
                  </a:cxn>
                  <a:cxn ang="0">
                    <a:pos x="1096" y="724"/>
                  </a:cxn>
                  <a:cxn ang="0">
                    <a:pos x="1080" y="746"/>
                  </a:cxn>
                  <a:cxn ang="0">
                    <a:pos x="1053" y="767"/>
                  </a:cxn>
                  <a:cxn ang="0">
                    <a:pos x="1015" y="789"/>
                  </a:cxn>
                  <a:cxn ang="0">
                    <a:pos x="977" y="811"/>
                  </a:cxn>
                  <a:cxn ang="0">
                    <a:pos x="1047" y="789"/>
                  </a:cxn>
                  <a:cxn ang="0">
                    <a:pos x="1107" y="767"/>
                  </a:cxn>
                  <a:cxn ang="0">
                    <a:pos x="1156" y="746"/>
                  </a:cxn>
                  <a:cxn ang="0">
                    <a:pos x="1199" y="724"/>
                  </a:cxn>
                  <a:cxn ang="0">
                    <a:pos x="1226" y="702"/>
                  </a:cxn>
                  <a:cxn ang="0">
                    <a:pos x="1248" y="675"/>
                  </a:cxn>
                  <a:cxn ang="0">
                    <a:pos x="1259" y="648"/>
                  </a:cxn>
                  <a:cxn ang="0">
                    <a:pos x="1259" y="615"/>
                  </a:cxn>
                  <a:cxn ang="0">
                    <a:pos x="1259" y="615"/>
                  </a:cxn>
                </a:cxnLst>
                <a:rect l="0" t="0" r="r" b="b"/>
                <a:pathLst>
                  <a:path w="1259" h="811">
                    <a:moveTo>
                      <a:pt x="1259" y="615"/>
                    </a:moveTo>
                    <a:lnTo>
                      <a:pt x="1248" y="588"/>
                    </a:lnTo>
                    <a:lnTo>
                      <a:pt x="1237" y="566"/>
                    </a:lnTo>
                    <a:lnTo>
                      <a:pt x="1216" y="539"/>
                    </a:lnTo>
                    <a:lnTo>
                      <a:pt x="1188" y="517"/>
                    </a:lnTo>
                    <a:lnTo>
                      <a:pt x="1123" y="479"/>
                    </a:lnTo>
                    <a:lnTo>
                      <a:pt x="1042" y="441"/>
                    </a:lnTo>
                    <a:lnTo>
                      <a:pt x="944" y="408"/>
                    </a:lnTo>
                    <a:lnTo>
                      <a:pt x="841" y="381"/>
                    </a:lnTo>
                    <a:lnTo>
                      <a:pt x="727" y="348"/>
                    </a:lnTo>
                    <a:lnTo>
                      <a:pt x="613" y="321"/>
                    </a:lnTo>
                    <a:lnTo>
                      <a:pt x="499" y="294"/>
                    </a:lnTo>
                    <a:lnTo>
                      <a:pt x="391" y="261"/>
                    </a:lnTo>
                    <a:lnTo>
                      <a:pt x="288" y="229"/>
                    </a:lnTo>
                    <a:lnTo>
                      <a:pt x="195" y="196"/>
                    </a:lnTo>
                    <a:lnTo>
                      <a:pt x="119" y="152"/>
                    </a:lnTo>
                    <a:lnTo>
                      <a:pt x="54" y="109"/>
                    </a:lnTo>
                    <a:lnTo>
                      <a:pt x="33" y="87"/>
                    </a:lnTo>
                    <a:lnTo>
                      <a:pt x="16" y="60"/>
                    </a:lnTo>
                    <a:lnTo>
                      <a:pt x="5" y="33"/>
                    </a:lnTo>
                    <a:lnTo>
                      <a:pt x="0" y="0"/>
                    </a:lnTo>
                    <a:lnTo>
                      <a:pt x="0" y="6"/>
                    </a:lnTo>
                    <a:lnTo>
                      <a:pt x="0" y="11"/>
                    </a:lnTo>
                    <a:lnTo>
                      <a:pt x="0" y="38"/>
                    </a:lnTo>
                    <a:lnTo>
                      <a:pt x="5" y="60"/>
                    </a:lnTo>
                    <a:lnTo>
                      <a:pt x="16" y="87"/>
                    </a:lnTo>
                    <a:lnTo>
                      <a:pt x="33" y="114"/>
                    </a:lnTo>
                    <a:lnTo>
                      <a:pt x="54" y="142"/>
                    </a:lnTo>
                    <a:lnTo>
                      <a:pt x="87" y="174"/>
                    </a:lnTo>
                    <a:lnTo>
                      <a:pt x="125" y="207"/>
                    </a:lnTo>
                    <a:lnTo>
                      <a:pt x="179" y="240"/>
                    </a:lnTo>
                    <a:lnTo>
                      <a:pt x="244" y="278"/>
                    </a:lnTo>
                    <a:lnTo>
                      <a:pt x="326" y="310"/>
                    </a:lnTo>
                    <a:lnTo>
                      <a:pt x="418" y="348"/>
                    </a:lnTo>
                    <a:lnTo>
                      <a:pt x="526" y="381"/>
                    </a:lnTo>
                    <a:lnTo>
                      <a:pt x="657" y="414"/>
                    </a:lnTo>
                    <a:lnTo>
                      <a:pt x="749" y="435"/>
                    </a:lnTo>
                    <a:lnTo>
                      <a:pt x="830" y="463"/>
                    </a:lnTo>
                    <a:lnTo>
                      <a:pt x="901" y="490"/>
                    </a:lnTo>
                    <a:lnTo>
                      <a:pt x="966" y="512"/>
                    </a:lnTo>
                    <a:lnTo>
                      <a:pt x="1015" y="539"/>
                    </a:lnTo>
                    <a:lnTo>
                      <a:pt x="1053" y="566"/>
                    </a:lnTo>
                    <a:lnTo>
                      <a:pt x="1080" y="593"/>
                    </a:lnTo>
                    <a:lnTo>
                      <a:pt x="1102" y="620"/>
                    </a:lnTo>
                    <a:lnTo>
                      <a:pt x="1112" y="648"/>
                    </a:lnTo>
                    <a:lnTo>
                      <a:pt x="1118" y="675"/>
                    </a:lnTo>
                    <a:lnTo>
                      <a:pt x="1112" y="697"/>
                    </a:lnTo>
                    <a:lnTo>
                      <a:pt x="1096" y="724"/>
                    </a:lnTo>
                    <a:lnTo>
                      <a:pt x="1080" y="746"/>
                    </a:lnTo>
                    <a:lnTo>
                      <a:pt x="1053" y="767"/>
                    </a:lnTo>
                    <a:lnTo>
                      <a:pt x="1015" y="789"/>
                    </a:lnTo>
                    <a:lnTo>
                      <a:pt x="977" y="811"/>
                    </a:lnTo>
                    <a:lnTo>
                      <a:pt x="1047" y="789"/>
                    </a:lnTo>
                    <a:lnTo>
                      <a:pt x="1107" y="767"/>
                    </a:lnTo>
                    <a:lnTo>
                      <a:pt x="1156" y="746"/>
                    </a:lnTo>
                    <a:lnTo>
                      <a:pt x="1199" y="724"/>
                    </a:lnTo>
                    <a:lnTo>
                      <a:pt x="1226" y="702"/>
                    </a:lnTo>
                    <a:lnTo>
                      <a:pt x="1248" y="675"/>
                    </a:lnTo>
                    <a:lnTo>
                      <a:pt x="1259" y="648"/>
                    </a:lnTo>
                    <a:lnTo>
                      <a:pt x="1259" y="615"/>
                    </a:lnTo>
                    <a:lnTo>
                      <a:pt x="1259" y="615"/>
                    </a:lnTo>
                    <a:close/>
                  </a:path>
                </a:pathLst>
              </a:custGeom>
              <a:gradFill rotWithShape="0">
                <a:gsLst>
                  <a:gs pos="0">
                    <a:schemeClr val="bg1"/>
                  </a:gs>
                  <a:gs pos="100000">
                    <a:schemeClr val="bg1">
                      <a:gamma/>
                      <a:shade val="90980"/>
                      <a:invGamma/>
                    </a:schemeClr>
                  </a:gs>
                </a:gsLst>
                <a:lin ang="2700000" scaled="1"/>
              </a:gradFill>
              <a:ln w="9525">
                <a:noFill/>
                <a:round/>
                <a:headEnd/>
                <a:tailEnd/>
              </a:ln>
            </p:spPr>
            <p:txBody>
              <a:bodyPr/>
              <a:lstStyle/>
              <a:p>
                <a:pPr eaLnBrk="0" hangingPunct="0">
                  <a:defRPr/>
                </a:pPr>
                <a:endParaRPr lang="en-US" sz="1800">
                  <a:solidFill>
                    <a:srgbClr val="FFFFFF"/>
                  </a:solidFill>
                  <a:latin typeface="+mn-lt"/>
                  <a:cs typeface="+mn-cs"/>
                </a:endParaRPr>
              </a:p>
            </p:txBody>
          </p:sp>
          <p:sp>
            <p:nvSpPr>
              <p:cNvPr id="11" name="Freeform 8">
                <a:extLst>
                  <a:ext uri="{FF2B5EF4-FFF2-40B4-BE49-F238E27FC236}">
                    <a16:creationId xmlns:a16="http://schemas.microsoft.com/office/drawing/2014/main" id="{EF2C1CC7-D366-4E4A-85D4-82CE83A7DB1C}"/>
                  </a:ext>
                </a:extLst>
              </p:cNvPr>
              <p:cNvSpPr>
                <a:spLocks/>
              </p:cNvSpPr>
              <p:nvPr/>
            </p:nvSpPr>
            <p:spPr bwMode="hidden">
              <a:xfrm>
                <a:off x="2900" y="3346"/>
                <a:ext cx="2849" cy="969"/>
              </a:xfrm>
              <a:custGeom>
                <a:avLst/>
                <a:gdLst/>
                <a:ahLst/>
                <a:cxnLst>
                  <a:cxn ang="0">
                    <a:pos x="92" y="958"/>
                  </a:cxn>
                  <a:cxn ang="0">
                    <a:pos x="0" y="969"/>
                  </a:cxn>
                  <a:cxn ang="0">
                    <a:pos x="391" y="969"/>
                  </a:cxn>
                  <a:cxn ang="0">
                    <a:pos x="434" y="947"/>
                  </a:cxn>
                  <a:cxn ang="0">
                    <a:pos x="483" y="914"/>
                  </a:cxn>
                  <a:cxn ang="0">
                    <a:pos x="554" y="876"/>
                  </a:cxn>
                  <a:cxn ang="0">
                    <a:pos x="635" y="838"/>
                  </a:cxn>
                  <a:cxn ang="0">
                    <a:pos x="727" y="794"/>
                  </a:cxn>
                  <a:cxn ang="0">
                    <a:pos x="836" y="745"/>
                  </a:cxn>
                  <a:cxn ang="0">
                    <a:pos x="961" y="696"/>
                  </a:cxn>
                  <a:cxn ang="0">
                    <a:pos x="1102" y="642"/>
                  </a:cxn>
                  <a:cxn ang="0">
                    <a:pos x="1259" y="582"/>
                  </a:cxn>
                  <a:cxn ang="0">
                    <a:pos x="1433" y="522"/>
                  </a:cxn>
                  <a:cxn ang="0">
                    <a:pos x="1623" y="462"/>
                  </a:cxn>
                  <a:cxn ang="0">
                    <a:pos x="1829" y="403"/>
                  </a:cxn>
                  <a:cxn ang="0">
                    <a:pos x="2057" y="343"/>
                  </a:cxn>
                  <a:cxn ang="0">
                    <a:pos x="2301" y="283"/>
                  </a:cxn>
                  <a:cxn ang="0">
                    <a:pos x="2567" y="223"/>
                  </a:cxn>
                  <a:cxn ang="0">
                    <a:pos x="2849" y="163"/>
                  </a:cxn>
                  <a:cxn ang="0">
                    <a:pos x="2849" y="0"/>
                  </a:cxn>
                  <a:cxn ang="0">
                    <a:pos x="2817" y="16"/>
                  </a:cxn>
                  <a:cxn ang="0">
                    <a:pos x="2773" y="33"/>
                  </a:cxn>
                  <a:cxn ang="0">
                    <a:pos x="2719" y="54"/>
                  </a:cxn>
                  <a:cxn ang="0">
                    <a:pos x="2648" y="76"/>
                  </a:cxn>
                  <a:cxn ang="0">
                    <a:pos x="2572" y="98"/>
                  </a:cxn>
                  <a:cxn ang="0">
                    <a:pos x="2491" y="120"/>
                  </a:cxn>
                  <a:cxn ang="0">
                    <a:pos x="2399" y="147"/>
                  </a:cxn>
                  <a:cxn ang="0">
                    <a:pos x="2301" y="169"/>
                  </a:cxn>
                  <a:cxn ang="0">
                    <a:pos x="2095" y="223"/>
                  </a:cxn>
                  <a:cxn ang="0">
                    <a:pos x="1889" y="277"/>
                  </a:cxn>
                  <a:cxn ang="0">
                    <a:pos x="1688" y="326"/>
                  </a:cxn>
                  <a:cxn ang="0">
                    <a:pos x="1590" y="354"/>
                  </a:cxn>
                  <a:cxn ang="0">
                    <a:pos x="1503" y="381"/>
                  </a:cxn>
                  <a:cxn ang="0">
                    <a:pos x="1107" y="506"/>
                  </a:cxn>
                  <a:cxn ang="0">
                    <a:pos x="912" y="577"/>
                  </a:cxn>
                  <a:cxn ang="0">
                    <a:pos x="727" y="647"/>
                  </a:cxn>
                  <a:cxn ang="0">
                    <a:pos x="548" y="718"/>
                  </a:cxn>
                  <a:cxn ang="0">
                    <a:pos x="380" y="794"/>
                  </a:cxn>
                  <a:cxn ang="0">
                    <a:pos x="228" y="876"/>
                  </a:cxn>
                  <a:cxn ang="0">
                    <a:pos x="92" y="958"/>
                  </a:cxn>
                  <a:cxn ang="0">
                    <a:pos x="92" y="958"/>
                  </a:cxn>
                </a:cxnLst>
                <a:rect l="0" t="0" r="r" b="b"/>
                <a:pathLst>
                  <a:path w="2849" h="969">
                    <a:moveTo>
                      <a:pt x="92" y="958"/>
                    </a:moveTo>
                    <a:lnTo>
                      <a:pt x="0" y="969"/>
                    </a:lnTo>
                    <a:lnTo>
                      <a:pt x="391" y="969"/>
                    </a:lnTo>
                    <a:lnTo>
                      <a:pt x="434" y="947"/>
                    </a:lnTo>
                    <a:lnTo>
                      <a:pt x="483" y="914"/>
                    </a:lnTo>
                    <a:lnTo>
                      <a:pt x="554" y="876"/>
                    </a:lnTo>
                    <a:lnTo>
                      <a:pt x="635" y="838"/>
                    </a:lnTo>
                    <a:lnTo>
                      <a:pt x="727" y="794"/>
                    </a:lnTo>
                    <a:lnTo>
                      <a:pt x="836" y="745"/>
                    </a:lnTo>
                    <a:lnTo>
                      <a:pt x="961" y="696"/>
                    </a:lnTo>
                    <a:lnTo>
                      <a:pt x="1102" y="642"/>
                    </a:lnTo>
                    <a:lnTo>
                      <a:pt x="1259" y="582"/>
                    </a:lnTo>
                    <a:lnTo>
                      <a:pt x="1433" y="522"/>
                    </a:lnTo>
                    <a:lnTo>
                      <a:pt x="1623" y="462"/>
                    </a:lnTo>
                    <a:lnTo>
                      <a:pt x="1829" y="403"/>
                    </a:lnTo>
                    <a:lnTo>
                      <a:pt x="2057" y="343"/>
                    </a:lnTo>
                    <a:lnTo>
                      <a:pt x="2301" y="283"/>
                    </a:lnTo>
                    <a:lnTo>
                      <a:pt x="2567" y="223"/>
                    </a:lnTo>
                    <a:lnTo>
                      <a:pt x="2849" y="163"/>
                    </a:lnTo>
                    <a:lnTo>
                      <a:pt x="2849" y="0"/>
                    </a:lnTo>
                    <a:lnTo>
                      <a:pt x="2817" y="16"/>
                    </a:lnTo>
                    <a:lnTo>
                      <a:pt x="2773" y="33"/>
                    </a:lnTo>
                    <a:lnTo>
                      <a:pt x="2719" y="54"/>
                    </a:lnTo>
                    <a:lnTo>
                      <a:pt x="2648" y="76"/>
                    </a:lnTo>
                    <a:lnTo>
                      <a:pt x="2572" y="98"/>
                    </a:lnTo>
                    <a:lnTo>
                      <a:pt x="2491" y="120"/>
                    </a:lnTo>
                    <a:lnTo>
                      <a:pt x="2399" y="147"/>
                    </a:lnTo>
                    <a:lnTo>
                      <a:pt x="2301" y="169"/>
                    </a:lnTo>
                    <a:lnTo>
                      <a:pt x="2095" y="223"/>
                    </a:lnTo>
                    <a:lnTo>
                      <a:pt x="1889" y="277"/>
                    </a:lnTo>
                    <a:lnTo>
                      <a:pt x="1688" y="326"/>
                    </a:lnTo>
                    <a:lnTo>
                      <a:pt x="1590" y="354"/>
                    </a:lnTo>
                    <a:lnTo>
                      <a:pt x="1503" y="381"/>
                    </a:lnTo>
                    <a:lnTo>
                      <a:pt x="1107" y="506"/>
                    </a:lnTo>
                    <a:lnTo>
                      <a:pt x="912" y="577"/>
                    </a:lnTo>
                    <a:lnTo>
                      <a:pt x="727" y="647"/>
                    </a:lnTo>
                    <a:lnTo>
                      <a:pt x="548" y="718"/>
                    </a:lnTo>
                    <a:lnTo>
                      <a:pt x="380" y="794"/>
                    </a:lnTo>
                    <a:lnTo>
                      <a:pt x="228" y="876"/>
                    </a:lnTo>
                    <a:lnTo>
                      <a:pt x="92" y="958"/>
                    </a:lnTo>
                    <a:lnTo>
                      <a:pt x="92" y="958"/>
                    </a:lnTo>
                    <a:close/>
                  </a:path>
                </a:pathLst>
              </a:custGeom>
              <a:gradFill rotWithShape="0">
                <a:gsLst>
                  <a:gs pos="0">
                    <a:schemeClr val="bg1">
                      <a:gamma/>
                      <a:shade val="81961"/>
                      <a:invGamma/>
                    </a:schemeClr>
                  </a:gs>
                  <a:gs pos="100000">
                    <a:schemeClr val="bg1"/>
                  </a:gs>
                </a:gsLst>
                <a:lin ang="5400000" scaled="1"/>
              </a:gradFill>
              <a:ln w="9525">
                <a:noFill/>
                <a:round/>
                <a:headEnd/>
                <a:tailEnd/>
              </a:ln>
            </p:spPr>
            <p:txBody>
              <a:bodyPr/>
              <a:lstStyle/>
              <a:p>
                <a:pPr eaLnBrk="0" hangingPunct="0">
                  <a:defRPr/>
                </a:pPr>
                <a:endParaRPr lang="en-US" sz="1800">
                  <a:solidFill>
                    <a:srgbClr val="FFFFFF"/>
                  </a:solidFill>
                  <a:latin typeface="+mn-lt"/>
                  <a:cs typeface="+mn-cs"/>
                </a:endParaRPr>
              </a:p>
            </p:txBody>
          </p:sp>
          <p:sp>
            <p:nvSpPr>
              <p:cNvPr id="12" name="Freeform 9">
                <a:extLst>
                  <a:ext uri="{FF2B5EF4-FFF2-40B4-BE49-F238E27FC236}">
                    <a16:creationId xmlns:a16="http://schemas.microsoft.com/office/drawing/2014/main" id="{AA62CE2D-9EE2-4791-AA20-1326948EF08C}"/>
                  </a:ext>
                </a:extLst>
              </p:cNvPr>
              <p:cNvSpPr>
                <a:spLocks/>
              </p:cNvSpPr>
              <p:nvPr/>
            </p:nvSpPr>
            <p:spPr bwMode="hidden">
              <a:xfrm>
                <a:off x="2748" y="2230"/>
                <a:ext cx="3007" cy="2085"/>
              </a:xfrm>
              <a:custGeom>
                <a:avLst/>
                <a:gdLst>
                  <a:gd name="T0" fmla="*/ 1433 w 3007"/>
                  <a:gd name="T1" fmla="*/ 474 h 2085"/>
                  <a:gd name="T2" fmla="*/ 1460 w 3007"/>
                  <a:gd name="T3" fmla="*/ 528 h 2085"/>
                  <a:gd name="T4" fmla="*/ 1541 w 3007"/>
                  <a:gd name="T5" fmla="*/ 593 h 2085"/>
                  <a:gd name="T6" fmla="*/ 1715 w 3007"/>
                  <a:gd name="T7" fmla="*/ 670 h 2085"/>
                  <a:gd name="T8" fmla="*/ 1927 w 3007"/>
                  <a:gd name="T9" fmla="*/ 735 h 2085"/>
                  <a:gd name="T10" fmla="*/ 2155 w 3007"/>
                  <a:gd name="T11" fmla="*/ 789 h 2085"/>
                  <a:gd name="T12" fmla="*/ 2372 w 3007"/>
                  <a:gd name="T13" fmla="*/ 849 h 2085"/>
                  <a:gd name="T14" fmla="*/ 2551 w 3007"/>
                  <a:gd name="T15" fmla="*/ 920 h 2085"/>
                  <a:gd name="T16" fmla="*/ 2638 w 3007"/>
                  <a:gd name="T17" fmla="*/ 980 h 2085"/>
                  <a:gd name="T18" fmla="*/ 2676 w 3007"/>
                  <a:gd name="T19" fmla="*/ 1029 h 2085"/>
                  <a:gd name="T20" fmla="*/ 2681 w 3007"/>
                  <a:gd name="T21" fmla="*/ 1083 h 2085"/>
                  <a:gd name="T22" fmla="*/ 2665 w 3007"/>
                  <a:gd name="T23" fmla="*/ 1127 h 2085"/>
                  <a:gd name="T24" fmla="*/ 2616 w 3007"/>
                  <a:gd name="T25" fmla="*/ 1170 h 2085"/>
                  <a:gd name="T26" fmla="*/ 2545 w 3007"/>
                  <a:gd name="T27" fmla="*/ 1208 h 2085"/>
                  <a:gd name="T28" fmla="*/ 2448 w 3007"/>
                  <a:gd name="T29" fmla="*/ 1241 h 2085"/>
                  <a:gd name="T30" fmla="*/ 2328 w 3007"/>
                  <a:gd name="T31" fmla="*/ 1274 h 2085"/>
                  <a:gd name="T32" fmla="*/ 2106 w 3007"/>
                  <a:gd name="T33" fmla="*/ 1328 h 2085"/>
                  <a:gd name="T34" fmla="*/ 1742 w 3007"/>
                  <a:gd name="T35" fmla="*/ 1421 h 2085"/>
                  <a:gd name="T36" fmla="*/ 1308 w 3007"/>
                  <a:gd name="T37" fmla="*/ 1540 h 2085"/>
                  <a:gd name="T38" fmla="*/ 820 w 3007"/>
                  <a:gd name="T39" fmla="*/ 1709 h 2085"/>
                  <a:gd name="T40" fmla="*/ 282 w 3007"/>
                  <a:gd name="T41" fmla="*/ 1943 h 2085"/>
                  <a:gd name="T42" fmla="*/ 152 w 3007"/>
                  <a:gd name="T43" fmla="*/ 2085 h 2085"/>
                  <a:gd name="T44" fmla="*/ 386 w 3007"/>
                  <a:gd name="T45" fmla="*/ 1992 h 2085"/>
                  <a:gd name="T46" fmla="*/ 700 w 3007"/>
                  <a:gd name="T47" fmla="*/ 1834 h 2085"/>
                  <a:gd name="T48" fmla="*/ 1064 w 3007"/>
                  <a:gd name="T49" fmla="*/ 1693 h 2085"/>
                  <a:gd name="T50" fmla="*/ 1661 w 3007"/>
                  <a:gd name="T51" fmla="*/ 1497 h 2085"/>
                  <a:gd name="T52" fmla="*/ 1845 w 3007"/>
                  <a:gd name="T53" fmla="*/ 1442 h 2085"/>
                  <a:gd name="T54" fmla="*/ 2252 w 3007"/>
                  <a:gd name="T55" fmla="*/ 1339 h 2085"/>
                  <a:gd name="T56" fmla="*/ 2551 w 3007"/>
                  <a:gd name="T57" fmla="*/ 1263 h 2085"/>
                  <a:gd name="T58" fmla="*/ 2730 w 3007"/>
                  <a:gd name="T59" fmla="*/ 1214 h 2085"/>
                  <a:gd name="T60" fmla="*/ 2876 w 3007"/>
                  <a:gd name="T61" fmla="*/ 1170 h 2085"/>
                  <a:gd name="T62" fmla="*/ 2974 w 3007"/>
                  <a:gd name="T63" fmla="*/ 1132 h 2085"/>
                  <a:gd name="T64" fmla="*/ 3007 w 3007"/>
                  <a:gd name="T65" fmla="*/ 871 h 2085"/>
                  <a:gd name="T66" fmla="*/ 2860 w 3007"/>
                  <a:gd name="T67" fmla="*/ 844 h 2085"/>
                  <a:gd name="T68" fmla="*/ 2670 w 3007"/>
                  <a:gd name="T69" fmla="*/ 806 h 2085"/>
                  <a:gd name="T70" fmla="*/ 2458 w 3007"/>
                  <a:gd name="T71" fmla="*/ 757 h 2085"/>
                  <a:gd name="T72" fmla="*/ 2138 w 3007"/>
                  <a:gd name="T73" fmla="*/ 670 h 2085"/>
                  <a:gd name="T74" fmla="*/ 1959 w 3007"/>
                  <a:gd name="T75" fmla="*/ 604 h 2085"/>
                  <a:gd name="T76" fmla="*/ 1824 w 3007"/>
                  <a:gd name="T77" fmla="*/ 534 h 2085"/>
                  <a:gd name="T78" fmla="*/ 1769 w 3007"/>
                  <a:gd name="T79" fmla="*/ 474 h 2085"/>
                  <a:gd name="T80" fmla="*/ 1753 w 3007"/>
                  <a:gd name="T81" fmla="*/ 436 h 2085"/>
                  <a:gd name="T82" fmla="*/ 1780 w 3007"/>
                  <a:gd name="T83" fmla="*/ 381 h 2085"/>
                  <a:gd name="T84" fmla="*/ 1862 w 3007"/>
                  <a:gd name="T85" fmla="*/ 316 h 2085"/>
                  <a:gd name="T86" fmla="*/ 1986 w 3007"/>
                  <a:gd name="T87" fmla="*/ 267 h 2085"/>
                  <a:gd name="T88" fmla="*/ 2149 w 3007"/>
                  <a:gd name="T89" fmla="*/ 229 h 2085"/>
                  <a:gd name="T90" fmla="*/ 2431 w 3007"/>
                  <a:gd name="T91" fmla="*/ 180 h 2085"/>
                  <a:gd name="T92" fmla="*/ 2827 w 3007"/>
                  <a:gd name="T93" fmla="*/ 125 h 2085"/>
                  <a:gd name="T94" fmla="*/ 3007 w 3007"/>
                  <a:gd name="T95" fmla="*/ 87 h 2085"/>
                  <a:gd name="T96" fmla="*/ 2909 w 3007"/>
                  <a:gd name="T97" fmla="*/ 22 h 2085"/>
                  <a:gd name="T98" fmla="*/ 2676 w 3007"/>
                  <a:gd name="T99" fmla="*/ 66 h 2085"/>
                  <a:gd name="T100" fmla="*/ 2285 w 3007"/>
                  <a:gd name="T101" fmla="*/ 120 h 2085"/>
                  <a:gd name="T102" fmla="*/ 2030 w 3007"/>
                  <a:gd name="T103" fmla="*/ 158 h 2085"/>
                  <a:gd name="T104" fmla="*/ 1791 w 3007"/>
                  <a:gd name="T105" fmla="*/ 202 h 2085"/>
                  <a:gd name="T106" fmla="*/ 1601 w 3007"/>
                  <a:gd name="T107" fmla="*/ 261 h 2085"/>
                  <a:gd name="T108" fmla="*/ 1471 w 3007"/>
                  <a:gd name="T109" fmla="*/ 338 h 2085"/>
                  <a:gd name="T110" fmla="*/ 1438 w 3007"/>
                  <a:gd name="T111" fmla="*/ 387 h 2085"/>
                  <a:gd name="T112" fmla="*/ 1427 w 3007"/>
                  <a:gd name="T113" fmla="*/ 441 h 2085"/>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3007" h="2085">
                    <a:moveTo>
                      <a:pt x="1427" y="441"/>
                    </a:moveTo>
                    <a:lnTo>
                      <a:pt x="1433" y="474"/>
                    </a:lnTo>
                    <a:lnTo>
                      <a:pt x="1444" y="501"/>
                    </a:lnTo>
                    <a:lnTo>
                      <a:pt x="1460" y="528"/>
                    </a:lnTo>
                    <a:lnTo>
                      <a:pt x="1482" y="550"/>
                    </a:lnTo>
                    <a:lnTo>
                      <a:pt x="1541" y="593"/>
                    </a:lnTo>
                    <a:lnTo>
                      <a:pt x="1623" y="637"/>
                    </a:lnTo>
                    <a:lnTo>
                      <a:pt x="1715" y="670"/>
                    </a:lnTo>
                    <a:lnTo>
                      <a:pt x="1818" y="702"/>
                    </a:lnTo>
                    <a:lnTo>
                      <a:pt x="1927" y="735"/>
                    </a:lnTo>
                    <a:lnTo>
                      <a:pt x="2041" y="762"/>
                    </a:lnTo>
                    <a:lnTo>
                      <a:pt x="2155" y="789"/>
                    </a:lnTo>
                    <a:lnTo>
                      <a:pt x="2269" y="822"/>
                    </a:lnTo>
                    <a:lnTo>
                      <a:pt x="2372" y="849"/>
                    </a:lnTo>
                    <a:lnTo>
                      <a:pt x="2464" y="882"/>
                    </a:lnTo>
                    <a:lnTo>
                      <a:pt x="2551" y="920"/>
                    </a:lnTo>
                    <a:lnTo>
                      <a:pt x="2616" y="958"/>
                    </a:lnTo>
                    <a:lnTo>
                      <a:pt x="2638" y="980"/>
                    </a:lnTo>
                    <a:lnTo>
                      <a:pt x="2659" y="1007"/>
                    </a:lnTo>
                    <a:lnTo>
                      <a:pt x="2676" y="1029"/>
                    </a:lnTo>
                    <a:lnTo>
                      <a:pt x="2681" y="1056"/>
                    </a:lnTo>
                    <a:lnTo>
                      <a:pt x="2681" y="1083"/>
                    </a:lnTo>
                    <a:lnTo>
                      <a:pt x="2676" y="1105"/>
                    </a:lnTo>
                    <a:lnTo>
                      <a:pt x="2665" y="1127"/>
                    </a:lnTo>
                    <a:lnTo>
                      <a:pt x="2643" y="1149"/>
                    </a:lnTo>
                    <a:lnTo>
                      <a:pt x="2616" y="1170"/>
                    </a:lnTo>
                    <a:lnTo>
                      <a:pt x="2583" y="1187"/>
                    </a:lnTo>
                    <a:lnTo>
                      <a:pt x="2545" y="1208"/>
                    </a:lnTo>
                    <a:lnTo>
                      <a:pt x="2502" y="1225"/>
                    </a:lnTo>
                    <a:lnTo>
                      <a:pt x="2448" y="1241"/>
                    </a:lnTo>
                    <a:lnTo>
                      <a:pt x="2388" y="1257"/>
                    </a:lnTo>
                    <a:lnTo>
                      <a:pt x="2328" y="1274"/>
                    </a:lnTo>
                    <a:lnTo>
                      <a:pt x="2258" y="1290"/>
                    </a:lnTo>
                    <a:lnTo>
                      <a:pt x="2106" y="1328"/>
                    </a:lnTo>
                    <a:lnTo>
                      <a:pt x="1932" y="1372"/>
                    </a:lnTo>
                    <a:lnTo>
                      <a:pt x="1742" y="1421"/>
                    </a:lnTo>
                    <a:lnTo>
                      <a:pt x="1531" y="1475"/>
                    </a:lnTo>
                    <a:lnTo>
                      <a:pt x="1308" y="1540"/>
                    </a:lnTo>
                    <a:lnTo>
                      <a:pt x="1069" y="1617"/>
                    </a:lnTo>
                    <a:lnTo>
                      <a:pt x="820" y="1709"/>
                    </a:lnTo>
                    <a:lnTo>
                      <a:pt x="554" y="1818"/>
                    </a:lnTo>
                    <a:lnTo>
                      <a:pt x="282" y="1943"/>
                    </a:lnTo>
                    <a:lnTo>
                      <a:pt x="0" y="2085"/>
                    </a:lnTo>
                    <a:lnTo>
                      <a:pt x="152" y="2085"/>
                    </a:lnTo>
                    <a:lnTo>
                      <a:pt x="244" y="2074"/>
                    </a:lnTo>
                    <a:lnTo>
                      <a:pt x="386" y="1992"/>
                    </a:lnTo>
                    <a:lnTo>
                      <a:pt x="537" y="1910"/>
                    </a:lnTo>
                    <a:lnTo>
                      <a:pt x="700" y="1834"/>
                    </a:lnTo>
                    <a:lnTo>
                      <a:pt x="879" y="1763"/>
                    </a:lnTo>
                    <a:lnTo>
                      <a:pt x="1064" y="1693"/>
                    </a:lnTo>
                    <a:lnTo>
                      <a:pt x="1259" y="1622"/>
                    </a:lnTo>
                    <a:lnTo>
                      <a:pt x="1661" y="1497"/>
                    </a:lnTo>
                    <a:lnTo>
                      <a:pt x="1748" y="1470"/>
                    </a:lnTo>
                    <a:lnTo>
                      <a:pt x="1845" y="1442"/>
                    </a:lnTo>
                    <a:lnTo>
                      <a:pt x="2046" y="1393"/>
                    </a:lnTo>
                    <a:lnTo>
                      <a:pt x="2252" y="1339"/>
                    </a:lnTo>
                    <a:lnTo>
                      <a:pt x="2458" y="1285"/>
                    </a:lnTo>
                    <a:lnTo>
                      <a:pt x="2551" y="1263"/>
                    </a:lnTo>
                    <a:lnTo>
                      <a:pt x="2643" y="1236"/>
                    </a:lnTo>
                    <a:lnTo>
                      <a:pt x="2730" y="1214"/>
                    </a:lnTo>
                    <a:lnTo>
                      <a:pt x="2806" y="1192"/>
                    </a:lnTo>
                    <a:lnTo>
                      <a:pt x="2876" y="1170"/>
                    </a:lnTo>
                    <a:lnTo>
                      <a:pt x="2931" y="1149"/>
                    </a:lnTo>
                    <a:lnTo>
                      <a:pt x="2974" y="1132"/>
                    </a:lnTo>
                    <a:lnTo>
                      <a:pt x="3007" y="1116"/>
                    </a:lnTo>
                    <a:lnTo>
                      <a:pt x="3007" y="871"/>
                    </a:lnTo>
                    <a:lnTo>
                      <a:pt x="2941" y="860"/>
                    </a:lnTo>
                    <a:lnTo>
                      <a:pt x="2860" y="844"/>
                    </a:lnTo>
                    <a:lnTo>
                      <a:pt x="2773" y="827"/>
                    </a:lnTo>
                    <a:lnTo>
                      <a:pt x="2670" y="806"/>
                    </a:lnTo>
                    <a:lnTo>
                      <a:pt x="2567" y="784"/>
                    </a:lnTo>
                    <a:lnTo>
                      <a:pt x="2458" y="757"/>
                    </a:lnTo>
                    <a:lnTo>
                      <a:pt x="2241" y="702"/>
                    </a:lnTo>
                    <a:lnTo>
                      <a:pt x="2138" y="670"/>
                    </a:lnTo>
                    <a:lnTo>
                      <a:pt x="2046" y="637"/>
                    </a:lnTo>
                    <a:lnTo>
                      <a:pt x="1959" y="604"/>
                    </a:lnTo>
                    <a:lnTo>
                      <a:pt x="1883" y="566"/>
                    </a:lnTo>
                    <a:lnTo>
                      <a:pt x="1824" y="534"/>
                    </a:lnTo>
                    <a:lnTo>
                      <a:pt x="1780" y="495"/>
                    </a:lnTo>
                    <a:lnTo>
                      <a:pt x="1769" y="474"/>
                    </a:lnTo>
                    <a:lnTo>
                      <a:pt x="1758" y="457"/>
                    </a:lnTo>
                    <a:lnTo>
                      <a:pt x="1753" y="436"/>
                    </a:lnTo>
                    <a:lnTo>
                      <a:pt x="1758" y="419"/>
                    </a:lnTo>
                    <a:lnTo>
                      <a:pt x="1780" y="381"/>
                    </a:lnTo>
                    <a:lnTo>
                      <a:pt x="1813" y="343"/>
                    </a:lnTo>
                    <a:lnTo>
                      <a:pt x="1862" y="316"/>
                    </a:lnTo>
                    <a:lnTo>
                      <a:pt x="1921" y="289"/>
                    </a:lnTo>
                    <a:lnTo>
                      <a:pt x="1986" y="267"/>
                    </a:lnTo>
                    <a:lnTo>
                      <a:pt x="2062" y="245"/>
                    </a:lnTo>
                    <a:lnTo>
                      <a:pt x="2149" y="229"/>
                    </a:lnTo>
                    <a:lnTo>
                      <a:pt x="2236" y="213"/>
                    </a:lnTo>
                    <a:lnTo>
                      <a:pt x="2431" y="180"/>
                    </a:lnTo>
                    <a:lnTo>
                      <a:pt x="2627" y="158"/>
                    </a:lnTo>
                    <a:lnTo>
                      <a:pt x="2827" y="125"/>
                    </a:lnTo>
                    <a:lnTo>
                      <a:pt x="2920" y="109"/>
                    </a:lnTo>
                    <a:lnTo>
                      <a:pt x="3007" y="87"/>
                    </a:lnTo>
                    <a:lnTo>
                      <a:pt x="3007" y="0"/>
                    </a:lnTo>
                    <a:lnTo>
                      <a:pt x="2909" y="22"/>
                    </a:lnTo>
                    <a:lnTo>
                      <a:pt x="2795" y="44"/>
                    </a:lnTo>
                    <a:lnTo>
                      <a:pt x="2676" y="66"/>
                    </a:lnTo>
                    <a:lnTo>
                      <a:pt x="2551" y="82"/>
                    </a:lnTo>
                    <a:lnTo>
                      <a:pt x="2285" y="120"/>
                    </a:lnTo>
                    <a:lnTo>
                      <a:pt x="2155" y="136"/>
                    </a:lnTo>
                    <a:lnTo>
                      <a:pt x="2030" y="158"/>
                    </a:lnTo>
                    <a:lnTo>
                      <a:pt x="1905" y="174"/>
                    </a:lnTo>
                    <a:lnTo>
                      <a:pt x="1791" y="202"/>
                    </a:lnTo>
                    <a:lnTo>
                      <a:pt x="1688" y="229"/>
                    </a:lnTo>
                    <a:lnTo>
                      <a:pt x="1601" y="261"/>
                    </a:lnTo>
                    <a:lnTo>
                      <a:pt x="1525" y="300"/>
                    </a:lnTo>
                    <a:lnTo>
                      <a:pt x="1471" y="338"/>
                    </a:lnTo>
                    <a:lnTo>
                      <a:pt x="1455" y="359"/>
                    </a:lnTo>
                    <a:lnTo>
                      <a:pt x="1438" y="387"/>
                    </a:lnTo>
                    <a:lnTo>
                      <a:pt x="1427" y="414"/>
                    </a:lnTo>
                    <a:lnTo>
                      <a:pt x="1427" y="44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800"/>
              </a:p>
            </p:txBody>
          </p:sp>
          <p:sp>
            <p:nvSpPr>
              <p:cNvPr id="13" name="Freeform 10">
                <a:extLst>
                  <a:ext uri="{FF2B5EF4-FFF2-40B4-BE49-F238E27FC236}">
                    <a16:creationId xmlns:a16="http://schemas.microsoft.com/office/drawing/2014/main" id="{59E969E5-60E8-4675-B886-B885D47F793E}"/>
                  </a:ext>
                </a:extLst>
              </p:cNvPr>
              <p:cNvSpPr>
                <a:spLocks/>
              </p:cNvSpPr>
              <p:nvPr/>
            </p:nvSpPr>
            <p:spPr bwMode="hidden">
              <a:xfrm>
                <a:off x="4501" y="2317"/>
                <a:ext cx="1248" cy="539"/>
              </a:xfrm>
              <a:custGeom>
                <a:avLst/>
                <a:gdLst/>
                <a:ahLst/>
                <a:cxnLst>
                  <a:cxn ang="0">
                    <a:pos x="0" y="332"/>
                  </a:cxn>
                  <a:cxn ang="0">
                    <a:pos x="0" y="360"/>
                  </a:cxn>
                  <a:cxn ang="0">
                    <a:pos x="5" y="387"/>
                  </a:cxn>
                  <a:cxn ang="0">
                    <a:pos x="27" y="414"/>
                  </a:cxn>
                  <a:cxn ang="0">
                    <a:pos x="54" y="436"/>
                  </a:cxn>
                  <a:cxn ang="0">
                    <a:pos x="92" y="463"/>
                  </a:cxn>
                  <a:cxn ang="0">
                    <a:pos x="141" y="490"/>
                  </a:cxn>
                  <a:cxn ang="0">
                    <a:pos x="195" y="512"/>
                  </a:cxn>
                  <a:cxn ang="0">
                    <a:pos x="255" y="539"/>
                  </a:cxn>
                  <a:cxn ang="0">
                    <a:pos x="212" y="517"/>
                  </a:cxn>
                  <a:cxn ang="0">
                    <a:pos x="179" y="490"/>
                  </a:cxn>
                  <a:cxn ang="0">
                    <a:pos x="157" y="468"/>
                  </a:cxn>
                  <a:cxn ang="0">
                    <a:pos x="141" y="447"/>
                  </a:cxn>
                  <a:cxn ang="0">
                    <a:pos x="136" y="425"/>
                  </a:cxn>
                  <a:cxn ang="0">
                    <a:pos x="136" y="403"/>
                  </a:cxn>
                  <a:cxn ang="0">
                    <a:pos x="141" y="381"/>
                  </a:cxn>
                  <a:cxn ang="0">
                    <a:pos x="157" y="365"/>
                  </a:cxn>
                  <a:cxn ang="0">
                    <a:pos x="179" y="343"/>
                  </a:cxn>
                  <a:cxn ang="0">
                    <a:pos x="201" y="327"/>
                  </a:cxn>
                  <a:cxn ang="0">
                    <a:pos x="266" y="294"/>
                  </a:cxn>
                  <a:cxn ang="0">
                    <a:pos x="353" y="262"/>
                  </a:cxn>
                  <a:cxn ang="0">
                    <a:pos x="445" y="234"/>
                  </a:cxn>
                  <a:cxn ang="0">
                    <a:pos x="554" y="213"/>
                  </a:cxn>
                  <a:cxn ang="0">
                    <a:pos x="662" y="191"/>
                  </a:cxn>
                  <a:cxn ang="0">
                    <a:pos x="890" y="153"/>
                  </a:cxn>
                  <a:cxn ang="0">
                    <a:pos x="993" y="136"/>
                  </a:cxn>
                  <a:cxn ang="0">
                    <a:pos x="1091" y="120"/>
                  </a:cxn>
                  <a:cxn ang="0">
                    <a:pos x="1178" y="115"/>
                  </a:cxn>
                  <a:cxn ang="0">
                    <a:pos x="1248" y="104"/>
                  </a:cxn>
                  <a:cxn ang="0">
                    <a:pos x="1248" y="0"/>
                  </a:cxn>
                  <a:cxn ang="0">
                    <a:pos x="1161" y="22"/>
                  </a:cxn>
                  <a:cxn ang="0">
                    <a:pos x="1069" y="38"/>
                  </a:cxn>
                  <a:cxn ang="0">
                    <a:pos x="874" y="71"/>
                  </a:cxn>
                  <a:cxn ang="0">
                    <a:pos x="673" y="93"/>
                  </a:cxn>
                  <a:cxn ang="0">
                    <a:pos x="483" y="126"/>
                  </a:cxn>
                  <a:cxn ang="0">
                    <a:pos x="391" y="142"/>
                  </a:cxn>
                  <a:cxn ang="0">
                    <a:pos x="309" y="158"/>
                  </a:cxn>
                  <a:cxn ang="0">
                    <a:pos x="228" y="180"/>
                  </a:cxn>
                  <a:cxn ang="0">
                    <a:pos x="163" y="202"/>
                  </a:cxn>
                  <a:cxn ang="0">
                    <a:pos x="103" y="229"/>
                  </a:cxn>
                  <a:cxn ang="0">
                    <a:pos x="54" y="256"/>
                  </a:cxn>
                  <a:cxn ang="0">
                    <a:pos x="22" y="294"/>
                  </a:cxn>
                  <a:cxn ang="0">
                    <a:pos x="0" y="332"/>
                  </a:cxn>
                  <a:cxn ang="0">
                    <a:pos x="0" y="332"/>
                  </a:cxn>
                </a:cxnLst>
                <a:rect l="0" t="0" r="r" b="b"/>
                <a:pathLst>
                  <a:path w="1248" h="539">
                    <a:moveTo>
                      <a:pt x="0" y="332"/>
                    </a:moveTo>
                    <a:lnTo>
                      <a:pt x="0" y="360"/>
                    </a:lnTo>
                    <a:lnTo>
                      <a:pt x="5" y="387"/>
                    </a:lnTo>
                    <a:lnTo>
                      <a:pt x="27" y="414"/>
                    </a:lnTo>
                    <a:lnTo>
                      <a:pt x="54" y="436"/>
                    </a:lnTo>
                    <a:lnTo>
                      <a:pt x="92" y="463"/>
                    </a:lnTo>
                    <a:lnTo>
                      <a:pt x="141" y="490"/>
                    </a:lnTo>
                    <a:lnTo>
                      <a:pt x="195" y="512"/>
                    </a:lnTo>
                    <a:lnTo>
                      <a:pt x="255" y="539"/>
                    </a:lnTo>
                    <a:lnTo>
                      <a:pt x="212" y="517"/>
                    </a:lnTo>
                    <a:lnTo>
                      <a:pt x="179" y="490"/>
                    </a:lnTo>
                    <a:lnTo>
                      <a:pt x="157" y="468"/>
                    </a:lnTo>
                    <a:lnTo>
                      <a:pt x="141" y="447"/>
                    </a:lnTo>
                    <a:lnTo>
                      <a:pt x="136" y="425"/>
                    </a:lnTo>
                    <a:lnTo>
                      <a:pt x="136" y="403"/>
                    </a:lnTo>
                    <a:lnTo>
                      <a:pt x="141" y="381"/>
                    </a:lnTo>
                    <a:lnTo>
                      <a:pt x="157" y="365"/>
                    </a:lnTo>
                    <a:lnTo>
                      <a:pt x="179" y="343"/>
                    </a:lnTo>
                    <a:lnTo>
                      <a:pt x="201" y="327"/>
                    </a:lnTo>
                    <a:lnTo>
                      <a:pt x="266" y="294"/>
                    </a:lnTo>
                    <a:lnTo>
                      <a:pt x="353" y="262"/>
                    </a:lnTo>
                    <a:lnTo>
                      <a:pt x="445" y="234"/>
                    </a:lnTo>
                    <a:lnTo>
                      <a:pt x="554" y="213"/>
                    </a:lnTo>
                    <a:lnTo>
                      <a:pt x="662" y="191"/>
                    </a:lnTo>
                    <a:lnTo>
                      <a:pt x="890" y="153"/>
                    </a:lnTo>
                    <a:lnTo>
                      <a:pt x="993" y="136"/>
                    </a:lnTo>
                    <a:lnTo>
                      <a:pt x="1091" y="120"/>
                    </a:lnTo>
                    <a:lnTo>
                      <a:pt x="1178" y="115"/>
                    </a:lnTo>
                    <a:lnTo>
                      <a:pt x="1248" y="104"/>
                    </a:lnTo>
                    <a:lnTo>
                      <a:pt x="1248" y="0"/>
                    </a:lnTo>
                    <a:lnTo>
                      <a:pt x="1161" y="22"/>
                    </a:lnTo>
                    <a:lnTo>
                      <a:pt x="1069" y="38"/>
                    </a:lnTo>
                    <a:lnTo>
                      <a:pt x="874" y="71"/>
                    </a:lnTo>
                    <a:lnTo>
                      <a:pt x="673" y="93"/>
                    </a:lnTo>
                    <a:lnTo>
                      <a:pt x="483" y="126"/>
                    </a:lnTo>
                    <a:lnTo>
                      <a:pt x="391" y="142"/>
                    </a:lnTo>
                    <a:lnTo>
                      <a:pt x="309" y="158"/>
                    </a:lnTo>
                    <a:lnTo>
                      <a:pt x="228" y="180"/>
                    </a:lnTo>
                    <a:lnTo>
                      <a:pt x="163" y="202"/>
                    </a:lnTo>
                    <a:lnTo>
                      <a:pt x="103" y="229"/>
                    </a:lnTo>
                    <a:lnTo>
                      <a:pt x="54" y="256"/>
                    </a:lnTo>
                    <a:lnTo>
                      <a:pt x="22" y="294"/>
                    </a:lnTo>
                    <a:lnTo>
                      <a:pt x="0" y="332"/>
                    </a:lnTo>
                    <a:lnTo>
                      <a:pt x="0" y="332"/>
                    </a:lnTo>
                    <a:close/>
                  </a:path>
                </a:pathLst>
              </a:custGeom>
              <a:gradFill rotWithShape="0">
                <a:gsLst>
                  <a:gs pos="0">
                    <a:schemeClr val="bg1">
                      <a:gamma/>
                      <a:shade val="87843"/>
                      <a:invGamma/>
                    </a:schemeClr>
                  </a:gs>
                  <a:gs pos="100000">
                    <a:schemeClr val="bg1"/>
                  </a:gs>
                </a:gsLst>
                <a:lin ang="2700000" scaled="1"/>
              </a:gradFill>
              <a:ln w="9525">
                <a:noFill/>
                <a:round/>
                <a:headEnd/>
                <a:tailEnd/>
              </a:ln>
            </p:spPr>
            <p:txBody>
              <a:bodyPr/>
              <a:lstStyle/>
              <a:p>
                <a:pPr eaLnBrk="0" hangingPunct="0">
                  <a:defRPr/>
                </a:pPr>
                <a:endParaRPr lang="en-US" sz="1800">
                  <a:solidFill>
                    <a:srgbClr val="FFFFFF"/>
                  </a:solidFill>
                  <a:latin typeface="+mn-lt"/>
                  <a:cs typeface="+mn-cs"/>
                </a:endParaRPr>
              </a:p>
            </p:txBody>
          </p:sp>
        </p:grpSp>
        <p:sp>
          <p:nvSpPr>
            <p:cNvPr id="7" name="Freeform 11">
              <a:extLst>
                <a:ext uri="{FF2B5EF4-FFF2-40B4-BE49-F238E27FC236}">
                  <a16:creationId xmlns:a16="http://schemas.microsoft.com/office/drawing/2014/main" id="{9320651F-F977-4651-AA6C-16E6605EDF53}"/>
                </a:ext>
              </a:extLst>
            </p:cNvPr>
            <p:cNvSpPr>
              <a:spLocks/>
            </p:cNvSpPr>
            <p:nvPr/>
          </p:nvSpPr>
          <p:spPr bwMode="hidden">
            <a:xfrm>
              <a:off x="3322" y="1341"/>
              <a:ext cx="1825" cy="1537"/>
            </a:xfrm>
            <a:custGeom>
              <a:avLst/>
              <a:gdLst/>
              <a:ahLst/>
              <a:cxnLst>
                <a:cxn ang="0">
                  <a:pos x="982" y="1061"/>
                </a:cxn>
                <a:cxn ang="0">
                  <a:pos x="1357" y="1012"/>
                </a:cxn>
                <a:cxn ang="0">
                  <a:pos x="1666" y="957"/>
                </a:cxn>
                <a:cxn ang="0">
                  <a:pos x="1916" y="897"/>
                </a:cxn>
                <a:cxn ang="0">
                  <a:pos x="2100" y="832"/>
                </a:cxn>
                <a:cxn ang="0">
                  <a:pos x="2220" y="756"/>
                </a:cxn>
                <a:cxn ang="0">
                  <a:pos x="2285" y="669"/>
                </a:cxn>
                <a:cxn ang="0">
                  <a:pos x="2290" y="560"/>
                </a:cxn>
                <a:cxn ang="0">
                  <a:pos x="2241" y="457"/>
                </a:cxn>
                <a:cxn ang="0">
                  <a:pos x="2144" y="364"/>
                </a:cxn>
                <a:cxn ang="0">
                  <a:pos x="2008" y="277"/>
                </a:cxn>
                <a:cxn ang="0">
                  <a:pos x="1769" y="157"/>
                </a:cxn>
                <a:cxn ang="0">
                  <a:pos x="1612" y="92"/>
                </a:cxn>
                <a:cxn ang="0">
                  <a:pos x="1476" y="43"/>
                </a:cxn>
                <a:cxn ang="0">
                  <a:pos x="1384" y="10"/>
                </a:cxn>
                <a:cxn ang="0">
                  <a:pos x="1346" y="0"/>
                </a:cxn>
                <a:cxn ang="0">
                  <a:pos x="1655" y="119"/>
                </a:cxn>
                <a:cxn ang="0">
                  <a:pos x="1948" y="255"/>
                </a:cxn>
                <a:cxn ang="0">
                  <a:pos x="2068" y="326"/>
                </a:cxn>
                <a:cxn ang="0">
                  <a:pos x="2171" y="402"/>
                </a:cxn>
                <a:cxn ang="0">
                  <a:pos x="2236" y="478"/>
                </a:cxn>
                <a:cxn ang="0">
                  <a:pos x="2263" y="560"/>
                </a:cxn>
                <a:cxn ang="0">
                  <a:pos x="2241" y="636"/>
                </a:cxn>
                <a:cxn ang="0">
                  <a:pos x="2171" y="702"/>
                </a:cxn>
                <a:cxn ang="0">
                  <a:pos x="2062" y="756"/>
                </a:cxn>
                <a:cxn ang="0">
                  <a:pos x="1921" y="800"/>
                </a:cxn>
                <a:cxn ang="0">
                  <a:pos x="1748" y="843"/>
                </a:cxn>
                <a:cxn ang="0">
                  <a:pos x="1351" y="908"/>
                </a:cxn>
                <a:cxn ang="0">
                  <a:pos x="923" y="968"/>
                </a:cxn>
                <a:cxn ang="0">
                  <a:pos x="521" y="1028"/>
                </a:cxn>
                <a:cxn ang="0">
                  <a:pos x="353" y="1066"/>
                </a:cxn>
                <a:cxn ang="0">
                  <a:pos x="206" y="1104"/>
                </a:cxn>
                <a:cxn ang="0">
                  <a:pos x="92" y="1148"/>
                </a:cxn>
                <a:cxn ang="0">
                  <a:pos x="22" y="1202"/>
                </a:cxn>
                <a:cxn ang="0">
                  <a:pos x="0" y="1262"/>
                </a:cxn>
                <a:cxn ang="0">
                  <a:pos x="27" y="1327"/>
                </a:cxn>
                <a:cxn ang="0">
                  <a:pos x="98" y="1382"/>
                </a:cxn>
                <a:cxn ang="0">
                  <a:pos x="196" y="1425"/>
                </a:cxn>
                <a:cxn ang="0">
                  <a:pos x="326" y="1469"/>
                </a:cxn>
                <a:cxn ang="0">
                  <a:pos x="217" y="1414"/>
                </a:cxn>
                <a:cxn ang="0">
                  <a:pos x="147" y="1360"/>
                </a:cxn>
                <a:cxn ang="0">
                  <a:pos x="120" y="1306"/>
                </a:cxn>
                <a:cxn ang="0">
                  <a:pos x="141" y="1257"/>
                </a:cxn>
                <a:cxn ang="0">
                  <a:pos x="212" y="1208"/>
                </a:cxn>
                <a:cxn ang="0">
                  <a:pos x="342" y="1164"/>
                </a:cxn>
                <a:cxn ang="0">
                  <a:pos x="527" y="1121"/>
                </a:cxn>
                <a:cxn ang="0">
                  <a:pos x="771" y="1088"/>
                </a:cxn>
              </a:cxnLst>
              <a:rect l="0" t="0" r="r" b="b"/>
              <a:pathLst>
                <a:path w="2296" h="1469">
                  <a:moveTo>
                    <a:pt x="771" y="1088"/>
                  </a:moveTo>
                  <a:lnTo>
                    <a:pt x="982" y="1061"/>
                  </a:lnTo>
                  <a:lnTo>
                    <a:pt x="1178" y="1034"/>
                  </a:lnTo>
                  <a:lnTo>
                    <a:pt x="1357" y="1012"/>
                  </a:lnTo>
                  <a:lnTo>
                    <a:pt x="1520" y="985"/>
                  </a:lnTo>
                  <a:lnTo>
                    <a:pt x="1666" y="957"/>
                  </a:lnTo>
                  <a:lnTo>
                    <a:pt x="1796" y="930"/>
                  </a:lnTo>
                  <a:lnTo>
                    <a:pt x="1916" y="897"/>
                  </a:lnTo>
                  <a:lnTo>
                    <a:pt x="2013" y="870"/>
                  </a:lnTo>
                  <a:lnTo>
                    <a:pt x="2100" y="832"/>
                  </a:lnTo>
                  <a:lnTo>
                    <a:pt x="2171" y="800"/>
                  </a:lnTo>
                  <a:lnTo>
                    <a:pt x="2220" y="756"/>
                  </a:lnTo>
                  <a:lnTo>
                    <a:pt x="2263" y="712"/>
                  </a:lnTo>
                  <a:lnTo>
                    <a:pt x="2285" y="669"/>
                  </a:lnTo>
                  <a:lnTo>
                    <a:pt x="2296" y="614"/>
                  </a:lnTo>
                  <a:lnTo>
                    <a:pt x="2290" y="560"/>
                  </a:lnTo>
                  <a:lnTo>
                    <a:pt x="2269" y="500"/>
                  </a:lnTo>
                  <a:lnTo>
                    <a:pt x="2241" y="457"/>
                  </a:lnTo>
                  <a:lnTo>
                    <a:pt x="2198" y="408"/>
                  </a:lnTo>
                  <a:lnTo>
                    <a:pt x="2144" y="364"/>
                  </a:lnTo>
                  <a:lnTo>
                    <a:pt x="2079" y="321"/>
                  </a:lnTo>
                  <a:lnTo>
                    <a:pt x="2008" y="277"/>
                  </a:lnTo>
                  <a:lnTo>
                    <a:pt x="1927" y="234"/>
                  </a:lnTo>
                  <a:lnTo>
                    <a:pt x="1769" y="157"/>
                  </a:lnTo>
                  <a:lnTo>
                    <a:pt x="1688" y="125"/>
                  </a:lnTo>
                  <a:lnTo>
                    <a:pt x="1612" y="92"/>
                  </a:lnTo>
                  <a:lnTo>
                    <a:pt x="1536" y="65"/>
                  </a:lnTo>
                  <a:lnTo>
                    <a:pt x="1476" y="43"/>
                  </a:lnTo>
                  <a:lnTo>
                    <a:pt x="1422" y="27"/>
                  </a:lnTo>
                  <a:lnTo>
                    <a:pt x="1384" y="10"/>
                  </a:lnTo>
                  <a:lnTo>
                    <a:pt x="1357" y="5"/>
                  </a:lnTo>
                  <a:lnTo>
                    <a:pt x="1346" y="0"/>
                  </a:lnTo>
                  <a:lnTo>
                    <a:pt x="1498" y="54"/>
                  </a:lnTo>
                  <a:lnTo>
                    <a:pt x="1655" y="119"/>
                  </a:lnTo>
                  <a:lnTo>
                    <a:pt x="1807" y="185"/>
                  </a:lnTo>
                  <a:lnTo>
                    <a:pt x="1948" y="255"/>
                  </a:lnTo>
                  <a:lnTo>
                    <a:pt x="2013" y="288"/>
                  </a:lnTo>
                  <a:lnTo>
                    <a:pt x="2068" y="326"/>
                  </a:lnTo>
                  <a:lnTo>
                    <a:pt x="2122" y="364"/>
                  </a:lnTo>
                  <a:lnTo>
                    <a:pt x="2171" y="402"/>
                  </a:lnTo>
                  <a:lnTo>
                    <a:pt x="2209" y="440"/>
                  </a:lnTo>
                  <a:lnTo>
                    <a:pt x="2236" y="478"/>
                  </a:lnTo>
                  <a:lnTo>
                    <a:pt x="2252" y="522"/>
                  </a:lnTo>
                  <a:lnTo>
                    <a:pt x="2263" y="560"/>
                  </a:lnTo>
                  <a:lnTo>
                    <a:pt x="2258" y="598"/>
                  </a:lnTo>
                  <a:lnTo>
                    <a:pt x="2241" y="636"/>
                  </a:lnTo>
                  <a:lnTo>
                    <a:pt x="2214" y="669"/>
                  </a:lnTo>
                  <a:lnTo>
                    <a:pt x="2171" y="702"/>
                  </a:lnTo>
                  <a:lnTo>
                    <a:pt x="2122" y="729"/>
                  </a:lnTo>
                  <a:lnTo>
                    <a:pt x="2062" y="756"/>
                  </a:lnTo>
                  <a:lnTo>
                    <a:pt x="1997" y="778"/>
                  </a:lnTo>
                  <a:lnTo>
                    <a:pt x="1921" y="800"/>
                  </a:lnTo>
                  <a:lnTo>
                    <a:pt x="1834" y="821"/>
                  </a:lnTo>
                  <a:lnTo>
                    <a:pt x="1748" y="843"/>
                  </a:lnTo>
                  <a:lnTo>
                    <a:pt x="1552" y="876"/>
                  </a:lnTo>
                  <a:lnTo>
                    <a:pt x="1351" y="908"/>
                  </a:lnTo>
                  <a:lnTo>
                    <a:pt x="1134" y="941"/>
                  </a:lnTo>
                  <a:lnTo>
                    <a:pt x="923" y="968"/>
                  </a:lnTo>
                  <a:lnTo>
                    <a:pt x="716" y="995"/>
                  </a:lnTo>
                  <a:lnTo>
                    <a:pt x="521" y="1028"/>
                  </a:lnTo>
                  <a:lnTo>
                    <a:pt x="434" y="1044"/>
                  </a:lnTo>
                  <a:lnTo>
                    <a:pt x="353" y="1066"/>
                  </a:lnTo>
                  <a:lnTo>
                    <a:pt x="277" y="1082"/>
                  </a:lnTo>
                  <a:lnTo>
                    <a:pt x="206" y="1104"/>
                  </a:lnTo>
                  <a:lnTo>
                    <a:pt x="147" y="1126"/>
                  </a:lnTo>
                  <a:lnTo>
                    <a:pt x="92" y="1148"/>
                  </a:lnTo>
                  <a:lnTo>
                    <a:pt x="54" y="1175"/>
                  </a:lnTo>
                  <a:lnTo>
                    <a:pt x="22" y="1202"/>
                  </a:lnTo>
                  <a:lnTo>
                    <a:pt x="6" y="1229"/>
                  </a:lnTo>
                  <a:lnTo>
                    <a:pt x="0" y="1262"/>
                  </a:lnTo>
                  <a:lnTo>
                    <a:pt x="11" y="1295"/>
                  </a:lnTo>
                  <a:lnTo>
                    <a:pt x="27" y="1327"/>
                  </a:lnTo>
                  <a:lnTo>
                    <a:pt x="54" y="1355"/>
                  </a:lnTo>
                  <a:lnTo>
                    <a:pt x="98" y="1382"/>
                  </a:lnTo>
                  <a:lnTo>
                    <a:pt x="141" y="1404"/>
                  </a:lnTo>
                  <a:lnTo>
                    <a:pt x="196" y="1425"/>
                  </a:lnTo>
                  <a:lnTo>
                    <a:pt x="261" y="1447"/>
                  </a:lnTo>
                  <a:lnTo>
                    <a:pt x="326" y="1469"/>
                  </a:lnTo>
                  <a:lnTo>
                    <a:pt x="266" y="1442"/>
                  </a:lnTo>
                  <a:lnTo>
                    <a:pt x="217" y="1414"/>
                  </a:lnTo>
                  <a:lnTo>
                    <a:pt x="174" y="1387"/>
                  </a:lnTo>
                  <a:lnTo>
                    <a:pt x="147" y="1360"/>
                  </a:lnTo>
                  <a:lnTo>
                    <a:pt x="125" y="1333"/>
                  </a:lnTo>
                  <a:lnTo>
                    <a:pt x="120" y="1306"/>
                  </a:lnTo>
                  <a:lnTo>
                    <a:pt x="125" y="1278"/>
                  </a:lnTo>
                  <a:lnTo>
                    <a:pt x="141" y="1257"/>
                  </a:lnTo>
                  <a:lnTo>
                    <a:pt x="174" y="1229"/>
                  </a:lnTo>
                  <a:lnTo>
                    <a:pt x="212" y="1208"/>
                  </a:lnTo>
                  <a:lnTo>
                    <a:pt x="272" y="1186"/>
                  </a:lnTo>
                  <a:lnTo>
                    <a:pt x="342" y="1164"/>
                  </a:lnTo>
                  <a:lnTo>
                    <a:pt x="423" y="1142"/>
                  </a:lnTo>
                  <a:lnTo>
                    <a:pt x="527" y="1121"/>
                  </a:lnTo>
                  <a:lnTo>
                    <a:pt x="641" y="1104"/>
                  </a:lnTo>
                  <a:lnTo>
                    <a:pt x="771" y="1088"/>
                  </a:lnTo>
                  <a:lnTo>
                    <a:pt x="771" y="1088"/>
                  </a:lnTo>
                  <a:close/>
                </a:path>
              </a:pathLst>
            </a:custGeom>
            <a:gradFill rotWithShape="0">
              <a:gsLst>
                <a:gs pos="0">
                  <a:schemeClr val="bg1">
                    <a:gamma/>
                    <a:shade val="84706"/>
                    <a:invGamma/>
                  </a:schemeClr>
                </a:gs>
                <a:gs pos="100000">
                  <a:schemeClr val="bg1"/>
                </a:gs>
              </a:gsLst>
              <a:lin ang="2700000" scaled="1"/>
            </a:gradFill>
            <a:ln w="9525">
              <a:noFill/>
              <a:round/>
              <a:headEnd/>
              <a:tailEnd/>
            </a:ln>
          </p:spPr>
          <p:txBody>
            <a:bodyPr/>
            <a:lstStyle/>
            <a:p>
              <a:pPr eaLnBrk="0" hangingPunct="0">
                <a:defRPr/>
              </a:pPr>
              <a:endParaRPr lang="en-US" sz="1800">
                <a:solidFill>
                  <a:srgbClr val="FFFFFF"/>
                </a:solidFill>
                <a:latin typeface="+mn-lt"/>
                <a:cs typeface="+mn-cs"/>
              </a:endParaRPr>
            </a:p>
          </p:txBody>
        </p:sp>
        <p:sp>
          <p:nvSpPr>
            <p:cNvPr id="8" name="Freeform 12">
              <a:extLst>
                <a:ext uri="{FF2B5EF4-FFF2-40B4-BE49-F238E27FC236}">
                  <a16:creationId xmlns:a16="http://schemas.microsoft.com/office/drawing/2014/main" id="{F34048D7-940F-4240-8CA8-60C8CB9A7653}"/>
                </a:ext>
              </a:extLst>
            </p:cNvPr>
            <p:cNvSpPr>
              <a:spLocks/>
            </p:cNvSpPr>
            <p:nvPr/>
          </p:nvSpPr>
          <p:spPr bwMode="hidden">
            <a:xfrm>
              <a:off x="0" y="0"/>
              <a:ext cx="5758" cy="1776"/>
            </a:xfrm>
            <a:custGeom>
              <a:avLst/>
              <a:gdLst>
                <a:gd name="T0" fmla="*/ 0 w 5740"/>
                <a:gd name="T1" fmla="*/ 0 h 1906"/>
                <a:gd name="T2" fmla="*/ 0 w 5740"/>
                <a:gd name="T3" fmla="*/ 1776 h 1906"/>
                <a:gd name="T4" fmla="*/ 5758 w 5740"/>
                <a:gd name="T5" fmla="*/ 1776 h 1906"/>
                <a:gd name="T6" fmla="*/ 5758 w 5740"/>
                <a:gd name="T7" fmla="*/ 0 h 1906"/>
                <a:gd name="T8" fmla="*/ 0 w 5740"/>
                <a:gd name="T9" fmla="*/ 0 h 1906"/>
                <a:gd name="T10" fmla="*/ 0 w 5740"/>
                <a:gd name="T11" fmla="*/ 0 h 190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5740" h="1906">
                  <a:moveTo>
                    <a:pt x="0" y="0"/>
                  </a:moveTo>
                  <a:lnTo>
                    <a:pt x="0" y="1906"/>
                  </a:lnTo>
                  <a:lnTo>
                    <a:pt x="5740" y="1906"/>
                  </a:lnTo>
                  <a:lnTo>
                    <a:pt x="5740" y="0"/>
                  </a:lnTo>
                  <a:lnTo>
                    <a:pt x="0" y="0"/>
                  </a:lnTo>
                  <a:close/>
                </a:path>
              </a:pathLst>
            </a:custGeom>
            <a:gradFill rotWithShape="0">
              <a:gsLst>
                <a:gs pos="0">
                  <a:schemeClr val="bg2"/>
                </a:gs>
                <a:gs pos="100000">
                  <a:schemeClr val="bg1"/>
                </a:gs>
              </a:gsLst>
              <a:lin ang="54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800"/>
            </a:p>
          </p:txBody>
        </p:sp>
      </p:grpSp>
      <p:sp>
        <p:nvSpPr>
          <p:cNvPr id="14" name="Text Box 16">
            <a:extLst>
              <a:ext uri="{FF2B5EF4-FFF2-40B4-BE49-F238E27FC236}">
                <a16:creationId xmlns:a16="http://schemas.microsoft.com/office/drawing/2014/main" id="{F4B489A5-9555-4B83-981B-1D6B997BAE2E}"/>
              </a:ext>
            </a:extLst>
          </p:cNvPr>
          <p:cNvSpPr txBox="1">
            <a:spLocks noChangeArrowheads="1"/>
          </p:cNvSpPr>
          <p:nvPr/>
        </p:nvSpPr>
        <p:spPr bwMode="auto">
          <a:xfrm>
            <a:off x="11074400" y="304801"/>
            <a:ext cx="711200"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pPr eaLnBrk="0" hangingPunct="0">
              <a:spcBef>
                <a:spcPct val="50000"/>
              </a:spcBef>
              <a:defRPr/>
            </a:pPr>
            <a:endParaRPr lang="en-US" altLang="en-US" sz="1800">
              <a:solidFill>
                <a:srgbClr val="FFFFFF"/>
              </a:solidFill>
              <a:latin typeface="Garamond" pitchFamily="18" charset="0"/>
            </a:endParaRPr>
          </a:p>
        </p:txBody>
      </p:sp>
      <p:sp>
        <p:nvSpPr>
          <p:cNvPr id="15" name="Text Box 17">
            <a:extLst>
              <a:ext uri="{FF2B5EF4-FFF2-40B4-BE49-F238E27FC236}">
                <a16:creationId xmlns:a16="http://schemas.microsoft.com/office/drawing/2014/main" id="{1898B41F-A92D-4F15-9D19-3377E6B24BCB}"/>
              </a:ext>
            </a:extLst>
          </p:cNvPr>
          <p:cNvSpPr txBox="1">
            <a:spLocks noChangeArrowheads="1"/>
          </p:cNvSpPr>
          <p:nvPr/>
        </p:nvSpPr>
        <p:spPr bwMode="auto">
          <a:xfrm>
            <a:off x="11582400" y="228601"/>
            <a:ext cx="609600"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Calibri" panose="020F0502020204030204" pitchFamily="34" charset="0"/>
                <a:cs typeface="Arial" panose="020B0604020202020204" pitchFamily="34" charset="0"/>
              </a:defRPr>
            </a:lvl1pPr>
            <a:lvl2pPr marL="742950" indent="-285750" eaLnBrk="0" hangingPunct="0">
              <a:defRPr>
                <a:solidFill>
                  <a:schemeClr val="tx1"/>
                </a:solidFill>
                <a:latin typeface="Calibri" panose="020F0502020204030204" pitchFamily="34" charset="0"/>
                <a:cs typeface="Arial" panose="020B0604020202020204" pitchFamily="34" charset="0"/>
              </a:defRPr>
            </a:lvl2pPr>
            <a:lvl3pPr marL="1143000" indent="-228600" eaLnBrk="0" hangingPunct="0">
              <a:defRPr>
                <a:solidFill>
                  <a:schemeClr val="tx1"/>
                </a:solidFill>
                <a:latin typeface="Calibri" panose="020F0502020204030204" pitchFamily="34" charset="0"/>
                <a:cs typeface="Arial" panose="020B0604020202020204" pitchFamily="34" charset="0"/>
              </a:defRPr>
            </a:lvl3pPr>
            <a:lvl4pPr marL="1600200" indent="-228600" eaLnBrk="0" hangingPunct="0">
              <a:defRPr>
                <a:solidFill>
                  <a:schemeClr val="tx1"/>
                </a:solidFill>
                <a:latin typeface="Calibri" panose="020F0502020204030204" pitchFamily="34" charset="0"/>
                <a:cs typeface="Arial" panose="020B0604020202020204" pitchFamily="34" charset="0"/>
              </a:defRPr>
            </a:lvl4pPr>
            <a:lvl5pPr marL="2057400" indent="-228600" eaLnBrk="0" hangingPunct="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spcBef>
                <a:spcPct val="50000"/>
              </a:spcBef>
            </a:pPr>
            <a:fld id="{B18F1F1C-F381-43D5-8246-2DF354D987EA}" type="slidenum">
              <a:rPr lang="en-US" altLang="en-US" sz="1800">
                <a:solidFill>
                  <a:srgbClr val="FFFFFF"/>
                </a:solidFill>
                <a:latin typeface="Garamond" panose="02020404030301010803" pitchFamily="18" charset="0"/>
              </a:rPr>
              <a:pPr>
                <a:spcBef>
                  <a:spcPct val="50000"/>
                </a:spcBef>
              </a:pPr>
              <a:t>‹#›</a:t>
            </a:fld>
            <a:endParaRPr lang="en-US" altLang="en-US" sz="1800">
              <a:solidFill>
                <a:srgbClr val="FFFFFF"/>
              </a:solidFill>
              <a:latin typeface="Garamond" panose="02020404030301010803" pitchFamily="18" charset="0"/>
            </a:endParaRPr>
          </a:p>
        </p:txBody>
      </p:sp>
      <p:graphicFrame>
        <p:nvGraphicFramePr>
          <p:cNvPr id="16" name="Object 18">
            <a:extLst>
              <a:ext uri="{FF2B5EF4-FFF2-40B4-BE49-F238E27FC236}">
                <a16:creationId xmlns:a16="http://schemas.microsoft.com/office/drawing/2014/main" id="{4B34ECC3-36A1-43E7-9FA9-22C84C2D06EA}"/>
              </a:ext>
            </a:extLst>
          </p:cNvPr>
          <p:cNvGraphicFramePr>
            <a:graphicFrameLocks noChangeAspect="1"/>
          </p:cNvGraphicFramePr>
          <p:nvPr/>
        </p:nvGraphicFramePr>
        <p:xfrm>
          <a:off x="9652000" y="5918200"/>
          <a:ext cx="2540000" cy="939800"/>
        </p:xfrm>
        <a:graphic>
          <a:graphicData uri="http://schemas.openxmlformats.org/presentationml/2006/ole">
            <mc:AlternateContent xmlns:mc="http://schemas.openxmlformats.org/markup-compatibility/2006">
              <mc:Choice xmlns:v="urn:schemas-microsoft-com:vml" Requires="v">
                <p:oleObj spid="_x0000_s11267" name="Bitmap Image" r:id="rId3" imgW="2142857" imgH="1057423" progId="Paint.Picture">
                  <p:embed/>
                </p:oleObj>
              </mc:Choice>
              <mc:Fallback>
                <p:oleObj name="Bitmap Image" r:id="rId3" imgW="2142857" imgH="1057423" progId="Paint.Picture">
                  <p:embed/>
                  <p:pic>
                    <p:nvPicPr>
                      <p:cNvPr id="16" name="Object 18">
                        <a:extLst>
                          <a:ext uri="{FF2B5EF4-FFF2-40B4-BE49-F238E27FC236}">
                            <a16:creationId xmlns:a16="http://schemas.microsoft.com/office/drawing/2014/main" id="{4B34ECC3-36A1-43E7-9FA9-22C84C2D06E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652000" y="5918200"/>
                        <a:ext cx="2540000" cy="939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2" name="Title 1"/>
          <p:cNvSpPr>
            <a:spLocks noGrp="1"/>
          </p:cNvSpPr>
          <p:nvPr>
            <p:ph type="title"/>
          </p:nvPr>
        </p:nvSpPr>
        <p:spPr>
          <a:xfrm>
            <a:off x="609601" y="273050"/>
            <a:ext cx="4011084"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17" name="Rectangle 2">
            <a:extLst>
              <a:ext uri="{FF2B5EF4-FFF2-40B4-BE49-F238E27FC236}">
                <a16:creationId xmlns:a16="http://schemas.microsoft.com/office/drawing/2014/main" id="{D35914CC-A18E-4F2C-BB3C-20A74841A5B7}"/>
              </a:ext>
            </a:extLst>
          </p:cNvPr>
          <p:cNvSpPr>
            <a:spLocks noGrp="1" noChangeArrowheads="1"/>
          </p:cNvSpPr>
          <p:nvPr>
            <p:ph type="dt" sz="half" idx="10"/>
          </p:nvPr>
        </p:nvSpPr>
        <p:spPr/>
        <p:txBody>
          <a:bodyPr/>
          <a:lstStyle>
            <a:lvl1pPr fontAlgn="auto">
              <a:spcBef>
                <a:spcPts val="0"/>
              </a:spcBef>
              <a:spcAft>
                <a:spcPts val="0"/>
              </a:spcAft>
              <a:defRPr/>
            </a:lvl1pPr>
          </a:lstStyle>
          <a:p>
            <a:pPr>
              <a:defRPr/>
            </a:pPr>
            <a:endParaRPr lang="en-US"/>
          </a:p>
        </p:txBody>
      </p:sp>
      <p:sp>
        <p:nvSpPr>
          <p:cNvPr id="18" name="Rectangle 3">
            <a:extLst>
              <a:ext uri="{FF2B5EF4-FFF2-40B4-BE49-F238E27FC236}">
                <a16:creationId xmlns:a16="http://schemas.microsoft.com/office/drawing/2014/main" id="{283268CA-3531-4C1E-A133-4C2AC4A6FC6A}"/>
              </a:ext>
            </a:extLst>
          </p:cNvPr>
          <p:cNvSpPr>
            <a:spLocks noGrp="1" noChangeArrowheads="1"/>
          </p:cNvSpPr>
          <p:nvPr>
            <p:ph type="sldNum" sz="quarter" idx="11"/>
          </p:nvPr>
        </p:nvSpPr>
        <p:spPr/>
        <p:txBody>
          <a:bodyPr/>
          <a:lstStyle>
            <a:lvl1pPr>
              <a:defRPr/>
            </a:lvl1pPr>
          </a:lstStyle>
          <a:p>
            <a:fld id="{889AB924-C79B-468D-8539-6A70A7D2AC00}" type="slidenum">
              <a:rPr lang="en-US" altLang="en-US"/>
              <a:pPr/>
              <a:t>‹#›</a:t>
            </a:fld>
            <a:endParaRPr lang="en-US" altLang="en-US"/>
          </a:p>
        </p:txBody>
      </p:sp>
      <p:sp>
        <p:nvSpPr>
          <p:cNvPr id="19" name="Rectangle 14">
            <a:extLst>
              <a:ext uri="{FF2B5EF4-FFF2-40B4-BE49-F238E27FC236}">
                <a16:creationId xmlns:a16="http://schemas.microsoft.com/office/drawing/2014/main" id="{38E926CC-C395-47C8-83E6-8F7BDFE42FA1}"/>
              </a:ext>
            </a:extLst>
          </p:cNvPr>
          <p:cNvSpPr>
            <a:spLocks noGrp="1" noChangeArrowheads="1"/>
          </p:cNvSpPr>
          <p:nvPr>
            <p:ph type="ftr" sz="quarter" idx="12"/>
          </p:nvPr>
        </p:nvSpPr>
        <p:spPr/>
        <p:txBody>
          <a:bodyPr/>
          <a:lstStyle>
            <a:lvl1pPr fontAlgn="auto">
              <a:spcBef>
                <a:spcPts val="0"/>
              </a:spcBef>
              <a:spcAft>
                <a:spcPts val="0"/>
              </a:spcAft>
              <a:defRPr/>
            </a:lvl1pPr>
          </a:lstStyle>
          <a:p>
            <a:pPr>
              <a:defRPr/>
            </a:pPr>
            <a:endParaRPr lang="en-US"/>
          </a:p>
        </p:txBody>
      </p:sp>
    </p:spTree>
    <p:extLst>
      <p:ext uri="{BB962C8B-B14F-4D97-AF65-F5344CB8AC3E}">
        <p14:creationId xmlns:p14="http://schemas.microsoft.com/office/powerpoint/2010/main" val="3665383248"/>
      </p:ext>
    </p:extLst>
  </p:cSld>
  <p:clrMapOvr>
    <a:masterClrMapping/>
  </p:clrMapOvr>
  <p:transition>
    <p:random/>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grpSp>
        <p:nvGrpSpPr>
          <p:cNvPr id="5" name="Group 18">
            <a:extLst>
              <a:ext uri="{FF2B5EF4-FFF2-40B4-BE49-F238E27FC236}">
                <a16:creationId xmlns:a16="http://schemas.microsoft.com/office/drawing/2014/main" id="{00990F80-B419-46A4-B439-AD4CF403D108}"/>
              </a:ext>
            </a:extLst>
          </p:cNvPr>
          <p:cNvGrpSpPr>
            <a:grpSpLocks/>
          </p:cNvGrpSpPr>
          <p:nvPr/>
        </p:nvGrpSpPr>
        <p:grpSpPr bwMode="auto">
          <a:xfrm>
            <a:off x="1" y="1"/>
            <a:ext cx="12187767" cy="6850063"/>
            <a:chOff x="0" y="0"/>
            <a:chExt cx="5758" cy="4315"/>
          </a:xfrm>
        </p:grpSpPr>
        <p:grpSp>
          <p:nvGrpSpPr>
            <p:cNvPr id="6" name="Group 19">
              <a:extLst>
                <a:ext uri="{FF2B5EF4-FFF2-40B4-BE49-F238E27FC236}">
                  <a16:creationId xmlns:a16="http://schemas.microsoft.com/office/drawing/2014/main" id="{E1C8FC32-A4F2-432F-BF9A-12B185D70A2A}"/>
                </a:ext>
              </a:extLst>
            </p:cNvPr>
            <p:cNvGrpSpPr>
              <a:grpSpLocks/>
            </p:cNvGrpSpPr>
            <p:nvPr userDrawn="1"/>
          </p:nvGrpSpPr>
          <p:grpSpPr bwMode="auto">
            <a:xfrm>
              <a:off x="1728" y="2230"/>
              <a:ext cx="4027" cy="2085"/>
              <a:chOff x="1728" y="2230"/>
              <a:chExt cx="4027" cy="2085"/>
            </a:xfrm>
          </p:grpSpPr>
          <p:sp>
            <p:nvSpPr>
              <p:cNvPr id="9" name="Freeform 6">
                <a:extLst>
                  <a:ext uri="{FF2B5EF4-FFF2-40B4-BE49-F238E27FC236}">
                    <a16:creationId xmlns:a16="http://schemas.microsoft.com/office/drawing/2014/main" id="{E7FC690E-449B-47C8-A4A7-A8F2D3297246}"/>
                  </a:ext>
                </a:extLst>
              </p:cNvPr>
              <p:cNvSpPr>
                <a:spLocks/>
              </p:cNvSpPr>
              <p:nvPr/>
            </p:nvSpPr>
            <p:spPr bwMode="hidden">
              <a:xfrm>
                <a:off x="1728" y="2644"/>
                <a:ext cx="2882" cy="1671"/>
              </a:xfrm>
              <a:custGeom>
                <a:avLst/>
                <a:gdLst/>
                <a:ahLst/>
                <a:cxnLst>
                  <a:cxn ang="0">
                    <a:pos x="2740" y="528"/>
                  </a:cxn>
                  <a:cxn ang="0">
                    <a:pos x="2632" y="484"/>
                  </a:cxn>
                  <a:cxn ang="0">
                    <a:pos x="2480" y="424"/>
                  </a:cxn>
                  <a:cxn ang="0">
                    <a:pos x="2203" y="343"/>
                  </a:cxn>
                  <a:cxn ang="0">
                    <a:pos x="1970" y="277"/>
                  </a:cxn>
                  <a:cxn ang="0">
                    <a:pos x="1807" y="212"/>
                  </a:cxn>
                  <a:cxn ang="0">
                    <a:pos x="1693" y="152"/>
                  </a:cxn>
                  <a:cxn ang="0">
                    <a:pos x="1628" y="103"/>
                  </a:cxn>
                  <a:cxn ang="0">
                    <a:pos x="1590" y="60"/>
                  </a:cxn>
                  <a:cxn ang="0">
                    <a:pos x="1579" y="27"/>
                  </a:cxn>
                  <a:cxn ang="0">
                    <a:pos x="1585" y="0"/>
                  </a:cxn>
                  <a:cxn ang="0">
                    <a:pos x="1557" y="49"/>
                  </a:cxn>
                  <a:cxn ang="0">
                    <a:pos x="1568" y="98"/>
                  </a:cxn>
                  <a:cxn ang="0">
                    <a:pos x="1617" y="141"/>
                  </a:cxn>
                  <a:cxn ang="0">
                    <a:pos x="1688" y="185"/>
                  </a:cxn>
                  <a:cxn ang="0">
                    <a:pos x="1791" y="228"/>
                  </a:cxn>
                  <a:cxn ang="0">
                    <a:pos x="2040" y="310"/>
                  </a:cxn>
                  <a:cxn ang="0">
                    <a:pos x="2285" y="381"/>
                  </a:cxn>
                  <a:cxn ang="0">
                    <a:pos x="2464" y="435"/>
                  </a:cxn>
                  <a:cxn ang="0">
                    <a:pos x="2605" y="484"/>
                  </a:cxn>
                  <a:cxn ang="0">
                    <a:pos x="2708" y="528"/>
                  </a:cxn>
                  <a:cxn ang="0">
                    <a:pos x="2768" y="560"/>
                  </a:cxn>
                  <a:cxn ang="0">
                    <a:pos x="2795" y="593"/>
                  </a:cxn>
                  <a:cxn ang="0">
                    <a:pos x="2795" y="642"/>
                  </a:cxn>
                  <a:cxn ang="0">
                    <a:pos x="2762" y="691"/>
                  </a:cxn>
                  <a:cxn ang="0">
                    <a:pos x="2692" y="735"/>
                  </a:cxn>
                  <a:cxn ang="0">
                    <a:pos x="2589" y="778"/>
                  </a:cxn>
                  <a:cxn ang="0">
                    <a:pos x="2458" y="822"/>
                  </a:cxn>
                  <a:cxn ang="0">
                    <a:pos x="2301" y="865"/>
                  </a:cxn>
                  <a:cxn ang="0">
                    <a:pos x="2030" y="930"/>
                  </a:cxn>
                  <a:cxn ang="0">
                    <a:pos x="1606" y="1034"/>
                  </a:cxn>
                  <a:cxn ang="0">
                    <a:pos x="1145" y="1164"/>
                  </a:cxn>
                  <a:cxn ang="0">
                    <a:pos x="673" y="1328"/>
                  </a:cxn>
                  <a:cxn ang="0">
                    <a:pos x="217" y="1545"/>
                  </a:cxn>
                  <a:cxn ang="0">
                    <a:pos x="353" y="1671"/>
                  </a:cxn>
                  <a:cxn ang="0">
                    <a:pos x="754" y="1469"/>
                  </a:cxn>
                  <a:cxn ang="0">
                    <a:pos x="1145" y="1311"/>
                  </a:cxn>
                  <a:cxn ang="0">
                    <a:pos x="1519" y="1186"/>
                  </a:cxn>
                  <a:cxn ang="0">
                    <a:pos x="1861" y="1083"/>
                  </a:cxn>
                  <a:cxn ang="0">
                    <a:pos x="2165" y="1007"/>
                  </a:cxn>
                  <a:cxn ang="0">
                    <a:pos x="2426" y="947"/>
                  </a:cxn>
                  <a:cxn ang="0">
                    <a:pos x="2626" y="892"/>
                  </a:cxn>
                  <a:cxn ang="0">
                    <a:pos x="2762" y="838"/>
                  </a:cxn>
                  <a:cxn ang="0">
                    <a:pos x="2827" y="794"/>
                  </a:cxn>
                  <a:cxn ang="0">
                    <a:pos x="2865" y="745"/>
                  </a:cxn>
                  <a:cxn ang="0">
                    <a:pos x="2882" y="702"/>
                  </a:cxn>
                  <a:cxn ang="0">
                    <a:pos x="2854" y="620"/>
                  </a:cxn>
                  <a:cxn ang="0">
                    <a:pos x="2800" y="560"/>
                  </a:cxn>
                  <a:cxn ang="0">
                    <a:pos x="2773" y="544"/>
                  </a:cxn>
                </a:cxnLst>
                <a:rect l="0" t="0" r="r" b="b"/>
                <a:pathLst>
                  <a:path w="2882" h="1671">
                    <a:moveTo>
                      <a:pt x="2773" y="544"/>
                    </a:moveTo>
                    <a:lnTo>
                      <a:pt x="2740" y="528"/>
                    </a:lnTo>
                    <a:lnTo>
                      <a:pt x="2692" y="506"/>
                    </a:lnTo>
                    <a:lnTo>
                      <a:pt x="2632" y="484"/>
                    </a:lnTo>
                    <a:lnTo>
                      <a:pt x="2561" y="457"/>
                    </a:lnTo>
                    <a:lnTo>
                      <a:pt x="2480" y="424"/>
                    </a:lnTo>
                    <a:lnTo>
                      <a:pt x="2388" y="397"/>
                    </a:lnTo>
                    <a:lnTo>
                      <a:pt x="2203" y="343"/>
                    </a:lnTo>
                    <a:lnTo>
                      <a:pt x="2078" y="310"/>
                    </a:lnTo>
                    <a:lnTo>
                      <a:pt x="1970" y="277"/>
                    </a:lnTo>
                    <a:lnTo>
                      <a:pt x="1878" y="245"/>
                    </a:lnTo>
                    <a:lnTo>
                      <a:pt x="1807" y="212"/>
                    </a:lnTo>
                    <a:lnTo>
                      <a:pt x="1742" y="179"/>
                    </a:lnTo>
                    <a:lnTo>
                      <a:pt x="1693" y="152"/>
                    </a:lnTo>
                    <a:lnTo>
                      <a:pt x="1655" y="125"/>
                    </a:lnTo>
                    <a:lnTo>
                      <a:pt x="1628" y="103"/>
                    </a:lnTo>
                    <a:lnTo>
                      <a:pt x="1606" y="81"/>
                    </a:lnTo>
                    <a:lnTo>
                      <a:pt x="1590" y="60"/>
                    </a:lnTo>
                    <a:lnTo>
                      <a:pt x="1585" y="43"/>
                    </a:lnTo>
                    <a:lnTo>
                      <a:pt x="1579" y="27"/>
                    </a:lnTo>
                    <a:lnTo>
                      <a:pt x="1585" y="5"/>
                    </a:lnTo>
                    <a:lnTo>
                      <a:pt x="1585" y="0"/>
                    </a:lnTo>
                    <a:lnTo>
                      <a:pt x="1568" y="27"/>
                    </a:lnTo>
                    <a:lnTo>
                      <a:pt x="1557" y="49"/>
                    </a:lnTo>
                    <a:lnTo>
                      <a:pt x="1557" y="76"/>
                    </a:lnTo>
                    <a:lnTo>
                      <a:pt x="1568" y="98"/>
                    </a:lnTo>
                    <a:lnTo>
                      <a:pt x="1590" y="120"/>
                    </a:lnTo>
                    <a:lnTo>
                      <a:pt x="1617" y="141"/>
                    </a:lnTo>
                    <a:lnTo>
                      <a:pt x="1650" y="163"/>
                    </a:lnTo>
                    <a:lnTo>
                      <a:pt x="1688" y="185"/>
                    </a:lnTo>
                    <a:lnTo>
                      <a:pt x="1737" y="207"/>
                    </a:lnTo>
                    <a:lnTo>
                      <a:pt x="1791" y="228"/>
                    </a:lnTo>
                    <a:lnTo>
                      <a:pt x="1905" y="267"/>
                    </a:lnTo>
                    <a:lnTo>
                      <a:pt x="2040" y="310"/>
                    </a:lnTo>
                    <a:lnTo>
                      <a:pt x="2182" y="348"/>
                    </a:lnTo>
                    <a:lnTo>
                      <a:pt x="2285" y="381"/>
                    </a:lnTo>
                    <a:lnTo>
                      <a:pt x="2382" y="408"/>
                    </a:lnTo>
                    <a:lnTo>
                      <a:pt x="2464" y="435"/>
                    </a:lnTo>
                    <a:lnTo>
                      <a:pt x="2540" y="462"/>
                    </a:lnTo>
                    <a:lnTo>
                      <a:pt x="2605" y="484"/>
                    </a:lnTo>
                    <a:lnTo>
                      <a:pt x="2659" y="506"/>
                    </a:lnTo>
                    <a:lnTo>
                      <a:pt x="2708" y="528"/>
                    </a:lnTo>
                    <a:lnTo>
                      <a:pt x="2740" y="544"/>
                    </a:lnTo>
                    <a:lnTo>
                      <a:pt x="2768" y="560"/>
                    </a:lnTo>
                    <a:lnTo>
                      <a:pt x="2784" y="577"/>
                    </a:lnTo>
                    <a:lnTo>
                      <a:pt x="2795" y="593"/>
                    </a:lnTo>
                    <a:lnTo>
                      <a:pt x="2800" y="615"/>
                    </a:lnTo>
                    <a:lnTo>
                      <a:pt x="2795" y="642"/>
                    </a:lnTo>
                    <a:lnTo>
                      <a:pt x="2784" y="664"/>
                    </a:lnTo>
                    <a:lnTo>
                      <a:pt x="2762" y="691"/>
                    </a:lnTo>
                    <a:lnTo>
                      <a:pt x="2730" y="713"/>
                    </a:lnTo>
                    <a:lnTo>
                      <a:pt x="2692" y="735"/>
                    </a:lnTo>
                    <a:lnTo>
                      <a:pt x="2643" y="756"/>
                    </a:lnTo>
                    <a:lnTo>
                      <a:pt x="2589" y="778"/>
                    </a:lnTo>
                    <a:lnTo>
                      <a:pt x="2529" y="800"/>
                    </a:lnTo>
                    <a:lnTo>
                      <a:pt x="2458" y="822"/>
                    </a:lnTo>
                    <a:lnTo>
                      <a:pt x="2382" y="843"/>
                    </a:lnTo>
                    <a:lnTo>
                      <a:pt x="2301" y="865"/>
                    </a:lnTo>
                    <a:lnTo>
                      <a:pt x="2214" y="887"/>
                    </a:lnTo>
                    <a:lnTo>
                      <a:pt x="2030" y="930"/>
                    </a:lnTo>
                    <a:lnTo>
                      <a:pt x="1823" y="979"/>
                    </a:lnTo>
                    <a:lnTo>
                      <a:pt x="1606" y="1034"/>
                    </a:lnTo>
                    <a:lnTo>
                      <a:pt x="1378" y="1094"/>
                    </a:lnTo>
                    <a:lnTo>
                      <a:pt x="1145" y="1164"/>
                    </a:lnTo>
                    <a:lnTo>
                      <a:pt x="912" y="1241"/>
                    </a:lnTo>
                    <a:lnTo>
                      <a:pt x="673" y="1328"/>
                    </a:lnTo>
                    <a:lnTo>
                      <a:pt x="440" y="1431"/>
                    </a:lnTo>
                    <a:lnTo>
                      <a:pt x="217" y="1545"/>
                    </a:lnTo>
                    <a:lnTo>
                      <a:pt x="0" y="1671"/>
                    </a:lnTo>
                    <a:lnTo>
                      <a:pt x="353" y="1671"/>
                    </a:lnTo>
                    <a:lnTo>
                      <a:pt x="554" y="1567"/>
                    </a:lnTo>
                    <a:lnTo>
                      <a:pt x="754" y="1469"/>
                    </a:lnTo>
                    <a:lnTo>
                      <a:pt x="955" y="1388"/>
                    </a:lnTo>
                    <a:lnTo>
                      <a:pt x="1145" y="1311"/>
                    </a:lnTo>
                    <a:lnTo>
                      <a:pt x="1335" y="1241"/>
                    </a:lnTo>
                    <a:lnTo>
                      <a:pt x="1519" y="1186"/>
                    </a:lnTo>
                    <a:lnTo>
                      <a:pt x="1693" y="1132"/>
                    </a:lnTo>
                    <a:lnTo>
                      <a:pt x="1861" y="1083"/>
                    </a:lnTo>
                    <a:lnTo>
                      <a:pt x="2019" y="1045"/>
                    </a:lnTo>
                    <a:lnTo>
                      <a:pt x="2165" y="1007"/>
                    </a:lnTo>
                    <a:lnTo>
                      <a:pt x="2301" y="974"/>
                    </a:lnTo>
                    <a:lnTo>
                      <a:pt x="2426" y="947"/>
                    </a:lnTo>
                    <a:lnTo>
                      <a:pt x="2534" y="914"/>
                    </a:lnTo>
                    <a:lnTo>
                      <a:pt x="2626" y="892"/>
                    </a:lnTo>
                    <a:lnTo>
                      <a:pt x="2702" y="865"/>
                    </a:lnTo>
                    <a:lnTo>
                      <a:pt x="2762" y="838"/>
                    </a:lnTo>
                    <a:lnTo>
                      <a:pt x="2800" y="816"/>
                    </a:lnTo>
                    <a:lnTo>
                      <a:pt x="2827" y="794"/>
                    </a:lnTo>
                    <a:lnTo>
                      <a:pt x="2849" y="767"/>
                    </a:lnTo>
                    <a:lnTo>
                      <a:pt x="2865" y="745"/>
                    </a:lnTo>
                    <a:lnTo>
                      <a:pt x="2876" y="724"/>
                    </a:lnTo>
                    <a:lnTo>
                      <a:pt x="2882" y="702"/>
                    </a:lnTo>
                    <a:lnTo>
                      <a:pt x="2876" y="658"/>
                    </a:lnTo>
                    <a:lnTo>
                      <a:pt x="2854" y="620"/>
                    </a:lnTo>
                    <a:lnTo>
                      <a:pt x="2833" y="588"/>
                    </a:lnTo>
                    <a:lnTo>
                      <a:pt x="2800" y="560"/>
                    </a:lnTo>
                    <a:lnTo>
                      <a:pt x="2773" y="544"/>
                    </a:lnTo>
                    <a:lnTo>
                      <a:pt x="2773" y="544"/>
                    </a:lnTo>
                    <a:close/>
                  </a:path>
                </a:pathLst>
              </a:custGeom>
              <a:gradFill rotWithShape="0">
                <a:gsLst>
                  <a:gs pos="0">
                    <a:schemeClr val="bg1"/>
                  </a:gs>
                  <a:gs pos="100000">
                    <a:schemeClr val="bg1">
                      <a:gamma/>
                      <a:shade val="90980"/>
                      <a:invGamma/>
                    </a:schemeClr>
                  </a:gs>
                </a:gsLst>
                <a:lin ang="0" scaled="1"/>
              </a:gradFill>
              <a:ln w="9525">
                <a:noFill/>
                <a:round/>
                <a:headEnd/>
                <a:tailEnd/>
              </a:ln>
            </p:spPr>
            <p:txBody>
              <a:bodyPr/>
              <a:lstStyle/>
              <a:p>
                <a:pPr eaLnBrk="0" hangingPunct="0">
                  <a:defRPr/>
                </a:pPr>
                <a:endParaRPr lang="en-US" sz="1800">
                  <a:solidFill>
                    <a:srgbClr val="FFFFFF"/>
                  </a:solidFill>
                  <a:latin typeface="+mn-lt"/>
                  <a:cs typeface="+mn-cs"/>
                </a:endParaRPr>
              </a:p>
            </p:txBody>
          </p:sp>
          <p:sp>
            <p:nvSpPr>
              <p:cNvPr id="10" name="Freeform 7">
                <a:extLst>
                  <a:ext uri="{FF2B5EF4-FFF2-40B4-BE49-F238E27FC236}">
                    <a16:creationId xmlns:a16="http://schemas.microsoft.com/office/drawing/2014/main" id="{2E340D88-3313-4F83-8643-D1CDEB54BD7A}"/>
                  </a:ext>
                </a:extLst>
              </p:cNvPr>
              <p:cNvSpPr>
                <a:spLocks/>
              </p:cNvSpPr>
              <p:nvPr/>
            </p:nvSpPr>
            <p:spPr bwMode="hidden">
              <a:xfrm>
                <a:off x="4170" y="2671"/>
                <a:ext cx="1259" cy="811"/>
              </a:xfrm>
              <a:custGeom>
                <a:avLst/>
                <a:gdLst/>
                <a:ahLst/>
                <a:cxnLst>
                  <a:cxn ang="0">
                    <a:pos x="1259" y="615"/>
                  </a:cxn>
                  <a:cxn ang="0">
                    <a:pos x="1248" y="588"/>
                  </a:cxn>
                  <a:cxn ang="0">
                    <a:pos x="1237" y="566"/>
                  </a:cxn>
                  <a:cxn ang="0">
                    <a:pos x="1216" y="539"/>
                  </a:cxn>
                  <a:cxn ang="0">
                    <a:pos x="1188" y="517"/>
                  </a:cxn>
                  <a:cxn ang="0">
                    <a:pos x="1123" y="479"/>
                  </a:cxn>
                  <a:cxn ang="0">
                    <a:pos x="1042" y="441"/>
                  </a:cxn>
                  <a:cxn ang="0">
                    <a:pos x="944" y="408"/>
                  </a:cxn>
                  <a:cxn ang="0">
                    <a:pos x="841" y="381"/>
                  </a:cxn>
                  <a:cxn ang="0">
                    <a:pos x="727" y="348"/>
                  </a:cxn>
                  <a:cxn ang="0">
                    <a:pos x="613" y="321"/>
                  </a:cxn>
                  <a:cxn ang="0">
                    <a:pos x="499" y="294"/>
                  </a:cxn>
                  <a:cxn ang="0">
                    <a:pos x="391" y="261"/>
                  </a:cxn>
                  <a:cxn ang="0">
                    <a:pos x="288" y="229"/>
                  </a:cxn>
                  <a:cxn ang="0">
                    <a:pos x="195" y="196"/>
                  </a:cxn>
                  <a:cxn ang="0">
                    <a:pos x="119" y="152"/>
                  </a:cxn>
                  <a:cxn ang="0">
                    <a:pos x="54" y="109"/>
                  </a:cxn>
                  <a:cxn ang="0">
                    <a:pos x="33" y="87"/>
                  </a:cxn>
                  <a:cxn ang="0">
                    <a:pos x="16" y="60"/>
                  </a:cxn>
                  <a:cxn ang="0">
                    <a:pos x="5" y="33"/>
                  </a:cxn>
                  <a:cxn ang="0">
                    <a:pos x="0" y="0"/>
                  </a:cxn>
                  <a:cxn ang="0">
                    <a:pos x="0" y="6"/>
                  </a:cxn>
                  <a:cxn ang="0">
                    <a:pos x="0" y="11"/>
                  </a:cxn>
                  <a:cxn ang="0">
                    <a:pos x="0" y="38"/>
                  </a:cxn>
                  <a:cxn ang="0">
                    <a:pos x="5" y="60"/>
                  </a:cxn>
                  <a:cxn ang="0">
                    <a:pos x="16" y="87"/>
                  </a:cxn>
                  <a:cxn ang="0">
                    <a:pos x="33" y="114"/>
                  </a:cxn>
                  <a:cxn ang="0">
                    <a:pos x="54" y="142"/>
                  </a:cxn>
                  <a:cxn ang="0">
                    <a:pos x="87" y="174"/>
                  </a:cxn>
                  <a:cxn ang="0">
                    <a:pos x="125" y="207"/>
                  </a:cxn>
                  <a:cxn ang="0">
                    <a:pos x="179" y="240"/>
                  </a:cxn>
                  <a:cxn ang="0">
                    <a:pos x="244" y="278"/>
                  </a:cxn>
                  <a:cxn ang="0">
                    <a:pos x="326" y="310"/>
                  </a:cxn>
                  <a:cxn ang="0">
                    <a:pos x="418" y="348"/>
                  </a:cxn>
                  <a:cxn ang="0">
                    <a:pos x="526" y="381"/>
                  </a:cxn>
                  <a:cxn ang="0">
                    <a:pos x="657" y="414"/>
                  </a:cxn>
                  <a:cxn ang="0">
                    <a:pos x="749" y="435"/>
                  </a:cxn>
                  <a:cxn ang="0">
                    <a:pos x="830" y="463"/>
                  </a:cxn>
                  <a:cxn ang="0">
                    <a:pos x="901" y="490"/>
                  </a:cxn>
                  <a:cxn ang="0">
                    <a:pos x="966" y="512"/>
                  </a:cxn>
                  <a:cxn ang="0">
                    <a:pos x="1015" y="539"/>
                  </a:cxn>
                  <a:cxn ang="0">
                    <a:pos x="1053" y="566"/>
                  </a:cxn>
                  <a:cxn ang="0">
                    <a:pos x="1080" y="593"/>
                  </a:cxn>
                  <a:cxn ang="0">
                    <a:pos x="1102" y="620"/>
                  </a:cxn>
                  <a:cxn ang="0">
                    <a:pos x="1112" y="648"/>
                  </a:cxn>
                  <a:cxn ang="0">
                    <a:pos x="1118" y="675"/>
                  </a:cxn>
                  <a:cxn ang="0">
                    <a:pos x="1112" y="697"/>
                  </a:cxn>
                  <a:cxn ang="0">
                    <a:pos x="1096" y="724"/>
                  </a:cxn>
                  <a:cxn ang="0">
                    <a:pos x="1080" y="746"/>
                  </a:cxn>
                  <a:cxn ang="0">
                    <a:pos x="1053" y="767"/>
                  </a:cxn>
                  <a:cxn ang="0">
                    <a:pos x="1015" y="789"/>
                  </a:cxn>
                  <a:cxn ang="0">
                    <a:pos x="977" y="811"/>
                  </a:cxn>
                  <a:cxn ang="0">
                    <a:pos x="1047" y="789"/>
                  </a:cxn>
                  <a:cxn ang="0">
                    <a:pos x="1107" y="767"/>
                  </a:cxn>
                  <a:cxn ang="0">
                    <a:pos x="1156" y="746"/>
                  </a:cxn>
                  <a:cxn ang="0">
                    <a:pos x="1199" y="724"/>
                  </a:cxn>
                  <a:cxn ang="0">
                    <a:pos x="1226" y="702"/>
                  </a:cxn>
                  <a:cxn ang="0">
                    <a:pos x="1248" y="675"/>
                  </a:cxn>
                  <a:cxn ang="0">
                    <a:pos x="1259" y="648"/>
                  </a:cxn>
                  <a:cxn ang="0">
                    <a:pos x="1259" y="615"/>
                  </a:cxn>
                  <a:cxn ang="0">
                    <a:pos x="1259" y="615"/>
                  </a:cxn>
                </a:cxnLst>
                <a:rect l="0" t="0" r="r" b="b"/>
                <a:pathLst>
                  <a:path w="1259" h="811">
                    <a:moveTo>
                      <a:pt x="1259" y="615"/>
                    </a:moveTo>
                    <a:lnTo>
                      <a:pt x="1248" y="588"/>
                    </a:lnTo>
                    <a:lnTo>
                      <a:pt x="1237" y="566"/>
                    </a:lnTo>
                    <a:lnTo>
                      <a:pt x="1216" y="539"/>
                    </a:lnTo>
                    <a:lnTo>
                      <a:pt x="1188" y="517"/>
                    </a:lnTo>
                    <a:lnTo>
                      <a:pt x="1123" y="479"/>
                    </a:lnTo>
                    <a:lnTo>
                      <a:pt x="1042" y="441"/>
                    </a:lnTo>
                    <a:lnTo>
                      <a:pt x="944" y="408"/>
                    </a:lnTo>
                    <a:lnTo>
                      <a:pt x="841" y="381"/>
                    </a:lnTo>
                    <a:lnTo>
                      <a:pt x="727" y="348"/>
                    </a:lnTo>
                    <a:lnTo>
                      <a:pt x="613" y="321"/>
                    </a:lnTo>
                    <a:lnTo>
                      <a:pt x="499" y="294"/>
                    </a:lnTo>
                    <a:lnTo>
                      <a:pt x="391" y="261"/>
                    </a:lnTo>
                    <a:lnTo>
                      <a:pt x="288" y="229"/>
                    </a:lnTo>
                    <a:lnTo>
                      <a:pt x="195" y="196"/>
                    </a:lnTo>
                    <a:lnTo>
                      <a:pt x="119" y="152"/>
                    </a:lnTo>
                    <a:lnTo>
                      <a:pt x="54" y="109"/>
                    </a:lnTo>
                    <a:lnTo>
                      <a:pt x="33" y="87"/>
                    </a:lnTo>
                    <a:lnTo>
                      <a:pt x="16" y="60"/>
                    </a:lnTo>
                    <a:lnTo>
                      <a:pt x="5" y="33"/>
                    </a:lnTo>
                    <a:lnTo>
                      <a:pt x="0" y="0"/>
                    </a:lnTo>
                    <a:lnTo>
                      <a:pt x="0" y="6"/>
                    </a:lnTo>
                    <a:lnTo>
                      <a:pt x="0" y="11"/>
                    </a:lnTo>
                    <a:lnTo>
                      <a:pt x="0" y="38"/>
                    </a:lnTo>
                    <a:lnTo>
                      <a:pt x="5" y="60"/>
                    </a:lnTo>
                    <a:lnTo>
                      <a:pt x="16" y="87"/>
                    </a:lnTo>
                    <a:lnTo>
                      <a:pt x="33" y="114"/>
                    </a:lnTo>
                    <a:lnTo>
                      <a:pt x="54" y="142"/>
                    </a:lnTo>
                    <a:lnTo>
                      <a:pt x="87" y="174"/>
                    </a:lnTo>
                    <a:lnTo>
                      <a:pt x="125" y="207"/>
                    </a:lnTo>
                    <a:lnTo>
                      <a:pt x="179" y="240"/>
                    </a:lnTo>
                    <a:lnTo>
                      <a:pt x="244" y="278"/>
                    </a:lnTo>
                    <a:lnTo>
                      <a:pt x="326" y="310"/>
                    </a:lnTo>
                    <a:lnTo>
                      <a:pt x="418" y="348"/>
                    </a:lnTo>
                    <a:lnTo>
                      <a:pt x="526" y="381"/>
                    </a:lnTo>
                    <a:lnTo>
                      <a:pt x="657" y="414"/>
                    </a:lnTo>
                    <a:lnTo>
                      <a:pt x="749" y="435"/>
                    </a:lnTo>
                    <a:lnTo>
                      <a:pt x="830" y="463"/>
                    </a:lnTo>
                    <a:lnTo>
                      <a:pt x="901" y="490"/>
                    </a:lnTo>
                    <a:lnTo>
                      <a:pt x="966" y="512"/>
                    </a:lnTo>
                    <a:lnTo>
                      <a:pt x="1015" y="539"/>
                    </a:lnTo>
                    <a:lnTo>
                      <a:pt x="1053" y="566"/>
                    </a:lnTo>
                    <a:lnTo>
                      <a:pt x="1080" y="593"/>
                    </a:lnTo>
                    <a:lnTo>
                      <a:pt x="1102" y="620"/>
                    </a:lnTo>
                    <a:lnTo>
                      <a:pt x="1112" y="648"/>
                    </a:lnTo>
                    <a:lnTo>
                      <a:pt x="1118" y="675"/>
                    </a:lnTo>
                    <a:lnTo>
                      <a:pt x="1112" y="697"/>
                    </a:lnTo>
                    <a:lnTo>
                      <a:pt x="1096" y="724"/>
                    </a:lnTo>
                    <a:lnTo>
                      <a:pt x="1080" y="746"/>
                    </a:lnTo>
                    <a:lnTo>
                      <a:pt x="1053" y="767"/>
                    </a:lnTo>
                    <a:lnTo>
                      <a:pt x="1015" y="789"/>
                    </a:lnTo>
                    <a:lnTo>
                      <a:pt x="977" y="811"/>
                    </a:lnTo>
                    <a:lnTo>
                      <a:pt x="1047" y="789"/>
                    </a:lnTo>
                    <a:lnTo>
                      <a:pt x="1107" y="767"/>
                    </a:lnTo>
                    <a:lnTo>
                      <a:pt x="1156" y="746"/>
                    </a:lnTo>
                    <a:lnTo>
                      <a:pt x="1199" y="724"/>
                    </a:lnTo>
                    <a:lnTo>
                      <a:pt x="1226" y="702"/>
                    </a:lnTo>
                    <a:lnTo>
                      <a:pt x="1248" y="675"/>
                    </a:lnTo>
                    <a:lnTo>
                      <a:pt x="1259" y="648"/>
                    </a:lnTo>
                    <a:lnTo>
                      <a:pt x="1259" y="615"/>
                    </a:lnTo>
                    <a:lnTo>
                      <a:pt x="1259" y="615"/>
                    </a:lnTo>
                    <a:close/>
                  </a:path>
                </a:pathLst>
              </a:custGeom>
              <a:gradFill rotWithShape="0">
                <a:gsLst>
                  <a:gs pos="0">
                    <a:schemeClr val="bg1"/>
                  </a:gs>
                  <a:gs pos="100000">
                    <a:schemeClr val="bg1">
                      <a:gamma/>
                      <a:shade val="90980"/>
                      <a:invGamma/>
                    </a:schemeClr>
                  </a:gs>
                </a:gsLst>
                <a:lin ang="2700000" scaled="1"/>
              </a:gradFill>
              <a:ln w="9525">
                <a:noFill/>
                <a:round/>
                <a:headEnd/>
                <a:tailEnd/>
              </a:ln>
            </p:spPr>
            <p:txBody>
              <a:bodyPr/>
              <a:lstStyle/>
              <a:p>
                <a:pPr eaLnBrk="0" hangingPunct="0">
                  <a:defRPr/>
                </a:pPr>
                <a:endParaRPr lang="en-US" sz="1800">
                  <a:solidFill>
                    <a:srgbClr val="FFFFFF"/>
                  </a:solidFill>
                  <a:latin typeface="+mn-lt"/>
                  <a:cs typeface="+mn-cs"/>
                </a:endParaRPr>
              </a:p>
            </p:txBody>
          </p:sp>
          <p:sp>
            <p:nvSpPr>
              <p:cNvPr id="11" name="Freeform 8">
                <a:extLst>
                  <a:ext uri="{FF2B5EF4-FFF2-40B4-BE49-F238E27FC236}">
                    <a16:creationId xmlns:a16="http://schemas.microsoft.com/office/drawing/2014/main" id="{8A58EBDE-9D70-41C2-B2FA-5FDD651A363E}"/>
                  </a:ext>
                </a:extLst>
              </p:cNvPr>
              <p:cNvSpPr>
                <a:spLocks/>
              </p:cNvSpPr>
              <p:nvPr/>
            </p:nvSpPr>
            <p:spPr bwMode="hidden">
              <a:xfrm>
                <a:off x="2900" y="3346"/>
                <a:ext cx="2849" cy="969"/>
              </a:xfrm>
              <a:custGeom>
                <a:avLst/>
                <a:gdLst/>
                <a:ahLst/>
                <a:cxnLst>
                  <a:cxn ang="0">
                    <a:pos x="92" y="958"/>
                  </a:cxn>
                  <a:cxn ang="0">
                    <a:pos x="0" y="969"/>
                  </a:cxn>
                  <a:cxn ang="0">
                    <a:pos x="391" y="969"/>
                  </a:cxn>
                  <a:cxn ang="0">
                    <a:pos x="434" y="947"/>
                  </a:cxn>
                  <a:cxn ang="0">
                    <a:pos x="483" y="914"/>
                  </a:cxn>
                  <a:cxn ang="0">
                    <a:pos x="554" y="876"/>
                  </a:cxn>
                  <a:cxn ang="0">
                    <a:pos x="635" y="838"/>
                  </a:cxn>
                  <a:cxn ang="0">
                    <a:pos x="727" y="794"/>
                  </a:cxn>
                  <a:cxn ang="0">
                    <a:pos x="836" y="745"/>
                  </a:cxn>
                  <a:cxn ang="0">
                    <a:pos x="961" y="696"/>
                  </a:cxn>
                  <a:cxn ang="0">
                    <a:pos x="1102" y="642"/>
                  </a:cxn>
                  <a:cxn ang="0">
                    <a:pos x="1259" y="582"/>
                  </a:cxn>
                  <a:cxn ang="0">
                    <a:pos x="1433" y="522"/>
                  </a:cxn>
                  <a:cxn ang="0">
                    <a:pos x="1623" y="462"/>
                  </a:cxn>
                  <a:cxn ang="0">
                    <a:pos x="1829" y="403"/>
                  </a:cxn>
                  <a:cxn ang="0">
                    <a:pos x="2057" y="343"/>
                  </a:cxn>
                  <a:cxn ang="0">
                    <a:pos x="2301" y="283"/>
                  </a:cxn>
                  <a:cxn ang="0">
                    <a:pos x="2567" y="223"/>
                  </a:cxn>
                  <a:cxn ang="0">
                    <a:pos x="2849" y="163"/>
                  </a:cxn>
                  <a:cxn ang="0">
                    <a:pos x="2849" y="0"/>
                  </a:cxn>
                  <a:cxn ang="0">
                    <a:pos x="2817" y="16"/>
                  </a:cxn>
                  <a:cxn ang="0">
                    <a:pos x="2773" y="33"/>
                  </a:cxn>
                  <a:cxn ang="0">
                    <a:pos x="2719" y="54"/>
                  </a:cxn>
                  <a:cxn ang="0">
                    <a:pos x="2648" y="76"/>
                  </a:cxn>
                  <a:cxn ang="0">
                    <a:pos x="2572" y="98"/>
                  </a:cxn>
                  <a:cxn ang="0">
                    <a:pos x="2491" y="120"/>
                  </a:cxn>
                  <a:cxn ang="0">
                    <a:pos x="2399" y="147"/>
                  </a:cxn>
                  <a:cxn ang="0">
                    <a:pos x="2301" y="169"/>
                  </a:cxn>
                  <a:cxn ang="0">
                    <a:pos x="2095" y="223"/>
                  </a:cxn>
                  <a:cxn ang="0">
                    <a:pos x="1889" y="277"/>
                  </a:cxn>
                  <a:cxn ang="0">
                    <a:pos x="1688" y="326"/>
                  </a:cxn>
                  <a:cxn ang="0">
                    <a:pos x="1590" y="354"/>
                  </a:cxn>
                  <a:cxn ang="0">
                    <a:pos x="1503" y="381"/>
                  </a:cxn>
                  <a:cxn ang="0">
                    <a:pos x="1107" y="506"/>
                  </a:cxn>
                  <a:cxn ang="0">
                    <a:pos x="912" y="577"/>
                  </a:cxn>
                  <a:cxn ang="0">
                    <a:pos x="727" y="647"/>
                  </a:cxn>
                  <a:cxn ang="0">
                    <a:pos x="548" y="718"/>
                  </a:cxn>
                  <a:cxn ang="0">
                    <a:pos x="380" y="794"/>
                  </a:cxn>
                  <a:cxn ang="0">
                    <a:pos x="228" y="876"/>
                  </a:cxn>
                  <a:cxn ang="0">
                    <a:pos x="92" y="958"/>
                  </a:cxn>
                  <a:cxn ang="0">
                    <a:pos x="92" y="958"/>
                  </a:cxn>
                </a:cxnLst>
                <a:rect l="0" t="0" r="r" b="b"/>
                <a:pathLst>
                  <a:path w="2849" h="969">
                    <a:moveTo>
                      <a:pt x="92" y="958"/>
                    </a:moveTo>
                    <a:lnTo>
                      <a:pt x="0" y="969"/>
                    </a:lnTo>
                    <a:lnTo>
                      <a:pt x="391" y="969"/>
                    </a:lnTo>
                    <a:lnTo>
                      <a:pt x="434" y="947"/>
                    </a:lnTo>
                    <a:lnTo>
                      <a:pt x="483" y="914"/>
                    </a:lnTo>
                    <a:lnTo>
                      <a:pt x="554" y="876"/>
                    </a:lnTo>
                    <a:lnTo>
                      <a:pt x="635" y="838"/>
                    </a:lnTo>
                    <a:lnTo>
                      <a:pt x="727" y="794"/>
                    </a:lnTo>
                    <a:lnTo>
                      <a:pt x="836" y="745"/>
                    </a:lnTo>
                    <a:lnTo>
                      <a:pt x="961" y="696"/>
                    </a:lnTo>
                    <a:lnTo>
                      <a:pt x="1102" y="642"/>
                    </a:lnTo>
                    <a:lnTo>
                      <a:pt x="1259" y="582"/>
                    </a:lnTo>
                    <a:lnTo>
                      <a:pt x="1433" y="522"/>
                    </a:lnTo>
                    <a:lnTo>
                      <a:pt x="1623" y="462"/>
                    </a:lnTo>
                    <a:lnTo>
                      <a:pt x="1829" y="403"/>
                    </a:lnTo>
                    <a:lnTo>
                      <a:pt x="2057" y="343"/>
                    </a:lnTo>
                    <a:lnTo>
                      <a:pt x="2301" y="283"/>
                    </a:lnTo>
                    <a:lnTo>
                      <a:pt x="2567" y="223"/>
                    </a:lnTo>
                    <a:lnTo>
                      <a:pt x="2849" y="163"/>
                    </a:lnTo>
                    <a:lnTo>
                      <a:pt x="2849" y="0"/>
                    </a:lnTo>
                    <a:lnTo>
                      <a:pt x="2817" y="16"/>
                    </a:lnTo>
                    <a:lnTo>
                      <a:pt x="2773" y="33"/>
                    </a:lnTo>
                    <a:lnTo>
                      <a:pt x="2719" y="54"/>
                    </a:lnTo>
                    <a:lnTo>
                      <a:pt x="2648" y="76"/>
                    </a:lnTo>
                    <a:lnTo>
                      <a:pt x="2572" y="98"/>
                    </a:lnTo>
                    <a:lnTo>
                      <a:pt x="2491" y="120"/>
                    </a:lnTo>
                    <a:lnTo>
                      <a:pt x="2399" y="147"/>
                    </a:lnTo>
                    <a:lnTo>
                      <a:pt x="2301" y="169"/>
                    </a:lnTo>
                    <a:lnTo>
                      <a:pt x="2095" y="223"/>
                    </a:lnTo>
                    <a:lnTo>
                      <a:pt x="1889" y="277"/>
                    </a:lnTo>
                    <a:lnTo>
                      <a:pt x="1688" y="326"/>
                    </a:lnTo>
                    <a:lnTo>
                      <a:pt x="1590" y="354"/>
                    </a:lnTo>
                    <a:lnTo>
                      <a:pt x="1503" y="381"/>
                    </a:lnTo>
                    <a:lnTo>
                      <a:pt x="1107" y="506"/>
                    </a:lnTo>
                    <a:lnTo>
                      <a:pt x="912" y="577"/>
                    </a:lnTo>
                    <a:lnTo>
                      <a:pt x="727" y="647"/>
                    </a:lnTo>
                    <a:lnTo>
                      <a:pt x="548" y="718"/>
                    </a:lnTo>
                    <a:lnTo>
                      <a:pt x="380" y="794"/>
                    </a:lnTo>
                    <a:lnTo>
                      <a:pt x="228" y="876"/>
                    </a:lnTo>
                    <a:lnTo>
                      <a:pt x="92" y="958"/>
                    </a:lnTo>
                    <a:lnTo>
                      <a:pt x="92" y="958"/>
                    </a:lnTo>
                    <a:close/>
                  </a:path>
                </a:pathLst>
              </a:custGeom>
              <a:gradFill rotWithShape="0">
                <a:gsLst>
                  <a:gs pos="0">
                    <a:schemeClr val="bg1">
                      <a:gamma/>
                      <a:shade val="81961"/>
                      <a:invGamma/>
                    </a:schemeClr>
                  </a:gs>
                  <a:gs pos="100000">
                    <a:schemeClr val="bg1"/>
                  </a:gs>
                </a:gsLst>
                <a:lin ang="5400000" scaled="1"/>
              </a:gradFill>
              <a:ln w="9525">
                <a:noFill/>
                <a:round/>
                <a:headEnd/>
                <a:tailEnd/>
              </a:ln>
            </p:spPr>
            <p:txBody>
              <a:bodyPr/>
              <a:lstStyle/>
              <a:p>
                <a:pPr eaLnBrk="0" hangingPunct="0">
                  <a:defRPr/>
                </a:pPr>
                <a:endParaRPr lang="en-US" sz="1800">
                  <a:solidFill>
                    <a:srgbClr val="FFFFFF"/>
                  </a:solidFill>
                  <a:latin typeface="+mn-lt"/>
                  <a:cs typeface="+mn-cs"/>
                </a:endParaRPr>
              </a:p>
            </p:txBody>
          </p:sp>
          <p:sp>
            <p:nvSpPr>
              <p:cNvPr id="12" name="Freeform 9">
                <a:extLst>
                  <a:ext uri="{FF2B5EF4-FFF2-40B4-BE49-F238E27FC236}">
                    <a16:creationId xmlns:a16="http://schemas.microsoft.com/office/drawing/2014/main" id="{9B6DD101-17D2-4339-9230-62E0E0B264FA}"/>
                  </a:ext>
                </a:extLst>
              </p:cNvPr>
              <p:cNvSpPr>
                <a:spLocks/>
              </p:cNvSpPr>
              <p:nvPr/>
            </p:nvSpPr>
            <p:spPr bwMode="hidden">
              <a:xfrm>
                <a:off x="2748" y="2230"/>
                <a:ext cx="3007" cy="2085"/>
              </a:xfrm>
              <a:custGeom>
                <a:avLst/>
                <a:gdLst>
                  <a:gd name="T0" fmla="*/ 1433 w 3007"/>
                  <a:gd name="T1" fmla="*/ 474 h 2085"/>
                  <a:gd name="T2" fmla="*/ 1460 w 3007"/>
                  <a:gd name="T3" fmla="*/ 528 h 2085"/>
                  <a:gd name="T4" fmla="*/ 1541 w 3007"/>
                  <a:gd name="T5" fmla="*/ 593 h 2085"/>
                  <a:gd name="T6" fmla="*/ 1715 w 3007"/>
                  <a:gd name="T7" fmla="*/ 670 h 2085"/>
                  <a:gd name="T8" fmla="*/ 1927 w 3007"/>
                  <a:gd name="T9" fmla="*/ 735 h 2085"/>
                  <a:gd name="T10" fmla="*/ 2155 w 3007"/>
                  <a:gd name="T11" fmla="*/ 789 h 2085"/>
                  <a:gd name="T12" fmla="*/ 2372 w 3007"/>
                  <a:gd name="T13" fmla="*/ 849 h 2085"/>
                  <a:gd name="T14" fmla="*/ 2551 w 3007"/>
                  <a:gd name="T15" fmla="*/ 920 h 2085"/>
                  <a:gd name="T16" fmla="*/ 2638 w 3007"/>
                  <a:gd name="T17" fmla="*/ 980 h 2085"/>
                  <a:gd name="T18" fmla="*/ 2676 w 3007"/>
                  <a:gd name="T19" fmla="*/ 1029 h 2085"/>
                  <a:gd name="T20" fmla="*/ 2681 w 3007"/>
                  <a:gd name="T21" fmla="*/ 1083 h 2085"/>
                  <a:gd name="T22" fmla="*/ 2665 w 3007"/>
                  <a:gd name="T23" fmla="*/ 1127 h 2085"/>
                  <a:gd name="T24" fmla="*/ 2616 w 3007"/>
                  <a:gd name="T25" fmla="*/ 1170 h 2085"/>
                  <a:gd name="T26" fmla="*/ 2545 w 3007"/>
                  <a:gd name="T27" fmla="*/ 1208 h 2085"/>
                  <a:gd name="T28" fmla="*/ 2448 w 3007"/>
                  <a:gd name="T29" fmla="*/ 1241 h 2085"/>
                  <a:gd name="T30" fmla="*/ 2328 w 3007"/>
                  <a:gd name="T31" fmla="*/ 1274 h 2085"/>
                  <a:gd name="T32" fmla="*/ 2106 w 3007"/>
                  <a:gd name="T33" fmla="*/ 1328 h 2085"/>
                  <a:gd name="T34" fmla="*/ 1742 w 3007"/>
                  <a:gd name="T35" fmla="*/ 1421 h 2085"/>
                  <a:gd name="T36" fmla="*/ 1308 w 3007"/>
                  <a:gd name="T37" fmla="*/ 1540 h 2085"/>
                  <a:gd name="T38" fmla="*/ 820 w 3007"/>
                  <a:gd name="T39" fmla="*/ 1709 h 2085"/>
                  <a:gd name="T40" fmla="*/ 282 w 3007"/>
                  <a:gd name="T41" fmla="*/ 1943 h 2085"/>
                  <a:gd name="T42" fmla="*/ 152 w 3007"/>
                  <a:gd name="T43" fmla="*/ 2085 h 2085"/>
                  <a:gd name="T44" fmla="*/ 386 w 3007"/>
                  <a:gd name="T45" fmla="*/ 1992 h 2085"/>
                  <a:gd name="T46" fmla="*/ 700 w 3007"/>
                  <a:gd name="T47" fmla="*/ 1834 h 2085"/>
                  <a:gd name="T48" fmla="*/ 1064 w 3007"/>
                  <a:gd name="T49" fmla="*/ 1693 h 2085"/>
                  <a:gd name="T50" fmla="*/ 1661 w 3007"/>
                  <a:gd name="T51" fmla="*/ 1497 h 2085"/>
                  <a:gd name="T52" fmla="*/ 1845 w 3007"/>
                  <a:gd name="T53" fmla="*/ 1442 h 2085"/>
                  <a:gd name="T54" fmla="*/ 2252 w 3007"/>
                  <a:gd name="T55" fmla="*/ 1339 h 2085"/>
                  <a:gd name="T56" fmla="*/ 2551 w 3007"/>
                  <a:gd name="T57" fmla="*/ 1263 h 2085"/>
                  <a:gd name="T58" fmla="*/ 2730 w 3007"/>
                  <a:gd name="T59" fmla="*/ 1214 h 2085"/>
                  <a:gd name="T60" fmla="*/ 2876 w 3007"/>
                  <a:gd name="T61" fmla="*/ 1170 h 2085"/>
                  <a:gd name="T62" fmla="*/ 2974 w 3007"/>
                  <a:gd name="T63" fmla="*/ 1132 h 2085"/>
                  <a:gd name="T64" fmla="*/ 3007 w 3007"/>
                  <a:gd name="T65" fmla="*/ 871 h 2085"/>
                  <a:gd name="T66" fmla="*/ 2860 w 3007"/>
                  <a:gd name="T67" fmla="*/ 844 h 2085"/>
                  <a:gd name="T68" fmla="*/ 2670 w 3007"/>
                  <a:gd name="T69" fmla="*/ 806 h 2085"/>
                  <a:gd name="T70" fmla="*/ 2458 w 3007"/>
                  <a:gd name="T71" fmla="*/ 757 h 2085"/>
                  <a:gd name="T72" fmla="*/ 2138 w 3007"/>
                  <a:gd name="T73" fmla="*/ 670 h 2085"/>
                  <a:gd name="T74" fmla="*/ 1959 w 3007"/>
                  <a:gd name="T75" fmla="*/ 604 h 2085"/>
                  <a:gd name="T76" fmla="*/ 1824 w 3007"/>
                  <a:gd name="T77" fmla="*/ 534 h 2085"/>
                  <a:gd name="T78" fmla="*/ 1769 w 3007"/>
                  <a:gd name="T79" fmla="*/ 474 h 2085"/>
                  <a:gd name="T80" fmla="*/ 1753 w 3007"/>
                  <a:gd name="T81" fmla="*/ 436 h 2085"/>
                  <a:gd name="T82" fmla="*/ 1780 w 3007"/>
                  <a:gd name="T83" fmla="*/ 381 h 2085"/>
                  <a:gd name="T84" fmla="*/ 1862 w 3007"/>
                  <a:gd name="T85" fmla="*/ 316 h 2085"/>
                  <a:gd name="T86" fmla="*/ 1986 w 3007"/>
                  <a:gd name="T87" fmla="*/ 267 h 2085"/>
                  <a:gd name="T88" fmla="*/ 2149 w 3007"/>
                  <a:gd name="T89" fmla="*/ 229 h 2085"/>
                  <a:gd name="T90" fmla="*/ 2431 w 3007"/>
                  <a:gd name="T91" fmla="*/ 180 h 2085"/>
                  <a:gd name="T92" fmla="*/ 2827 w 3007"/>
                  <a:gd name="T93" fmla="*/ 125 h 2085"/>
                  <a:gd name="T94" fmla="*/ 3007 w 3007"/>
                  <a:gd name="T95" fmla="*/ 87 h 2085"/>
                  <a:gd name="T96" fmla="*/ 2909 w 3007"/>
                  <a:gd name="T97" fmla="*/ 22 h 2085"/>
                  <a:gd name="T98" fmla="*/ 2676 w 3007"/>
                  <a:gd name="T99" fmla="*/ 66 h 2085"/>
                  <a:gd name="T100" fmla="*/ 2285 w 3007"/>
                  <a:gd name="T101" fmla="*/ 120 h 2085"/>
                  <a:gd name="T102" fmla="*/ 2030 w 3007"/>
                  <a:gd name="T103" fmla="*/ 158 h 2085"/>
                  <a:gd name="T104" fmla="*/ 1791 w 3007"/>
                  <a:gd name="T105" fmla="*/ 202 h 2085"/>
                  <a:gd name="T106" fmla="*/ 1601 w 3007"/>
                  <a:gd name="T107" fmla="*/ 261 h 2085"/>
                  <a:gd name="T108" fmla="*/ 1471 w 3007"/>
                  <a:gd name="T109" fmla="*/ 338 h 2085"/>
                  <a:gd name="T110" fmla="*/ 1438 w 3007"/>
                  <a:gd name="T111" fmla="*/ 387 h 2085"/>
                  <a:gd name="T112" fmla="*/ 1427 w 3007"/>
                  <a:gd name="T113" fmla="*/ 441 h 2085"/>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3007" h="2085">
                    <a:moveTo>
                      <a:pt x="1427" y="441"/>
                    </a:moveTo>
                    <a:lnTo>
                      <a:pt x="1433" y="474"/>
                    </a:lnTo>
                    <a:lnTo>
                      <a:pt x="1444" y="501"/>
                    </a:lnTo>
                    <a:lnTo>
                      <a:pt x="1460" y="528"/>
                    </a:lnTo>
                    <a:lnTo>
                      <a:pt x="1482" y="550"/>
                    </a:lnTo>
                    <a:lnTo>
                      <a:pt x="1541" y="593"/>
                    </a:lnTo>
                    <a:lnTo>
                      <a:pt x="1623" y="637"/>
                    </a:lnTo>
                    <a:lnTo>
                      <a:pt x="1715" y="670"/>
                    </a:lnTo>
                    <a:lnTo>
                      <a:pt x="1818" y="702"/>
                    </a:lnTo>
                    <a:lnTo>
                      <a:pt x="1927" y="735"/>
                    </a:lnTo>
                    <a:lnTo>
                      <a:pt x="2041" y="762"/>
                    </a:lnTo>
                    <a:lnTo>
                      <a:pt x="2155" y="789"/>
                    </a:lnTo>
                    <a:lnTo>
                      <a:pt x="2269" y="822"/>
                    </a:lnTo>
                    <a:lnTo>
                      <a:pt x="2372" y="849"/>
                    </a:lnTo>
                    <a:lnTo>
                      <a:pt x="2464" y="882"/>
                    </a:lnTo>
                    <a:lnTo>
                      <a:pt x="2551" y="920"/>
                    </a:lnTo>
                    <a:lnTo>
                      <a:pt x="2616" y="958"/>
                    </a:lnTo>
                    <a:lnTo>
                      <a:pt x="2638" y="980"/>
                    </a:lnTo>
                    <a:lnTo>
                      <a:pt x="2659" y="1007"/>
                    </a:lnTo>
                    <a:lnTo>
                      <a:pt x="2676" y="1029"/>
                    </a:lnTo>
                    <a:lnTo>
                      <a:pt x="2681" y="1056"/>
                    </a:lnTo>
                    <a:lnTo>
                      <a:pt x="2681" y="1083"/>
                    </a:lnTo>
                    <a:lnTo>
                      <a:pt x="2676" y="1105"/>
                    </a:lnTo>
                    <a:lnTo>
                      <a:pt x="2665" y="1127"/>
                    </a:lnTo>
                    <a:lnTo>
                      <a:pt x="2643" y="1149"/>
                    </a:lnTo>
                    <a:lnTo>
                      <a:pt x="2616" y="1170"/>
                    </a:lnTo>
                    <a:lnTo>
                      <a:pt x="2583" y="1187"/>
                    </a:lnTo>
                    <a:lnTo>
                      <a:pt x="2545" y="1208"/>
                    </a:lnTo>
                    <a:lnTo>
                      <a:pt x="2502" y="1225"/>
                    </a:lnTo>
                    <a:lnTo>
                      <a:pt x="2448" y="1241"/>
                    </a:lnTo>
                    <a:lnTo>
                      <a:pt x="2388" y="1257"/>
                    </a:lnTo>
                    <a:lnTo>
                      <a:pt x="2328" y="1274"/>
                    </a:lnTo>
                    <a:lnTo>
                      <a:pt x="2258" y="1290"/>
                    </a:lnTo>
                    <a:lnTo>
                      <a:pt x="2106" y="1328"/>
                    </a:lnTo>
                    <a:lnTo>
                      <a:pt x="1932" y="1372"/>
                    </a:lnTo>
                    <a:lnTo>
                      <a:pt x="1742" y="1421"/>
                    </a:lnTo>
                    <a:lnTo>
                      <a:pt x="1531" y="1475"/>
                    </a:lnTo>
                    <a:lnTo>
                      <a:pt x="1308" y="1540"/>
                    </a:lnTo>
                    <a:lnTo>
                      <a:pt x="1069" y="1617"/>
                    </a:lnTo>
                    <a:lnTo>
                      <a:pt x="820" y="1709"/>
                    </a:lnTo>
                    <a:lnTo>
                      <a:pt x="554" y="1818"/>
                    </a:lnTo>
                    <a:lnTo>
                      <a:pt x="282" y="1943"/>
                    </a:lnTo>
                    <a:lnTo>
                      <a:pt x="0" y="2085"/>
                    </a:lnTo>
                    <a:lnTo>
                      <a:pt x="152" y="2085"/>
                    </a:lnTo>
                    <a:lnTo>
                      <a:pt x="244" y="2074"/>
                    </a:lnTo>
                    <a:lnTo>
                      <a:pt x="386" y="1992"/>
                    </a:lnTo>
                    <a:lnTo>
                      <a:pt x="537" y="1910"/>
                    </a:lnTo>
                    <a:lnTo>
                      <a:pt x="700" y="1834"/>
                    </a:lnTo>
                    <a:lnTo>
                      <a:pt x="879" y="1763"/>
                    </a:lnTo>
                    <a:lnTo>
                      <a:pt x="1064" y="1693"/>
                    </a:lnTo>
                    <a:lnTo>
                      <a:pt x="1259" y="1622"/>
                    </a:lnTo>
                    <a:lnTo>
                      <a:pt x="1661" y="1497"/>
                    </a:lnTo>
                    <a:lnTo>
                      <a:pt x="1748" y="1470"/>
                    </a:lnTo>
                    <a:lnTo>
                      <a:pt x="1845" y="1442"/>
                    </a:lnTo>
                    <a:lnTo>
                      <a:pt x="2046" y="1393"/>
                    </a:lnTo>
                    <a:lnTo>
                      <a:pt x="2252" y="1339"/>
                    </a:lnTo>
                    <a:lnTo>
                      <a:pt x="2458" y="1285"/>
                    </a:lnTo>
                    <a:lnTo>
                      <a:pt x="2551" y="1263"/>
                    </a:lnTo>
                    <a:lnTo>
                      <a:pt x="2643" y="1236"/>
                    </a:lnTo>
                    <a:lnTo>
                      <a:pt x="2730" y="1214"/>
                    </a:lnTo>
                    <a:lnTo>
                      <a:pt x="2806" y="1192"/>
                    </a:lnTo>
                    <a:lnTo>
                      <a:pt x="2876" y="1170"/>
                    </a:lnTo>
                    <a:lnTo>
                      <a:pt x="2931" y="1149"/>
                    </a:lnTo>
                    <a:lnTo>
                      <a:pt x="2974" y="1132"/>
                    </a:lnTo>
                    <a:lnTo>
                      <a:pt x="3007" y="1116"/>
                    </a:lnTo>
                    <a:lnTo>
                      <a:pt x="3007" y="871"/>
                    </a:lnTo>
                    <a:lnTo>
                      <a:pt x="2941" y="860"/>
                    </a:lnTo>
                    <a:lnTo>
                      <a:pt x="2860" y="844"/>
                    </a:lnTo>
                    <a:lnTo>
                      <a:pt x="2773" y="827"/>
                    </a:lnTo>
                    <a:lnTo>
                      <a:pt x="2670" y="806"/>
                    </a:lnTo>
                    <a:lnTo>
                      <a:pt x="2567" y="784"/>
                    </a:lnTo>
                    <a:lnTo>
                      <a:pt x="2458" y="757"/>
                    </a:lnTo>
                    <a:lnTo>
                      <a:pt x="2241" y="702"/>
                    </a:lnTo>
                    <a:lnTo>
                      <a:pt x="2138" y="670"/>
                    </a:lnTo>
                    <a:lnTo>
                      <a:pt x="2046" y="637"/>
                    </a:lnTo>
                    <a:lnTo>
                      <a:pt x="1959" y="604"/>
                    </a:lnTo>
                    <a:lnTo>
                      <a:pt x="1883" y="566"/>
                    </a:lnTo>
                    <a:lnTo>
                      <a:pt x="1824" y="534"/>
                    </a:lnTo>
                    <a:lnTo>
                      <a:pt x="1780" y="495"/>
                    </a:lnTo>
                    <a:lnTo>
                      <a:pt x="1769" y="474"/>
                    </a:lnTo>
                    <a:lnTo>
                      <a:pt x="1758" y="457"/>
                    </a:lnTo>
                    <a:lnTo>
                      <a:pt x="1753" y="436"/>
                    </a:lnTo>
                    <a:lnTo>
                      <a:pt x="1758" y="419"/>
                    </a:lnTo>
                    <a:lnTo>
                      <a:pt x="1780" y="381"/>
                    </a:lnTo>
                    <a:lnTo>
                      <a:pt x="1813" y="343"/>
                    </a:lnTo>
                    <a:lnTo>
                      <a:pt x="1862" y="316"/>
                    </a:lnTo>
                    <a:lnTo>
                      <a:pt x="1921" y="289"/>
                    </a:lnTo>
                    <a:lnTo>
                      <a:pt x="1986" y="267"/>
                    </a:lnTo>
                    <a:lnTo>
                      <a:pt x="2062" y="245"/>
                    </a:lnTo>
                    <a:lnTo>
                      <a:pt x="2149" y="229"/>
                    </a:lnTo>
                    <a:lnTo>
                      <a:pt x="2236" y="213"/>
                    </a:lnTo>
                    <a:lnTo>
                      <a:pt x="2431" y="180"/>
                    </a:lnTo>
                    <a:lnTo>
                      <a:pt x="2627" y="158"/>
                    </a:lnTo>
                    <a:lnTo>
                      <a:pt x="2827" y="125"/>
                    </a:lnTo>
                    <a:lnTo>
                      <a:pt x="2920" y="109"/>
                    </a:lnTo>
                    <a:lnTo>
                      <a:pt x="3007" y="87"/>
                    </a:lnTo>
                    <a:lnTo>
                      <a:pt x="3007" y="0"/>
                    </a:lnTo>
                    <a:lnTo>
                      <a:pt x="2909" y="22"/>
                    </a:lnTo>
                    <a:lnTo>
                      <a:pt x="2795" y="44"/>
                    </a:lnTo>
                    <a:lnTo>
                      <a:pt x="2676" y="66"/>
                    </a:lnTo>
                    <a:lnTo>
                      <a:pt x="2551" y="82"/>
                    </a:lnTo>
                    <a:lnTo>
                      <a:pt x="2285" y="120"/>
                    </a:lnTo>
                    <a:lnTo>
                      <a:pt x="2155" y="136"/>
                    </a:lnTo>
                    <a:lnTo>
                      <a:pt x="2030" y="158"/>
                    </a:lnTo>
                    <a:lnTo>
                      <a:pt x="1905" y="174"/>
                    </a:lnTo>
                    <a:lnTo>
                      <a:pt x="1791" y="202"/>
                    </a:lnTo>
                    <a:lnTo>
                      <a:pt x="1688" y="229"/>
                    </a:lnTo>
                    <a:lnTo>
                      <a:pt x="1601" y="261"/>
                    </a:lnTo>
                    <a:lnTo>
                      <a:pt x="1525" y="300"/>
                    </a:lnTo>
                    <a:lnTo>
                      <a:pt x="1471" y="338"/>
                    </a:lnTo>
                    <a:lnTo>
                      <a:pt x="1455" y="359"/>
                    </a:lnTo>
                    <a:lnTo>
                      <a:pt x="1438" y="387"/>
                    </a:lnTo>
                    <a:lnTo>
                      <a:pt x="1427" y="414"/>
                    </a:lnTo>
                    <a:lnTo>
                      <a:pt x="1427" y="44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800"/>
              </a:p>
            </p:txBody>
          </p:sp>
          <p:sp>
            <p:nvSpPr>
              <p:cNvPr id="13" name="Freeform 10">
                <a:extLst>
                  <a:ext uri="{FF2B5EF4-FFF2-40B4-BE49-F238E27FC236}">
                    <a16:creationId xmlns:a16="http://schemas.microsoft.com/office/drawing/2014/main" id="{2DA02DD9-AF90-47F2-8989-0F3E9B9F7AB2}"/>
                  </a:ext>
                </a:extLst>
              </p:cNvPr>
              <p:cNvSpPr>
                <a:spLocks/>
              </p:cNvSpPr>
              <p:nvPr/>
            </p:nvSpPr>
            <p:spPr bwMode="hidden">
              <a:xfrm>
                <a:off x="4501" y="2317"/>
                <a:ext cx="1248" cy="539"/>
              </a:xfrm>
              <a:custGeom>
                <a:avLst/>
                <a:gdLst/>
                <a:ahLst/>
                <a:cxnLst>
                  <a:cxn ang="0">
                    <a:pos x="0" y="332"/>
                  </a:cxn>
                  <a:cxn ang="0">
                    <a:pos x="0" y="360"/>
                  </a:cxn>
                  <a:cxn ang="0">
                    <a:pos x="5" y="387"/>
                  </a:cxn>
                  <a:cxn ang="0">
                    <a:pos x="27" y="414"/>
                  </a:cxn>
                  <a:cxn ang="0">
                    <a:pos x="54" y="436"/>
                  </a:cxn>
                  <a:cxn ang="0">
                    <a:pos x="92" y="463"/>
                  </a:cxn>
                  <a:cxn ang="0">
                    <a:pos x="141" y="490"/>
                  </a:cxn>
                  <a:cxn ang="0">
                    <a:pos x="195" y="512"/>
                  </a:cxn>
                  <a:cxn ang="0">
                    <a:pos x="255" y="539"/>
                  </a:cxn>
                  <a:cxn ang="0">
                    <a:pos x="212" y="517"/>
                  </a:cxn>
                  <a:cxn ang="0">
                    <a:pos x="179" y="490"/>
                  </a:cxn>
                  <a:cxn ang="0">
                    <a:pos x="157" y="468"/>
                  </a:cxn>
                  <a:cxn ang="0">
                    <a:pos x="141" y="447"/>
                  </a:cxn>
                  <a:cxn ang="0">
                    <a:pos x="136" y="425"/>
                  </a:cxn>
                  <a:cxn ang="0">
                    <a:pos x="136" y="403"/>
                  </a:cxn>
                  <a:cxn ang="0">
                    <a:pos x="141" y="381"/>
                  </a:cxn>
                  <a:cxn ang="0">
                    <a:pos x="157" y="365"/>
                  </a:cxn>
                  <a:cxn ang="0">
                    <a:pos x="179" y="343"/>
                  </a:cxn>
                  <a:cxn ang="0">
                    <a:pos x="201" y="327"/>
                  </a:cxn>
                  <a:cxn ang="0">
                    <a:pos x="266" y="294"/>
                  </a:cxn>
                  <a:cxn ang="0">
                    <a:pos x="353" y="262"/>
                  </a:cxn>
                  <a:cxn ang="0">
                    <a:pos x="445" y="234"/>
                  </a:cxn>
                  <a:cxn ang="0">
                    <a:pos x="554" y="213"/>
                  </a:cxn>
                  <a:cxn ang="0">
                    <a:pos x="662" y="191"/>
                  </a:cxn>
                  <a:cxn ang="0">
                    <a:pos x="890" y="153"/>
                  </a:cxn>
                  <a:cxn ang="0">
                    <a:pos x="993" y="136"/>
                  </a:cxn>
                  <a:cxn ang="0">
                    <a:pos x="1091" y="120"/>
                  </a:cxn>
                  <a:cxn ang="0">
                    <a:pos x="1178" y="115"/>
                  </a:cxn>
                  <a:cxn ang="0">
                    <a:pos x="1248" y="104"/>
                  </a:cxn>
                  <a:cxn ang="0">
                    <a:pos x="1248" y="0"/>
                  </a:cxn>
                  <a:cxn ang="0">
                    <a:pos x="1161" y="22"/>
                  </a:cxn>
                  <a:cxn ang="0">
                    <a:pos x="1069" y="38"/>
                  </a:cxn>
                  <a:cxn ang="0">
                    <a:pos x="874" y="71"/>
                  </a:cxn>
                  <a:cxn ang="0">
                    <a:pos x="673" y="93"/>
                  </a:cxn>
                  <a:cxn ang="0">
                    <a:pos x="483" y="126"/>
                  </a:cxn>
                  <a:cxn ang="0">
                    <a:pos x="391" y="142"/>
                  </a:cxn>
                  <a:cxn ang="0">
                    <a:pos x="309" y="158"/>
                  </a:cxn>
                  <a:cxn ang="0">
                    <a:pos x="228" y="180"/>
                  </a:cxn>
                  <a:cxn ang="0">
                    <a:pos x="163" y="202"/>
                  </a:cxn>
                  <a:cxn ang="0">
                    <a:pos x="103" y="229"/>
                  </a:cxn>
                  <a:cxn ang="0">
                    <a:pos x="54" y="256"/>
                  </a:cxn>
                  <a:cxn ang="0">
                    <a:pos x="22" y="294"/>
                  </a:cxn>
                  <a:cxn ang="0">
                    <a:pos x="0" y="332"/>
                  </a:cxn>
                  <a:cxn ang="0">
                    <a:pos x="0" y="332"/>
                  </a:cxn>
                </a:cxnLst>
                <a:rect l="0" t="0" r="r" b="b"/>
                <a:pathLst>
                  <a:path w="1248" h="539">
                    <a:moveTo>
                      <a:pt x="0" y="332"/>
                    </a:moveTo>
                    <a:lnTo>
                      <a:pt x="0" y="360"/>
                    </a:lnTo>
                    <a:lnTo>
                      <a:pt x="5" y="387"/>
                    </a:lnTo>
                    <a:lnTo>
                      <a:pt x="27" y="414"/>
                    </a:lnTo>
                    <a:lnTo>
                      <a:pt x="54" y="436"/>
                    </a:lnTo>
                    <a:lnTo>
                      <a:pt x="92" y="463"/>
                    </a:lnTo>
                    <a:lnTo>
                      <a:pt x="141" y="490"/>
                    </a:lnTo>
                    <a:lnTo>
                      <a:pt x="195" y="512"/>
                    </a:lnTo>
                    <a:lnTo>
                      <a:pt x="255" y="539"/>
                    </a:lnTo>
                    <a:lnTo>
                      <a:pt x="212" y="517"/>
                    </a:lnTo>
                    <a:lnTo>
                      <a:pt x="179" y="490"/>
                    </a:lnTo>
                    <a:lnTo>
                      <a:pt x="157" y="468"/>
                    </a:lnTo>
                    <a:lnTo>
                      <a:pt x="141" y="447"/>
                    </a:lnTo>
                    <a:lnTo>
                      <a:pt x="136" y="425"/>
                    </a:lnTo>
                    <a:lnTo>
                      <a:pt x="136" y="403"/>
                    </a:lnTo>
                    <a:lnTo>
                      <a:pt x="141" y="381"/>
                    </a:lnTo>
                    <a:lnTo>
                      <a:pt x="157" y="365"/>
                    </a:lnTo>
                    <a:lnTo>
                      <a:pt x="179" y="343"/>
                    </a:lnTo>
                    <a:lnTo>
                      <a:pt x="201" y="327"/>
                    </a:lnTo>
                    <a:lnTo>
                      <a:pt x="266" y="294"/>
                    </a:lnTo>
                    <a:lnTo>
                      <a:pt x="353" y="262"/>
                    </a:lnTo>
                    <a:lnTo>
                      <a:pt x="445" y="234"/>
                    </a:lnTo>
                    <a:lnTo>
                      <a:pt x="554" y="213"/>
                    </a:lnTo>
                    <a:lnTo>
                      <a:pt x="662" y="191"/>
                    </a:lnTo>
                    <a:lnTo>
                      <a:pt x="890" y="153"/>
                    </a:lnTo>
                    <a:lnTo>
                      <a:pt x="993" y="136"/>
                    </a:lnTo>
                    <a:lnTo>
                      <a:pt x="1091" y="120"/>
                    </a:lnTo>
                    <a:lnTo>
                      <a:pt x="1178" y="115"/>
                    </a:lnTo>
                    <a:lnTo>
                      <a:pt x="1248" y="104"/>
                    </a:lnTo>
                    <a:lnTo>
                      <a:pt x="1248" y="0"/>
                    </a:lnTo>
                    <a:lnTo>
                      <a:pt x="1161" y="22"/>
                    </a:lnTo>
                    <a:lnTo>
                      <a:pt x="1069" y="38"/>
                    </a:lnTo>
                    <a:lnTo>
                      <a:pt x="874" y="71"/>
                    </a:lnTo>
                    <a:lnTo>
                      <a:pt x="673" y="93"/>
                    </a:lnTo>
                    <a:lnTo>
                      <a:pt x="483" y="126"/>
                    </a:lnTo>
                    <a:lnTo>
                      <a:pt x="391" y="142"/>
                    </a:lnTo>
                    <a:lnTo>
                      <a:pt x="309" y="158"/>
                    </a:lnTo>
                    <a:lnTo>
                      <a:pt x="228" y="180"/>
                    </a:lnTo>
                    <a:lnTo>
                      <a:pt x="163" y="202"/>
                    </a:lnTo>
                    <a:lnTo>
                      <a:pt x="103" y="229"/>
                    </a:lnTo>
                    <a:lnTo>
                      <a:pt x="54" y="256"/>
                    </a:lnTo>
                    <a:lnTo>
                      <a:pt x="22" y="294"/>
                    </a:lnTo>
                    <a:lnTo>
                      <a:pt x="0" y="332"/>
                    </a:lnTo>
                    <a:lnTo>
                      <a:pt x="0" y="332"/>
                    </a:lnTo>
                    <a:close/>
                  </a:path>
                </a:pathLst>
              </a:custGeom>
              <a:gradFill rotWithShape="0">
                <a:gsLst>
                  <a:gs pos="0">
                    <a:schemeClr val="bg1">
                      <a:gamma/>
                      <a:shade val="87843"/>
                      <a:invGamma/>
                    </a:schemeClr>
                  </a:gs>
                  <a:gs pos="100000">
                    <a:schemeClr val="bg1"/>
                  </a:gs>
                </a:gsLst>
                <a:lin ang="2700000" scaled="1"/>
              </a:gradFill>
              <a:ln w="9525">
                <a:noFill/>
                <a:round/>
                <a:headEnd/>
                <a:tailEnd/>
              </a:ln>
            </p:spPr>
            <p:txBody>
              <a:bodyPr/>
              <a:lstStyle/>
              <a:p>
                <a:pPr eaLnBrk="0" hangingPunct="0">
                  <a:defRPr/>
                </a:pPr>
                <a:endParaRPr lang="en-US" sz="1800">
                  <a:solidFill>
                    <a:srgbClr val="FFFFFF"/>
                  </a:solidFill>
                  <a:latin typeface="+mn-lt"/>
                  <a:cs typeface="+mn-cs"/>
                </a:endParaRPr>
              </a:p>
            </p:txBody>
          </p:sp>
        </p:grpSp>
        <p:sp>
          <p:nvSpPr>
            <p:cNvPr id="7" name="Freeform 11">
              <a:extLst>
                <a:ext uri="{FF2B5EF4-FFF2-40B4-BE49-F238E27FC236}">
                  <a16:creationId xmlns:a16="http://schemas.microsoft.com/office/drawing/2014/main" id="{22E95DCC-59CC-49D5-911E-6B188C32EE59}"/>
                </a:ext>
              </a:extLst>
            </p:cNvPr>
            <p:cNvSpPr>
              <a:spLocks/>
            </p:cNvSpPr>
            <p:nvPr/>
          </p:nvSpPr>
          <p:spPr bwMode="hidden">
            <a:xfrm>
              <a:off x="3322" y="1341"/>
              <a:ext cx="1825" cy="1537"/>
            </a:xfrm>
            <a:custGeom>
              <a:avLst/>
              <a:gdLst/>
              <a:ahLst/>
              <a:cxnLst>
                <a:cxn ang="0">
                  <a:pos x="982" y="1061"/>
                </a:cxn>
                <a:cxn ang="0">
                  <a:pos x="1357" y="1012"/>
                </a:cxn>
                <a:cxn ang="0">
                  <a:pos x="1666" y="957"/>
                </a:cxn>
                <a:cxn ang="0">
                  <a:pos x="1916" y="897"/>
                </a:cxn>
                <a:cxn ang="0">
                  <a:pos x="2100" y="832"/>
                </a:cxn>
                <a:cxn ang="0">
                  <a:pos x="2220" y="756"/>
                </a:cxn>
                <a:cxn ang="0">
                  <a:pos x="2285" y="669"/>
                </a:cxn>
                <a:cxn ang="0">
                  <a:pos x="2290" y="560"/>
                </a:cxn>
                <a:cxn ang="0">
                  <a:pos x="2241" y="457"/>
                </a:cxn>
                <a:cxn ang="0">
                  <a:pos x="2144" y="364"/>
                </a:cxn>
                <a:cxn ang="0">
                  <a:pos x="2008" y="277"/>
                </a:cxn>
                <a:cxn ang="0">
                  <a:pos x="1769" y="157"/>
                </a:cxn>
                <a:cxn ang="0">
                  <a:pos x="1612" y="92"/>
                </a:cxn>
                <a:cxn ang="0">
                  <a:pos x="1476" y="43"/>
                </a:cxn>
                <a:cxn ang="0">
                  <a:pos x="1384" y="10"/>
                </a:cxn>
                <a:cxn ang="0">
                  <a:pos x="1346" y="0"/>
                </a:cxn>
                <a:cxn ang="0">
                  <a:pos x="1655" y="119"/>
                </a:cxn>
                <a:cxn ang="0">
                  <a:pos x="1948" y="255"/>
                </a:cxn>
                <a:cxn ang="0">
                  <a:pos x="2068" y="326"/>
                </a:cxn>
                <a:cxn ang="0">
                  <a:pos x="2171" y="402"/>
                </a:cxn>
                <a:cxn ang="0">
                  <a:pos x="2236" y="478"/>
                </a:cxn>
                <a:cxn ang="0">
                  <a:pos x="2263" y="560"/>
                </a:cxn>
                <a:cxn ang="0">
                  <a:pos x="2241" y="636"/>
                </a:cxn>
                <a:cxn ang="0">
                  <a:pos x="2171" y="702"/>
                </a:cxn>
                <a:cxn ang="0">
                  <a:pos x="2062" y="756"/>
                </a:cxn>
                <a:cxn ang="0">
                  <a:pos x="1921" y="800"/>
                </a:cxn>
                <a:cxn ang="0">
                  <a:pos x="1748" y="843"/>
                </a:cxn>
                <a:cxn ang="0">
                  <a:pos x="1351" y="908"/>
                </a:cxn>
                <a:cxn ang="0">
                  <a:pos x="923" y="968"/>
                </a:cxn>
                <a:cxn ang="0">
                  <a:pos x="521" y="1028"/>
                </a:cxn>
                <a:cxn ang="0">
                  <a:pos x="353" y="1066"/>
                </a:cxn>
                <a:cxn ang="0">
                  <a:pos x="206" y="1104"/>
                </a:cxn>
                <a:cxn ang="0">
                  <a:pos x="92" y="1148"/>
                </a:cxn>
                <a:cxn ang="0">
                  <a:pos x="22" y="1202"/>
                </a:cxn>
                <a:cxn ang="0">
                  <a:pos x="0" y="1262"/>
                </a:cxn>
                <a:cxn ang="0">
                  <a:pos x="27" y="1327"/>
                </a:cxn>
                <a:cxn ang="0">
                  <a:pos x="98" y="1382"/>
                </a:cxn>
                <a:cxn ang="0">
                  <a:pos x="196" y="1425"/>
                </a:cxn>
                <a:cxn ang="0">
                  <a:pos x="326" y="1469"/>
                </a:cxn>
                <a:cxn ang="0">
                  <a:pos x="217" y="1414"/>
                </a:cxn>
                <a:cxn ang="0">
                  <a:pos x="147" y="1360"/>
                </a:cxn>
                <a:cxn ang="0">
                  <a:pos x="120" y="1306"/>
                </a:cxn>
                <a:cxn ang="0">
                  <a:pos x="141" y="1257"/>
                </a:cxn>
                <a:cxn ang="0">
                  <a:pos x="212" y="1208"/>
                </a:cxn>
                <a:cxn ang="0">
                  <a:pos x="342" y="1164"/>
                </a:cxn>
                <a:cxn ang="0">
                  <a:pos x="527" y="1121"/>
                </a:cxn>
                <a:cxn ang="0">
                  <a:pos x="771" y="1088"/>
                </a:cxn>
              </a:cxnLst>
              <a:rect l="0" t="0" r="r" b="b"/>
              <a:pathLst>
                <a:path w="2296" h="1469">
                  <a:moveTo>
                    <a:pt x="771" y="1088"/>
                  </a:moveTo>
                  <a:lnTo>
                    <a:pt x="982" y="1061"/>
                  </a:lnTo>
                  <a:lnTo>
                    <a:pt x="1178" y="1034"/>
                  </a:lnTo>
                  <a:lnTo>
                    <a:pt x="1357" y="1012"/>
                  </a:lnTo>
                  <a:lnTo>
                    <a:pt x="1520" y="985"/>
                  </a:lnTo>
                  <a:lnTo>
                    <a:pt x="1666" y="957"/>
                  </a:lnTo>
                  <a:lnTo>
                    <a:pt x="1796" y="930"/>
                  </a:lnTo>
                  <a:lnTo>
                    <a:pt x="1916" y="897"/>
                  </a:lnTo>
                  <a:lnTo>
                    <a:pt x="2013" y="870"/>
                  </a:lnTo>
                  <a:lnTo>
                    <a:pt x="2100" y="832"/>
                  </a:lnTo>
                  <a:lnTo>
                    <a:pt x="2171" y="800"/>
                  </a:lnTo>
                  <a:lnTo>
                    <a:pt x="2220" y="756"/>
                  </a:lnTo>
                  <a:lnTo>
                    <a:pt x="2263" y="712"/>
                  </a:lnTo>
                  <a:lnTo>
                    <a:pt x="2285" y="669"/>
                  </a:lnTo>
                  <a:lnTo>
                    <a:pt x="2296" y="614"/>
                  </a:lnTo>
                  <a:lnTo>
                    <a:pt x="2290" y="560"/>
                  </a:lnTo>
                  <a:lnTo>
                    <a:pt x="2269" y="500"/>
                  </a:lnTo>
                  <a:lnTo>
                    <a:pt x="2241" y="457"/>
                  </a:lnTo>
                  <a:lnTo>
                    <a:pt x="2198" y="408"/>
                  </a:lnTo>
                  <a:lnTo>
                    <a:pt x="2144" y="364"/>
                  </a:lnTo>
                  <a:lnTo>
                    <a:pt x="2079" y="321"/>
                  </a:lnTo>
                  <a:lnTo>
                    <a:pt x="2008" y="277"/>
                  </a:lnTo>
                  <a:lnTo>
                    <a:pt x="1927" y="234"/>
                  </a:lnTo>
                  <a:lnTo>
                    <a:pt x="1769" y="157"/>
                  </a:lnTo>
                  <a:lnTo>
                    <a:pt x="1688" y="125"/>
                  </a:lnTo>
                  <a:lnTo>
                    <a:pt x="1612" y="92"/>
                  </a:lnTo>
                  <a:lnTo>
                    <a:pt x="1536" y="65"/>
                  </a:lnTo>
                  <a:lnTo>
                    <a:pt x="1476" y="43"/>
                  </a:lnTo>
                  <a:lnTo>
                    <a:pt x="1422" y="27"/>
                  </a:lnTo>
                  <a:lnTo>
                    <a:pt x="1384" y="10"/>
                  </a:lnTo>
                  <a:lnTo>
                    <a:pt x="1357" y="5"/>
                  </a:lnTo>
                  <a:lnTo>
                    <a:pt x="1346" y="0"/>
                  </a:lnTo>
                  <a:lnTo>
                    <a:pt x="1498" y="54"/>
                  </a:lnTo>
                  <a:lnTo>
                    <a:pt x="1655" y="119"/>
                  </a:lnTo>
                  <a:lnTo>
                    <a:pt x="1807" y="185"/>
                  </a:lnTo>
                  <a:lnTo>
                    <a:pt x="1948" y="255"/>
                  </a:lnTo>
                  <a:lnTo>
                    <a:pt x="2013" y="288"/>
                  </a:lnTo>
                  <a:lnTo>
                    <a:pt x="2068" y="326"/>
                  </a:lnTo>
                  <a:lnTo>
                    <a:pt x="2122" y="364"/>
                  </a:lnTo>
                  <a:lnTo>
                    <a:pt x="2171" y="402"/>
                  </a:lnTo>
                  <a:lnTo>
                    <a:pt x="2209" y="440"/>
                  </a:lnTo>
                  <a:lnTo>
                    <a:pt x="2236" y="478"/>
                  </a:lnTo>
                  <a:lnTo>
                    <a:pt x="2252" y="522"/>
                  </a:lnTo>
                  <a:lnTo>
                    <a:pt x="2263" y="560"/>
                  </a:lnTo>
                  <a:lnTo>
                    <a:pt x="2258" y="598"/>
                  </a:lnTo>
                  <a:lnTo>
                    <a:pt x="2241" y="636"/>
                  </a:lnTo>
                  <a:lnTo>
                    <a:pt x="2214" y="669"/>
                  </a:lnTo>
                  <a:lnTo>
                    <a:pt x="2171" y="702"/>
                  </a:lnTo>
                  <a:lnTo>
                    <a:pt x="2122" y="729"/>
                  </a:lnTo>
                  <a:lnTo>
                    <a:pt x="2062" y="756"/>
                  </a:lnTo>
                  <a:lnTo>
                    <a:pt x="1997" y="778"/>
                  </a:lnTo>
                  <a:lnTo>
                    <a:pt x="1921" y="800"/>
                  </a:lnTo>
                  <a:lnTo>
                    <a:pt x="1834" y="821"/>
                  </a:lnTo>
                  <a:lnTo>
                    <a:pt x="1748" y="843"/>
                  </a:lnTo>
                  <a:lnTo>
                    <a:pt x="1552" y="876"/>
                  </a:lnTo>
                  <a:lnTo>
                    <a:pt x="1351" y="908"/>
                  </a:lnTo>
                  <a:lnTo>
                    <a:pt x="1134" y="941"/>
                  </a:lnTo>
                  <a:lnTo>
                    <a:pt x="923" y="968"/>
                  </a:lnTo>
                  <a:lnTo>
                    <a:pt x="716" y="995"/>
                  </a:lnTo>
                  <a:lnTo>
                    <a:pt x="521" y="1028"/>
                  </a:lnTo>
                  <a:lnTo>
                    <a:pt x="434" y="1044"/>
                  </a:lnTo>
                  <a:lnTo>
                    <a:pt x="353" y="1066"/>
                  </a:lnTo>
                  <a:lnTo>
                    <a:pt x="277" y="1082"/>
                  </a:lnTo>
                  <a:lnTo>
                    <a:pt x="206" y="1104"/>
                  </a:lnTo>
                  <a:lnTo>
                    <a:pt x="147" y="1126"/>
                  </a:lnTo>
                  <a:lnTo>
                    <a:pt x="92" y="1148"/>
                  </a:lnTo>
                  <a:lnTo>
                    <a:pt x="54" y="1175"/>
                  </a:lnTo>
                  <a:lnTo>
                    <a:pt x="22" y="1202"/>
                  </a:lnTo>
                  <a:lnTo>
                    <a:pt x="6" y="1229"/>
                  </a:lnTo>
                  <a:lnTo>
                    <a:pt x="0" y="1262"/>
                  </a:lnTo>
                  <a:lnTo>
                    <a:pt x="11" y="1295"/>
                  </a:lnTo>
                  <a:lnTo>
                    <a:pt x="27" y="1327"/>
                  </a:lnTo>
                  <a:lnTo>
                    <a:pt x="54" y="1355"/>
                  </a:lnTo>
                  <a:lnTo>
                    <a:pt x="98" y="1382"/>
                  </a:lnTo>
                  <a:lnTo>
                    <a:pt x="141" y="1404"/>
                  </a:lnTo>
                  <a:lnTo>
                    <a:pt x="196" y="1425"/>
                  </a:lnTo>
                  <a:lnTo>
                    <a:pt x="261" y="1447"/>
                  </a:lnTo>
                  <a:lnTo>
                    <a:pt x="326" y="1469"/>
                  </a:lnTo>
                  <a:lnTo>
                    <a:pt x="266" y="1442"/>
                  </a:lnTo>
                  <a:lnTo>
                    <a:pt x="217" y="1414"/>
                  </a:lnTo>
                  <a:lnTo>
                    <a:pt x="174" y="1387"/>
                  </a:lnTo>
                  <a:lnTo>
                    <a:pt x="147" y="1360"/>
                  </a:lnTo>
                  <a:lnTo>
                    <a:pt x="125" y="1333"/>
                  </a:lnTo>
                  <a:lnTo>
                    <a:pt x="120" y="1306"/>
                  </a:lnTo>
                  <a:lnTo>
                    <a:pt x="125" y="1278"/>
                  </a:lnTo>
                  <a:lnTo>
                    <a:pt x="141" y="1257"/>
                  </a:lnTo>
                  <a:lnTo>
                    <a:pt x="174" y="1229"/>
                  </a:lnTo>
                  <a:lnTo>
                    <a:pt x="212" y="1208"/>
                  </a:lnTo>
                  <a:lnTo>
                    <a:pt x="272" y="1186"/>
                  </a:lnTo>
                  <a:lnTo>
                    <a:pt x="342" y="1164"/>
                  </a:lnTo>
                  <a:lnTo>
                    <a:pt x="423" y="1142"/>
                  </a:lnTo>
                  <a:lnTo>
                    <a:pt x="527" y="1121"/>
                  </a:lnTo>
                  <a:lnTo>
                    <a:pt x="641" y="1104"/>
                  </a:lnTo>
                  <a:lnTo>
                    <a:pt x="771" y="1088"/>
                  </a:lnTo>
                  <a:lnTo>
                    <a:pt x="771" y="1088"/>
                  </a:lnTo>
                  <a:close/>
                </a:path>
              </a:pathLst>
            </a:custGeom>
            <a:gradFill rotWithShape="0">
              <a:gsLst>
                <a:gs pos="0">
                  <a:schemeClr val="bg1">
                    <a:gamma/>
                    <a:shade val="84706"/>
                    <a:invGamma/>
                  </a:schemeClr>
                </a:gs>
                <a:gs pos="100000">
                  <a:schemeClr val="bg1"/>
                </a:gs>
              </a:gsLst>
              <a:lin ang="2700000" scaled="1"/>
            </a:gradFill>
            <a:ln w="9525">
              <a:noFill/>
              <a:round/>
              <a:headEnd/>
              <a:tailEnd/>
            </a:ln>
          </p:spPr>
          <p:txBody>
            <a:bodyPr/>
            <a:lstStyle/>
            <a:p>
              <a:pPr eaLnBrk="0" hangingPunct="0">
                <a:defRPr/>
              </a:pPr>
              <a:endParaRPr lang="en-US" sz="1800">
                <a:solidFill>
                  <a:srgbClr val="FFFFFF"/>
                </a:solidFill>
                <a:latin typeface="+mn-lt"/>
                <a:cs typeface="+mn-cs"/>
              </a:endParaRPr>
            </a:p>
          </p:txBody>
        </p:sp>
        <p:sp>
          <p:nvSpPr>
            <p:cNvPr id="8" name="Freeform 12">
              <a:extLst>
                <a:ext uri="{FF2B5EF4-FFF2-40B4-BE49-F238E27FC236}">
                  <a16:creationId xmlns:a16="http://schemas.microsoft.com/office/drawing/2014/main" id="{52F2CE1E-7366-416E-B6D9-C47271893F91}"/>
                </a:ext>
              </a:extLst>
            </p:cNvPr>
            <p:cNvSpPr>
              <a:spLocks/>
            </p:cNvSpPr>
            <p:nvPr/>
          </p:nvSpPr>
          <p:spPr bwMode="hidden">
            <a:xfrm>
              <a:off x="0" y="0"/>
              <a:ext cx="5758" cy="1776"/>
            </a:xfrm>
            <a:custGeom>
              <a:avLst/>
              <a:gdLst>
                <a:gd name="T0" fmla="*/ 0 w 5740"/>
                <a:gd name="T1" fmla="*/ 0 h 1906"/>
                <a:gd name="T2" fmla="*/ 0 w 5740"/>
                <a:gd name="T3" fmla="*/ 1776 h 1906"/>
                <a:gd name="T4" fmla="*/ 5758 w 5740"/>
                <a:gd name="T5" fmla="*/ 1776 h 1906"/>
                <a:gd name="T6" fmla="*/ 5758 w 5740"/>
                <a:gd name="T7" fmla="*/ 0 h 1906"/>
                <a:gd name="T8" fmla="*/ 0 w 5740"/>
                <a:gd name="T9" fmla="*/ 0 h 1906"/>
                <a:gd name="T10" fmla="*/ 0 w 5740"/>
                <a:gd name="T11" fmla="*/ 0 h 190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5740" h="1906">
                  <a:moveTo>
                    <a:pt x="0" y="0"/>
                  </a:moveTo>
                  <a:lnTo>
                    <a:pt x="0" y="1906"/>
                  </a:lnTo>
                  <a:lnTo>
                    <a:pt x="5740" y="1906"/>
                  </a:lnTo>
                  <a:lnTo>
                    <a:pt x="5740" y="0"/>
                  </a:lnTo>
                  <a:lnTo>
                    <a:pt x="0" y="0"/>
                  </a:lnTo>
                  <a:close/>
                </a:path>
              </a:pathLst>
            </a:custGeom>
            <a:gradFill rotWithShape="0">
              <a:gsLst>
                <a:gs pos="0">
                  <a:schemeClr val="bg2"/>
                </a:gs>
                <a:gs pos="100000">
                  <a:schemeClr val="bg1"/>
                </a:gs>
              </a:gsLst>
              <a:lin ang="54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800"/>
            </a:p>
          </p:txBody>
        </p:sp>
      </p:grpSp>
      <p:sp>
        <p:nvSpPr>
          <p:cNvPr id="14" name="Text Box 16">
            <a:extLst>
              <a:ext uri="{FF2B5EF4-FFF2-40B4-BE49-F238E27FC236}">
                <a16:creationId xmlns:a16="http://schemas.microsoft.com/office/drawing/2014/main" id="{CC55662B-14FD-4D0E-A418-A05775B62998}"/>
              </a:ext>
            </a:extLst>
          </p:cNvPr>
          <p:cNvSpPr txBox="1">
            <a:spLocks noChangeArrowheads="1"/>
          </p:cNvSpPr>
          <p:nvPr/>
        </p:nvSpPr>
        <p:spPr bwMode="auto">
          <a:xfrm>
            <a:off x="11074400" y="304801"/>
            <a:ext cx="711200"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pPr eaLnBrk="0" hangingPunct="0">
              <a:spcBef>
                <a:spcPct val="50000"/>
              </a:spcBef>
              <a:defRPr/>
            </a:pPr>
            <a:endParaRPr lang="en-US" altLang="en-US" sz="1800">
              <a:solidFill>
                <a:srgbClr val="FFFFFF"/>
              </a:solidFill>
              <a:latin typeface="Garamond" pitchFamily="18" charset="0"/>
            </a:endParaRPr>
          </a:p>
        </p:txBody>
      </p:sp>
      <p:sp>
        <p:nvSpPr>
          <p:cNvPr id="15" name="Text Box 17">
            <a:extLst>
              <a:ext uri="{FF2B5EF4-FFF2-40B4-BE49-F238E27FC236}">
                <a16:creationId xmlns:a16="http://schemas.microsoft.com/office/drawing/2014/main" id="{10E66DC9-EBAA-43B1-A77C-10B44161BB91}"/>
              </a:ext>
            </a:extLst>
          </p:cNvPr>
          <p:cNvSpPr txBox="1">
            <a:spLocks noChangeArrowheads="1"/>
          </p:cNvSpPr>
          <p:nvPr/>
        </p:nvSpPr>
        <p:spPr bwMode="auto">
          <a:xfrm>
            <a:off x="11582400" y="228601"/>
            <a:ext cx="609600"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Calibri" panose="020F0502020204030204" pitchFamily="34" charset="0"/>
                <a:cs typeface="Arial" panose="020B0604020202020204" pitchFamily="34" charset="0"/>
              </a:defRPr>
            </a:lvl1pPr>
            <a:lvl2pPr marL="742950" indent="-285750" eaLnBrk="0" hangingPunct="0">
              <a:defRPr>
                <a:solidFill>
                  <a:schemeClr val="tx1"/>
                </a:solidFill>
                <a:latin typeface="Calibri" panose="020F0502020204030204" pitchFamily="34" charset="0"/>
                <a:cs typeface="Arial" panose="020B0604020202020204" pitchFamily="34" charset="0"/>
              </a:defRPr>
            </a:lvl2pPr>
            <a:lvl3pPr marL="1143000" indent="-228600" eaLnBrk="0" hangingPunct="0">
              <a:defRPr>
                <a:solidFill>
                  <a:schemeClr val="tx1"/>
                </a:solidFill>
                <a:latin typeface="Calibri" panose="020F0502020204030204" pitchFamily="34" charset="0"/>
                <a:cs typeface="Arial" panose="020B0604020202020204" pitchFamily="34" charset="0"/>
              </a:defRPr>
            </a:lvl3pPr>
            <a:lvl4pPr marL="1600200" indent="-228600" eaLnBrk="0" hangingPunct="0">
              <a:defRPr>
                <a:solidFill>
                  <a:schemeClr val="tx1"/>
                </a:solidFill>
                <a:latin typeface="Calibri" panose="020F0502020204030204" pitchFamily="34" charset="0"/>
                <a:cs typeface="Arial" panose="020B0604020202020204" pitchFamily="34" charset="0"/>
              </a:defRPr>
            </a:lvl4pPr>
            <a:lvl5pPr marL="2057400" indent="-228600" eaLnBrk="0" hangingPunct="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spcBef>
                <a:spcPct val="50000"/>
              </a:spcBef>
            </a:pPr>
            <a:fld id="{720B40B6-A000-4D34-8DD0-4DAA91DB8104}" type="slidenum">
              <a:rPr lang="en-US" altLang="en-US" sz="1800">
                <a:solidFill>
                  <a:srgbClr val="FFFFFF"/>
                </a:solidFill>
                <a:latin typeface="Garamond" panose="02020404030301010803" pitchFamily="18" charset="0"/>
              </a:rPr>
              <a:pPr>
                <a:spcBef>
                  <a:spcPct val="50000"/>
                </a:spcBef>
              </a:pPr>
              <a:t>‹#›</a:t>
            </a:fld>
            <a:endParaRPr lang="en-US" altLang="en-US" sz="1800">
              <a:solidFill>
                <a:srgbClr val="FFFFFF"/>
              </a:solidFill>
              <a:latin typeface="Garamond" panose="02020404030301010803" pitchFamily="18" charset="0"/>
            </a:endParaRPr>
          </a:p>
        </p:txBody>
      </p:sp>
      <p:graphicFrame>
        <p:nvGraphicFramePr>
          <p:cNvPr id="16" name="Object 18">
            <a:extLst>
              <a:ext uri="{FF2B5EF4-FFF2-40B4-BE49-F238E27FC236}">
                <a16:creationId xmlns:a16="http://schemas.microsoft.com/office/drawing/2014/main" id="{9B18B675-3317-4756-AAED-FC7DB64A0AD3}"/>
              </a:ext>
            </a:extLst>
          </p:cNvPr>
          <p:cNvGraphicFramePr>
            <a:graphicFrameLocks noChangeAspect="1"/>
          </p:cNvGraphicFramePr>
          <p:nvPr/>
        </p:nvGraphicFramePr>
        <p:xfrm>
          <a:off x="9652000" y="5918200"/>
          <a:ext cx="2540000" cy="939800"/>
        </p:xfrm>
        <a:graphic>
          <a:graphicData uri="http://schemas.openxmlformats.org/presentationml/2006/ole">
            <mc:AlternateContent xmlns:mc="http://schemas.openxmlformats.org/markup-compatibility/2006">
              <mc:Choice xmlns:v="urn:schemas-microsoft-com:vml" Requires="v">
                <p:oleObj spid="_x0000_s12291" name="Bitmap Image" r:id="rId3" imgW="2142857" imgH="1057423" progId="Paint.Picture">
                  <p:embed/>
                </p:oleObj>
              </mc:Choice>
              <mc:Fallback>
                <p:oleObj name="Bitmap Image" r:id="rId3" imgW="2142857" imgH="1057423" progId="Paint.Picture">
                  <p:embed/>
                  <p:pic>
                    <p:nvPicPr>
                      <p:cNvPr id="16" name="Object 18">
                        <a:extLst>
                          <a:ext uri="{FF2B5EF4-FFF2-40B4-BE49-F238E27FC236}">
                            <a16:creationId xmlns:a16="http://schemas.microsoft.com/office/drawing/2014/main" id="{9B18B675-3317-4756-AAED-FC7DB64A0AD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652000" y="5918200"/>
                        <a:ext cx="2540000" cy="939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a:t>Click icon to add picture</a:t>
            </a:r>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17" name="Rectangle 2">
            <a:extLst>
              <a:ext uri="{FF2B5EF4-FFF2-40B4-BE49-F238E27FC236}">
                <a16:creationId xmlns:a16="http://schemas.microsoft.com/office/drawing/2014/main" id="{5A41F0F4-01A0-4DA6-9878-53AAB6AA49FB}"/>
              </a:ext>
            </a:extLst>
          </p:cNvPr>
          <p:cNvSpPr>
            <a:spLocks noGrp="1" noChangeArrowheads="1"/>
          </p:cNvSpPr>
          <p:nvPr>
            <p:ph type="dt" sz="half" idx="10"/>
          </p:nvPr>
        </p:nvSpPr>
        <p:spPr/>
        <p:txBody>
          <a:bodyPr/>
          <a:lstStyle>
            <a:lvl1pPr fontAlgn="auto">
              <a:spcBef>
                <a:spcPts val="0"/>
              </a:spcBef>
              <a:spcAft>
                <a:spcPts val="0"/>
              </a:spcAft>
              <a:defRPr/>
            </a:lvl1pPr>
          </a:lstStyle>
          <a:p>
            <a:pPr>
              <a:defRPr/>
            </a:pPr>
            <a:endParaRPr lang="en-US"/>
          </a:p>
        </p:txBody>
      </p:sp>
      <p:sp>
        <p:nvSpPr>
          <p:cNvPr id="18" name="Rectangle 3">
            <a:extLst>
              <a:ext uri="{FF2B5EF4-FFF2-40B4-BE49-F238E27FC236}">
                <a16:creationId xmlns:a16="http://schemas.microsoft.com/office/drawing/2014/main" id="{780F3C59-C71F-4BC2-BA19-AEBAD29C7FD7}"/>
              </a:ext>
            </a:extLst>
          </p:cNvPr>
          <p:cNvSpPr>
            <a:spLocks noGrp="1" noChangeArrowheads="1"/>
          </p:cNvSpPr>
          <p:nvPr>
            <p:ph type="sldNum" sz="quarter" idx="11"/>
          </p:nvPr>
        </p:nvSpPr>
        <p:spPr/>
        <p:txBody>
          <a:bodyPr/>
          <a:lstStyle>
            <a:lvl1pPr>
              <a:defRPr/>
            </a:lvl1pPr>
          </a:lstStyle>
          <a:p>
            <a:fld id="{A8D36F80-F7DB-48AC-B905-3BCA9515BC64}" type="slidenum">
              <a:rPr lang="en-US" altLang="en-US"/>
              <a:pPr/>
              <a:t>‹#›</a:t>
            </a:fld>
            <a:endParaRPr lang="en-US" altLang="en-US"/>
          </a:p>
        </p:txBody>
      </p:sp>
      <p:sp>
        <p:nvSpPr>
          <p:cNvPr id="19" name="Rectangle 14">
            <a:extLst>
              <a:ext uri="{FF2B5EF4-FFF2-40B4-BE49-F238E27FC236}">
                <a16:creationId xmlns:a16="http://schemas.microsoft.com/office/drawing/2014/main" id="{1EB6A3BE-C1ED-4AF8-8FAF-BA8376613757}"/>
              </a:ext>
            </a:extLst>
          </p:cNvPr>
          <p:cNvSpPr>
            <a:spLocks noGrp="1" noChangeArrowheads="1"/>
          </p:cNvSpPr>
          <p:nvPr>
            <p:ph type="ftr" sz="quarter" idx="12"/>
          </p:nvPr>
        </p:nvSpPr>
        <p:spPr/>
        <p:txBody>
          <a:bodyPr/>
          <a:lstStyle>
            <a:lvl1pPr fontAlgn="auto">
              <a:spcBef>
                <a:spcPts val="0"/>
              </a:spcBef>
              <a:spcAft>
                <a:spcPts val="0"/>
              </a:spcAft>
              <a:defRPr/>
            </a:lvl1pPr>
          </a:lstStyle>
          <a:p>
            <a:pPr>
              <a:defRPr/>
            </a:pPr>
            <a:endParaRPr lang="en-US"/>
          </a:p>
        </p:txBody>
      </p:sp>
    </p:spTree>
    <p:extLst>
      <p:ext uri="{BB962C8B-B14F-4D97-AF65-F5344CB8AC3E}">
        <p14:creationId xmlns:p14="http://schemas.microsoft.com/office/powerpoint/2010/main" val="2401498716"/>
      </p:ext>
    </p:extLst>
  </p:cSld>
  <p:clrMapOvr>
    <a:masterClrMapping/>
  </p:clrMapOvr>
  <p:transition>
    <p:random/>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grpSp>
        <p:nvGrpSpPr>
          <p:cNvPr id="4" name="Group 4">
            <a:extLst>
              <a:ext uri="{FF2B5EF4-FFF2-40B4-BE49-F238E27FC236}">
                <a16:creationId xmlns:a16="http://schemas.microsoft.com/office/drawing/2014/main" id="{A22C5FEB-BB7C-49F6-93A2-739BCAD839A9}"/>
              </a:ext>
            </a:extLst>
          </p:cNvPr>
          <p:cNvGrpSpPr>
            <a:grpSpLocks/>
          </p:cNvGrpSpPr>
          <p:nvPr/>
        </p:nvGrpSpPr>
        <p:grpSpPr bwMode="auto">
          <a:xfrm>
            <a:off x="1" y="1"/>
            <a:ext cx="12187767" cy="6850063"/>
            <a:chOff x="0" y="0"/>
            <a:chExt cx="5758" cy="4315"/>
          </a:xfrm>
        </p:grpSpPr>
        <p:grpSp>
          <p:nvGrpSpPr>
            <p:cNvPr id="5" name="Group 5">
              <a:extLst>
                <a:ext uri="{FF2B5EF4-FFF2-40B4-BE49-F238E27FC236}">
                  <a16:creationId xmlns:a16="http://schemas.microsoft.com/office/drawing/2014/main" id="{ED9E8C5C-8169-4560-B852-98DC89F7FA34}"/>
                </a:ext>
              </a:extLst>
            </p:cNvPr>
            <p:cNvGrpSpPr>
              <a:grpSpLocks/>
            </p:cNvGrpSpPr>
            <p:nvPr userDrawn="1"/>
          </p:nvGrpSpPr>
          <p:grpSpPr bwMode="auto">
            <a:xfrm>
              <a:off x="1728" y="2230"/>
              <a:ext cx="4027" cy="2085"/>
              <a:chOff x="1728" y="2230"/>
              <a:chExt cx="4027" cy="2085"/>
            </a:xfrm>
          </p:grpSpPr>
          <p:sp>
            <p:nvSpPr>
              <p:cNvPr id="8" name="Freeform 6">
                <a:extLst>
                  <a:ext uri="{FF2B5EF4-FFF2-40B4-BE49-F238E27FC236}">
                    <a16:creationId xmlns:a16="http://schemas.microsoft.com/office/drawing/2014/main" id="{7FFF6754-8861-4B56-96FB-F67CAACD81E1}"/>
                  </a:ext>
                </a:extLst>
              </p:cNvPr>
              <p:cNvSpPr>
                <a:spLocks/>
              </p:cNvSpPr>
              <p:nvPr/>
            </p:nvSpPr>
            <p:spPr bwMode="hidden">
              <a:xfrm>
                <a:off x="1728" y="2644"/>
                <a:ext cx="2882" cy="1671"/>
              </a:xfrm>
              <a:custGeom>
                <a:avLst/>
                <a:gdLst/>
                <a:ahLst/>
                <a:cxnLst>
                  <a:cxn ang="0">
                    <a:pos x="2740" y="528"/>
                  </a:cxn>
                  <a:cxn ang="0">
                    <a:pos x="2632" y="484"/>
                  </a:cxn>
                  <a:cxn ang="0">
                    <a:pos x="2480" y="424"/>
                  </a:cxn>
                  <a:cxn ang="0">
                    <a:pos x="2203" y="343"/>
                  </a:cxn>
                  <a:cxn ang="0">
                    <a:pos x="1970" y="277"/>
                  </a:cxn>
                  <a:cxn ang="0">
                    <a:pos x="1807" y="212"/>
                  </a:cxn>
                  <a:cxn ang="0">
                    <a:pos x="1693" y="152"/>
                  </a:cxn>
                  <a:cxn ang="0">
                    <a:pos x="1628" y="103"/>
                  </a:cxn>
                  <a:cxn ang="0">
                    <a:pos x="1590" y="60"/>
                  </a:cxn>
                  <a:cxn ang="0">
                    <a:pos x="1579" y="27"/>
                  </a:cxn>
                  <a:cxn ang="0">
                    <a:pos x="1585" y="0"/>
                  </a:cxn>
                  <a:cxn ang="0">
                    <a:pos x="1557" y="49"/>
                  </a:cxn>
                  <a:cxn ang="0">
                    <a:pos x="1568" y="98"/>
                  </a:cxn>
                  <a:cxn ang="0">
                    <a:pos x="1617" y="141"/>
                  </a:cxn>
                  <a:cxn ang="0">
                    <a:pos x="1688" y="185"/>
                  </a:cxn>
                  <a:cxn ang="0">
                    <a:pos x="1791" y="228"/>
                  </a:cxn>
                  <a:cxn ang="0">
                    <a:pos x="2040" y="310"/>
                  </a:cxn>
                  <a:cxn ang="0">
                    <a:pos x="2285" y="381"/>
                  </a:cxn>
                  <a:cxn ang="0">
                    <a:pos x="2464" y="435"/>
                  </a:cxn>
                  <a:cxn ang="0">
                    <a:pos x="2605" y="484"/>
                  </a:cxn>
                  <a:cxn ang="0">
                    <a:pos x="2708" y="528"/>
                  </a:cxn>
                  <a:cxn ang="0">
                    <a:pos x="2768" y="560"/>
                  </a:cxn>
                  <a:cxn ang="0">
                    <a:pos x="2795" y="593"/>
                  </a:cxn>
                  <a:cxn ang="0">
                    <a:pos x="2795" y="642"/>
                  </a:cxn>
                  <a:cxn ang="0">
                    <a:pos x="2762" y="691"/>
                  </a:cxn>
                  <a:cxn ang="0">
                    <a:pos x="2692" y="735"/>
                  </a:cxn>
                  <a:cxn ang="0">
                    <a:pos x="2589" y="778"/>
                  </a:cxn>
                  <a:cxn ang="0">
                    <a:pos x="2458" y="822"/>
                  </a:cxn>
                  <a:cxn ang="0">
                    <a:pos x="2301" y="865"/>
                  </a:cxn>
                  <a:cxn ang="0">
                    <a:pos x="2030" y="930"/>
                  </a:cxn>
                  <a:cxn ang="0">
                    <a:pos x="1606" y="1034"/>
                  </a:cxn>
                  <a:cxn ang="0">
                    <a:pos x="1145" y="1164"/>
                  </a:cxn>
                  <a:cxn ang="0">
                    <a:pos x="673" y="1328"/>
                  </a:cxn>
                  <a:cxn ang="0">
                    <a:pos x="217" y="1545"/>
                  </a:cxn>
                  <a:cxn ang="0">
                    <a:pos x="353" y="1671"/>
                  </a:cxn>
                  <a:cxn ang="0">
                    <a:pos x="754" y="1469"/>
                  </a:cxn>
                  <a:cxn ang="0">
                    <a:pos x="1145" y="1311"/>
                  </a:cxn>
                  <a:cxn ang="0">
                    <a:pos x="1519" y="1186"/>
                  </a:cxn>
                  <a:cxn ang="0">
                    <a:pos x="1861" y="1083"/>
                  </a:cxn>
                  <a:cxn ang="0">
                    <a:pos x="2165" y="1007"/>
                  </a:cxn>
                  <a:cxn ang="0">
                    <a:pos x="2426" y="947"/>
                  </a:cxn>
                  <a:cxn ang="0">
                    <a:pos x="2626" y="892"/>
                  </a:cxn>
                  <a:cxn ang="0">
                    <a:pos x="2762" y="838"/>
                  </a:cxn>
                  <a:cxn ang="0">
                    <a:pos x="2827" y="794"/>
                  </a:cxn>
                  <a:cxn ang="0">
                    <a:pos x="2865" y="745"/>
                  </a:cxn>
                  <a:cxn ang="0">
                    <a:pos x="2882" y="702"/>
                  </a:cxn>
                  <a:cxn ang="0">
                    <a:pos x="2854" y="620"/>
                  </a:cxn>
                  <a:cxn ang="0">
                    <a:pos x="2800" y="560"/>
                  </a:cxn>
                  <a:cxn ang="0">
                    <a:pos x="2773" y="544"/>
                  </a:cxn>
                </a:cxnLst>
                <a:rect l="0" t="0" r="r" b="b"/>
                <a:pathLst>
                  <a:path w="2882" h="1671">
                    <a:moveTo>
                      <a:pt x="2773" y="544"/>
                    </a:moveTo>
                    <a:lnTo>
                      <a:pt x="2740" y="528"/>
                    </a:lnTo>
                    <a:lnTo>
                      <a:pt x="2692" y="506"/>
                    </a:lnTo>
                    <a:lnTo>
                      <a:pt x="2632" y="484"/>
                    </a:lnTo>
                    <a:lnTo>
                      <a:pt x="2561" y="457"/>
                    </a:lnTo>
                    <a:lnTo>
                      <a:pt x="2480" y="424"/>
                    </a:lnTo>
                    <a:lnTo>
                      <a:pt x="2388" y="397"/>
                    </a:lnTo>
                    <a:lnTo>
                      <a:pt x="2203" y="343"/>
                    </a:lnTo>
                    <a:lnTo>
                      <a:pt x="2078" y="310"/>
                    </a:lnTo>
                    <a:lnTo>
                      <a:pt x="1970" y="277"/>
                    </a:lnTo>
                    <a:lnTo>
                      <a:pt x="1878" y="245"/>
                    </a:lnTo>
                    <a:lnTo>
                      <a:pt x="1807" y="212"/>
                    </a:lnTo>
                    <a:lnTo>
                      <a:pt x="1742" y="179"/>
                    </a:lnTo>
                    <a:lnTo>
                      <a:pt x="1693" y="152"/>
                    </a:lnTo>
                    <a:lnTo>
                      <a:pt x="1655" y="125"/>
                    </a:lnTo>
                    <a:lnTo>
                      <a:pt x="1628" y="103"/>
                    </a:lnTo>
                    <a:lnTo>
                      <a:pt x="1606" y="81"/>
                    </a:lnTo>
                    <a:lnTo>
                      <a:pt x="1590" y="60"/>
                    </a:lnTo>
                    <a:lnTo>
                      <a:pt x="1585" y="43"/>
                    </a:lnTo>
                    <a:lnTo>
                      <a:pt x="1579" y="27"/>
                    </a:lnTo>
                    <a:lnTo>
                      <a:pt x="1585" y="5"/>
                    </a:lnTo>
                    <a:lnTo>
                      <a:pt x="1585" y="0"/>
                    </a:lnTo>
                    <a:lnTo>
                      <a:pt x="1568" y="27"/>
                    </a:lnTo>
                    <a:lnTo>
                      <a:pt x="1557" y="49"/>
                    </a:lnTo>
                    <a:lnTo>
                      <a:pt x="1557" y="76"/>
                    </a:lnTo>
                    <a:lnTo>
                      <a:pt x="1568" y="98"/>
                    </a:lnTo>
                    <a:lnTo>
                      <a:pt x="1590" y="120"/>
                    </a:lnTo>
                    <a:lnTo>
                      <a:pt x="1617" y="141"/>
                    </a:lnTo>
                    <a:lnTo>
                      <a:pt x="1650" y="163"/>
                    </a:lnTo>
                    <a:lnTo>
                      <a:pt x="1688" y="185"/>
                    </a:lnTo>
                    <a:lnTo>
                      <a:pt x="1737" y="207"/>
                    </a:lnTo>
                    <a:lnTo>
                      <a:pt x="1791" y="228"/>
                    </a:lnTo>
                    <a:lnTo>
                      <a:pt x="1905" y="267"/>
                    </a:lnTo>
                    <a:lnTo>
                      <a:pt x="2040" y="310"/>
                    </a:lnTo>
                    <a:lnTo>
                      <a:pt x="2182" y="348"/>
                    </a:lnTo>
                    <a:lnTo>
                      <a:pt x="2285" y="381"/>
                    </a:lnTo>
                    <a:lnTo>
                      <a:pt x="2382" y="408"/>
                    </a:lnTo>
                    <a:lnTo>
                      <a:pt x="2464" y="435"/>
                    </a:lnTo>
                    <a:lnTo>
                      <a:pt x="2540" y="462"/>
                    </a:lnTo>
                    <a:lnTo>
                      <a:pt x="2605" y="484"/>
                    </a:lnTo>
                    <a:lnTo>
                      <a:pt x="2659" y="506"/>
                    </a:lnTo>
                    <a:lnTo>
                      <a:pt x="2708" y="528"/>
                    </a:lnTo>
                    <a:lnTo>
                      <a:pt x="2740" y="544"/>
                    </a:lnTo>
                    <a:lnTo>
                      <a:pt x="2768" y="560"/>
                    </a:lnTo>
                    <a:lnTo>
                      <a:pt x="2784" y="577"/>
                    </a:lnTo>
                    <a:lnTo>
                      <a:pt x="2795" y="593"/>
                    </a:lnTo>
                    <a:lnTo>
                      <a:pt x="2800" y="615"/>
                    </a:lnTo>
                    <a:lnTo>
                      <a:pt x="2795" y="642"/>
                    </a:lnTo>
                    <a:lnTo>
                      <a:pt x="2784" y="664"/>
                    </a:lnTo>
                    <a:lnTo>
                      <a:pt x="2762" y="691"/>
                    </a:lnTo>
                    <a:lnTo>
                      <a:pt x="2730" y="713"/>
                    </a:lnTo>
                    <a:lnTo>
                      <a:pt x="2692" y="735"/>
                    </a:lnTo>
                    <a:lnTo>
                      <a:pt x="2643" y="756"/>
                    </a:lnTo>
                    <a:lnTo>
                      <a:pt x="2589" y="778"/>
                    </a:lnTo>
                    <a:lnTo>
                      <a:pt x="2529" y="800"/>
                    </a:lnTo>
                    <a:lnTo>
                      <a:pt x="2458" y="822"/>
                    </a:lnTo>
                    <a:lnTo>
                      <a:pt x="2382" y="843"/>
                    </a:lnTo>
                    <a:lnTo>
                      <a:pt x="2301" y="865"/>
                    </a:lnTo>
                    <a:lnTo>
                      <a:pt x="2214" y="887"/>
                    </a:lnTo>
                    <a:lnTo>
                      <a:pt x="2030" y="930"/>
                    </a:lnTo>
                    <a:lnTo>
                      <a:pt x="1823" y="979"/>
                    </a:lnTo>
                    <a:lnTo>
                      <a:pt x="1606" y="1034"/>
                    </a:lnTo>
                    <a:lnTo>
                      <a:pt x="1378" y="1094"/>
                    </a:lnTo>
                    <a:lnTo>
                      <a:pt x="1145" y="1164"/>
                    </a:lnTo>
                    <a:lnTo>
                      <a:pt x="912" y="1241"/>
                    </a:lnTo>
                    <a:lnTo>
                      <a:pt x="673" y="1328"/>
                    </a:lnTo>
                    <a:lnTo>
                      <a:pt x="440" y="1431"/>
                    </a:lnTo>
                    <a:lnTo>
                      <a:pt x="217" y="1545"/>
                    </a:lnTo>
                    <a:lnTo>
                      <a:pt x="0" y="1671"/>
                    </a:lnTo>
                    <a:lnTo>
                      <a:pt x="353" y="1671"/>
                    </a:lnTo>
                    <a:lnTo>
                      <a:pt x="554" y="1567"/>
                    </a:lnTo>
                    <a:lnTo>
                      <a:pt x="754" y="1469"/>
                    </a:lnTo>
                    <a:lnTo>
                      <a:pt x="955" y="1388"/>
                    </a:lnTo>
                    <a:lnTo>
                      <a:pt x="1145" y="1311"/>
                    </a:lnTo>
                    <a:lnTo>
                      <a:pt x="1335" y="1241"/>
                    </a:lnTo>
                    <a:lnTo>
                      <a:pt x="1519" y="1186"/>
                    </a:lnTo>
                    <a:lnTo>
                      <a:pt x="1693" y="1132"/>
                    </a:lnTo>
                    <a:lnTo>
                      <a:pt x="1861" y="1083"/>
                    </a:lnTo>
                    <a:lnTo>
                      <a:pt x="2019" y="1045"/>
                    </a:lnTo>
                    <a:lnTo>
                      <a:pt x="2165" y="1007"/>
                    </a:lnTo>
                    <a:lnTo>
                      <a:pt x="2301" y="974"/>
                    </a:lnTo>
                    <a:lnTo>
                      <a:pt x="2426" y="947"/>
                    </a:lnTo>
                    <a:lnTo>
                      <a:pt x="2534" y="914"/>
                    </a:lnTo>
                    <a:lnTo>
                      <a:pt x="2626" y="892"/>
                    </a:lnTo>
                    <a:lnTo>
                      <a:pt x="2702" y="865"/>
                    </a:lnTo>
                    <a:lnTo>
                      <a:pt x="2762" y="838"/>
                    </a:lnTo>
                    <a:lnTo>
                      <a:pt x="2800" y="816"/>
                    </a:lnTo>
                    <a:lnTo>
                      <a:pt x="2827" y="794"/>
                    </a:lnTo>
                    <a:lnTo>
                      <a:pt x="2849" y="767"/>
                    </a:lnTo>
                    <a:lnTo>
                      <a:pt x="2865" y="745"/>
                    </a:lnTo>
                    <a:lnTo>
                      <a:pt x="2876" y="724"/>
                    </a:lnTo>
                    <a:lnTo>
                      <a:pt x="2882" y="702"/>
                    </a:lnTo>
                    <a:lnTo>
                      <a:pt x="2876" y="658"/>
                    </a:lnTo>
                    <a:lnTo>
                      <a:pt x="2854" y="620"/>
                    </a:lnTo>
                    <a:lnTo>
                      <a:pt x="2833" y="588"/>
                    </a:lnTo>
                    <a:lnTo>
                      <a:pt x="2800" y="560"/>
                    </a:lnTo>
                    <a:lnTo>
                      <a:pt x="2773" y="544"/>
                    </a:lnTo>
                    <a:lnTo>
                      <a:pt x="2773" y="544"/>
                    </a:lnTo>
                    <a:close/>
                  </a:path>
                </a:pathLst>
              </a:custGeom>
              <a:gradFill rotWithShape="0">
                <a:gsLst>
                  <a:gs pos="0">
                    <a:schemeClr val="bg1"/>
                  </a:gs>
                  <a:gs pos="100000">
                    <a:schemeClr val="bg1">
                      <a:gamma/>
                      <a:shade val="90980"/>
                      <a:invGamma/>
                    </a:schemeClr>
                  </a:gs>
                </a:gsLst>
                <a:lin ang="0" scaled="1"/>
              </a:gradFill>
              <a:ln w="9525">
                <a:noFill/>
                <a:round/>
                <a:headEnd/>
                <a:tailEnd/>
              </a:ln>
            </p:spPr>
            <p:txBody>
              <a:bodyPr/>
              <a:lstStyle/>
              <a:p>
                <a:pPr eaLnBrk="0" hangingPunct="0">
                  <a:defRPr/>
                </a:pPr>
                <a:endParaRPr lang="en-US" sz="1800">
                  <a:solidFill>
                    <a:srgbClr val="FFFFFF"/>
                  </a:solidFill>
                  <a:latin typeface="+mn-lt"/>
                  <a:cs typeface="+mn-cs"/>
                </a:endParaRPr>
              </a:p>
            </p:txBody>
          </p:sp>
          <p:sp>
            <p:nvSpPr>
              <p:cNvPr id="9" name="Freeform 7">
                <a:extLst>
                  <a:ext uri="{FF2B5EF4-FFF2-40B4-BE49-F238E27FC236}">
                    <a16:creationId xmlns:a16="http://schemas.microsoft.com/office/drawing/2014/main" id="{CAB5B38C-072A-467C-B68C-B70A4D6E6DDC}"/>
                  </a:ext>
                </a:extLst>
              </p:cNvPr>
              <p:cNvSpPr>
                <a:spLocks/>
              </p:cNvSpPr>
              <p:nvPr/>
            </p:nvSpPr>
            <p:spPr bwMode="hidden">
              <a:xfrm>
                <a:off x="4170" y="2671"/>
                <a:ext cx="1259" cy="811"/>
              </a:xfrm>
              <a:custGeom>
                <a:avLst/>
                <a:gdLst/>
                <a:ahLst/>
                <a:cxnLst>
                  <a:cxn ang="0">
                    <a:pos x="1259" y="615"/>
                  </a:cxn>
                  <a:cxn ang="0">
                    <a:pos x="1248" y="588"/>
                  </a:cxn>
                  <a:cxn ang="0">
                    <a:pos x="1237" y="566"/>
                  </a:cxn>
                  <a:cxn ang="0">
                    <a:pos x="1216" y="539"/>
                  </a:cxn>
                  <a:cxn ang="0">
                    <a:pos x="1188" y="517"/>
                  </a:cxn>
                  <a:cxn ang="0">
                    <a:pos x="1123" y="479"/>
                  </a:cxn>
                  <a:cxn ang="0">
                    <a:pos x="1042" y="441"/>
                  </a:cxn>
                  <a:cxn ang="0">
                    <a:pos x="944" y="408"/>
                  </a:cxn>
                  <a:cxn ang="0">
                    <a:pos x="841" y="381"/>
                  </a:cxn>
                  <a:cxn ang="0">
                    <a:pos x="727" y="348"/>
                  </a:cxn>
                  <a:cxn ang="0">
                    <a:pos x="613" y="321"/>
                  </a:cxn>
                  <a:cxn ang="0">
                    <a:pos x="499" y="294"/>
                  </a:cxn>
                  <a:cxn ang="0">
                    <a:pos x="391" y="261"/>
                  </a:cxn>
                  <a:cxn ang="0">
                    <a:pos x="288" y="229"/>
                  </a:cxn>
                  <a:cxn ang="0">
                    <a:pos x="195" y="196"/>
                  </a:cxn>
                  <a:cxn ang="0">
                    <a:pos x="119" y="152"/>
                  </a:cxn>
                  <a:cxn ang="0">
                    <a:pos x="54" y="109"/>
                  </a:cxn>
                  <a:cxn ang="0">
                    <a:pos x="33" y="87"/>
                  </a:cxn>
                  <a:cxn ang="0">
                    <a:pos x="16" y="60"/>
                  </a:cxn>
                  <a:cxn ang="0">
                    <a:pos x="5" y="33"/>
                  </a:cxn>
                  <a:cxn ang="0">
                    <a:pos x="0" y="0"/>
                  </a:cxn>
                  <a:cxn ang="0">
                    <a:pos x="0" y="6"/>
                  </a:cxn>
                  <a:cxn ang="0">
                    <a:pos x="0" y="11"/>
                  </a:cxn>
                  <a:cxn ang="0">
                    <a:pos x="0" y="38"/>
                  </a:cxn>
                  <a:cxn ang="0">
                    <a:pos x="5" y="60"/>
                  </a:cxn>
                  <a:cxn ang="0">
                    <a:pos x="16" y="87"/>
                  </a:cxn>
                  <a:cxn ang="0">
                    <a:pos x="33" y="114"/>
                  </a:cxn>
                  <a:cxn ang="0">
                    <a:pos x="54" y="142"/>
                  </a:cxn>
                  <a:cxn ang="0">
                    <a:pos x="87" y="174"/>
                  </a:cxn>
                  <a:cxn ang="0">
                    <a:pos x="125" y="207"/>
                  </a:cxn>
                  <a:cxn ang="0">
                    <a:pos x="179" y="240"/>
                  </a:cxn>
                  <a:cxn ang="0">
                    <a:pos x="244" y="278"/>
                  </a:cxn>
                  <a:cxn ang="0">
                    <a:pos x="326" y="310"/>
                  </a:cxn>
                  <a:cxn ang="0">
                    <a:pos x="418" y="348"/>
                  </a:cxn>
                  <a:cxn ang="0">
                    <a:pos x="526" y="381"/>
                  </a:cxn>
                  <a:cxn ang="0">
                    <a:pos x="657" y="414"/>
                  </a:cxn>
                  <a:cxn ang="0">
                    <a:pos x="749" y="435"/>
                  </a:cxn>
                  <a:cxn ang="0">
                    <a:pos x="830" y="463"/>
                  </a:cxn>
                  <a:cxn ang="0">
                    <a:pos x="901" y="490"/>
                  </a:cxn>
                  <a:cxn ang="0">
                    <a:pos x="966" y="512"/>
                  </a:cxn>
                  <a:cxn ang="0">
                    <a:pos x="1015" y="539"/>
                  </a:cxn>
                  <a:cxn ang="0">
                    <a:pos x="1053" y="566"/>
                  </a:cxn>
                  <a:cxn ang="0">
                    <a:pos x="1080" y="593"/>
                  </a:cxn>
                  <a:cxn ang="0">
                    <a:pos x="1102" y="620"/>
                  </a:cxn>
                  <a:cxn ang="0">
                    <a:pos x="1112" y="648"/>
                  </a:cxn>
                  <a:cxn ang="0">
                    <a:pos x="1118" y="675"/>
                  </a:cxn>
                  <a:cxn ang="0">
                    <a:pos x="1112" y="697"/>
                  </a:cxn>
                  <a:cxn ang="0">
                    <a:pos x="1096" y="724"/>
                  </a:cxn>
                  <a:cxn ang="0">
                    <a:pos x="1080" y="746"/>
                  </a:cxn>
                  <a:cxn ang="0">
                    <a:pos x="1053" y="767"/>
                  </a:cxn>
                  <a:cxn ang="0">
                    <a:pos x="1015" y="789"/>
                  </a:cxn>
                  <a:cxn ang="0">
                    <a:pos x="977" y="811"/>
                  </a:cxn>
                  <a:cxn ang="0">
                    <a:pos x="1047" y="789"/>
                  </a:cxn>
                  <a:cxn ang="0">
                    <a:pos x="1107" y="767"/>
                  </a:cxn>
                  <a:cxn ang="0">
                    <a:pos x="1156" y="746"/>
                  </a:cxn>
                  <a:cxn ang="0">
                    <a:pos x="1199" y="724"/>
                  </a:cxn>
                  <a:cxn ang="0">
                    <a:pos x="1226" y="702"/>
                  </a:cxn>
                  <a:cxn ang="0">
                    <a:pos x="1248" y="675"/>
                  </a:cxn>
                  <a:cxn ang="0">
                    <a:pos x="1259" y="648"/>
                  </a:cxn>
                  <a:cxn ang="0">
                    <a:pos x="1259" y="615"/>
                  </a:cxn>
                  <a:cxn ang="0">
                    <a:pos x="1259" y="615"/>
                  </a:cxn>
                </a:cxnLst>
                <a:rect l="0" t="0" r="r" b="b"/>
                <a:pathLst>
                  <a:path w="1259" h="811">
                    <a:moveTo>
                      <a:pt x="1259" y="615"/>
                    </a:moveTo>
                    <a:lnTo>
                      <a:pt x="1248" y="588"/>
                    </a:lnTo>
                    <a:lnTo>
                      <a:pt x="1237" y="566"/>
                    </a:lnTo>
                    <a:lnTo>
                      <a:pt x="1216" y="539"/>
                    </a:lnTo>
                    <a:lnTo>
                      <a:pt x="1188" y="517"/>
                    </a:lnTo>
                    <a:lnTo>
                      <a:pt x="1123" y="479"/>
                    </a:lnTo>
                    <a:lnTo>
                      <a:pt x="1042" y="441"/>
                    </a:lnTo>
                    <a:lnTo>
                      <a:pt x="944" y="408"/>
                    </a:lnTo>
                    <a:lnTo>
                      <a:pt x="841" y="381"/>
                    </a:lnTo>
                    <a:lnTo>
                      <a:pt x="727" y="348"/>
                    </a:lnTo>
                    <a:lnTo>
                      <a:pt x="613" y="321"/>
                    </a:lnTo>
                    <a:lnTo>
                      <a:pt x="499" y="294"/>
                    </a:lnTo>
                    <a:lnTo>
                      <a:pt x="391" y="261"/>
                    </a:lnTo>
                    <a:lnTo>
                      <a:pt x="288" y="229"/>
                    </a:lnTo>
                    <a:lnTo>
                      <a:pt x="195" y="196"/>
                    </a:lnTo>
                    <a:lnTo>
                      <a:pt x="119" y="152"/>
                    </a:lnTo>
                    <a:lnTo>
                      <a:pt x="54" y="109"/>
                    </a:lnTo>
                    <a:lnTo>
                      <a:pt x="33" y="87"/>
                    </a:lnTo>
                    <a:lnTo>
                      <a:pt x="16" y="60"/>
                    </a:lnTo>
                    <a:lnTo>
                      <a:pt x="5" y="33"/>
                    </a:lnTo>
                    <a:lnTo>
                      <a:pt x="0" y="0"/>
                    </a:lnTo>
                    <a:lnTo>
                      <a:pt x="0" y="6"/>
                    </a:lnTo>
                    <a:lnTo>
                      <a:pt x="0" y="11"/>
                    </a:lnTo>
                    <a:lnTo>
                      <a:pt x="0" y="38"/>
                    </a:lnTo>
                    <a:lnTo>
                      <a:pt x="5" y="60"/>
                    </a:lnTo>
                    <a:lnTo>
                      <a:pt x="16" y="87"/>
                    </a:lnTo>
                    <a:lnTo>
                      <a:pt x="33" y="114"/>
                    </a:lnTo>
                    <a:lnTo>
                      <a:pt x="54" y="142"/>
                    </a:lnTo>
                    <a:lnTo>
                      <a:pt x="87" y="174"/>
                    </a:lnTo>
                    <a:lnTo>
                      <a:pt x="125" y="207"/>
                    </a:lnTo>
                    <a:lnTo>
                      <a:pt x="179" y="240"/>
                    </a:lnTo>
                    <a:lnTo>
                      <a:pt x="244" y="278"/>
                    </a:lnTo>
                    <a:lnTo>
                      <a:pt x="326" y="310"/>
                    </a:lnTo>
                    <a:lnTo>
                      <a:pt x="418" y="348"/>
                    </a:lnTo>
                    <a:lnTo>
                      <a:pt x="526" y="381"/>
                    </a:lnTo>
                    <a:lnTo>
                      <a:pt x="657" y="414"/>
                    </a:lnTo>
                    <a:lnTo>
                      <a:pt x="749" y="435"/>
                    </a:lnTo>
                    <a:lnTo>
                      <a:pt x="830" y="463"/>
                    </a:lnTo>
                    <a:lnTo>
                      <a:pt x="901" y="490"/>
                    </a:lnTo>
                    <a:lnTo>
                      <a:pt x="966" y="512"/>
                    </a:lnTo>
                    <a:lnTo>
                      <a:pt x="1015" y="539"/>
                    </a:lnTo>
                    <a:lnTo>
                      <a:pt x="1053" y="566"/>
                    </a:lnTo>
                    <a:lnTo>
                      <a:pt x="1080" y="593"/>
                    </a:lnTo>
                    <a:lnTo>
                      <a:pt x="1102" y="620"/>
                    </a:lnTo>
                    <a:lnTo>
                      <a:pt x="1112" y="648"/>
                    </a:lnTo>
                    <a:lnTo>
                      <a:pt x="1118" y="675"/>
                    </a:lnTo>
                    <a:lnTo>
                      <a:pt x="1112" y="697"/>
                    </a:lnTo>
                    <a:lnTo>
                      <a:pt x="1096" y="724"/>
                    </a:lnTo>
                    <a:lnTo>
                      <a:pt x="1080" y="746"/>
                    </a:lnTo>
                    <a:lnTo>
                      <a:pt x="1053" y="767"/>
                    </a:lnTo>
                    <a:lnTo>
                      <a:pt x="1015" y="789"/>
                    </a:lnTo>
                    <a:lnTo>
                      <a:pt x="977" y="811"/>
                    </a:lnTo>
                    <a:lnTo>
                      <a:pt x="1047" y="789"/>
                    </a:lnTo>
                    <a:lnTo>
                      <a:pt x="1107" y="767"/>
                    </a:lnTo>
                    <a:lnTo>
                      <a:pt x="1156" y="746"/>
                    </a:lnTo>
                    <a:lnTo>
                      <a:pt x="1199" y="724"/>
                    </a:lnTo>
                    <a:lnTo>
                      <a:pt x="1226" y="702"/>
                    </a:lnTo>
                    <a:lnTo>
                      <a:pt x="1248" y="675"/>
                    </a:lnTo>
                    <a:lnTo>
                      <a:pt x="1259" y="648"/>
                    </a:lnTo>
                    <a:lnTo>
                      <a:pt x="1259" y="615"/>
                    </a:lnTo>
                    <a:lnTo>
                      <a:pt x="1259" y="615"/>
                    </a:lnTo>
                    <a:close/>
                  </a:path>
                </a:pathLst>
              </a:custGeom>
              <a:gradFill rotWithShape="0">
                <a:gsLst>
                  <a:gs pos="0">
                    <a:schemeClr val="bg1"/>
                  </a:gs>
                  <a:gs pos="100000">
                    <a:schemeClr val="bg1">
                      <a:gamma/>
                      <a:shade val="90980"/>
                      <a:invGamma/>
                    </a:schemeClr>
                  </a:gs>
                </a:gsLst>
                <a:lin ang="2700000" scaled="1"/>
              </a:gradFill>
              <a:ln w="9525">
                <a:noFill/>
                <a:round/>
                <a:headEnd/>
                <a:tailEnd/>
              </a:ln>
            </p:spPr>
            <p:txBody>
              <a:bodyPr/>
              <a:lstStyle/>
              <a:p>
                <a:pPr eaLnBrk="0" hangingPunct="0">
                  <a:defRPr/>
                </a:pPr>
                <a:endParaRPr lang="en-US" sz="1800">
                  <a:solidFill>
                    <a:srgbClr val="FFFFFF"/>
                  </a:solidFill>
                  <a:latin typeface="+mn-lt"/>
                  <a:cs typeface="+mn-cs"/>
                </a:endParaRPr>
              </a:p>
            </p:txBody>
          </p:sp>
          <p:sp>
            <p:nvSpPr>
              <p:cNvPr id="10" name="Freeform 8">
                <a:extLst>
                  <a:ext uri="{FF2B5EF4-FFF2-40B4-BE49-F238E27FC236}">
                    <a16:creationId xmlns:a16="http://schemas.microsoft.com/office/drawing/2014/main" id="{6F82F8D5-4853-4217-A043-6BB4C03E433F}"/>
                  </a:ext>
                </a:extLst>
              </p:cNvPr>
              <p:cNvSpPr>
                <a:spLocks/>
              </p:cNvSpPr>
              <p:nvPr/>
            </p:nvSpPr>
            <p:spPr bwMode="hidden">
              <a:xfrm>
                <a:off x="2900" y="3346"/>
                <a:ext cx="2849" cy="969"/>
              </a:xfrm>
              <a:custGeom>
                <a:avLst/>
                <a:gdLst/>
                <a:ahLst/>
                <a:cxnLst>
                  <a:cxn ang="0">
                    <a:pos x="92" y="958"/>
                  </a:cxn>
                  <a:cxn ang="0">
                    <a:pos x="0" y="969"/>
                  </a:cxn>
                  <a:cxn ang="0">
                    <a:pos x="391" y="969"/>
                  </a:cxn>
                  <a:cxn ang="0">
                    <a:pos x="434" y="947"/>
                  </a:cxn>
                  <a:cxn ang="0">
                    <a:pos x="483" y="914"/>
                  </a:cxn>
                  <a:cxn ang="0">
                    <a:pos x="554" y="876"/>
                  </a:cxn>
                  <a:cxn ang="0">
                    <a:pos x="635" y="838"/>
                  </a:cxn>
                  <a:cxn ang="0">
                    <a:pos x="727" y="794"/>
                  </a:cxn>
                  <a:cxn ang="0">
                    <a:pos x="836" y="745"/>
                  </a:cxn>
                  <a:cxn ang="0">
                    <a:pos x="961" y="696"/>
                  </a:cxn>
                  <a:cxn ang="0">
                    <a:pos x="1102" y="642"/>
                  </a:cxn>
                  <a:cxn ang="0">
                    <a:pos x="1259" y="582"/>
                  </a:cxn>
                  <a:cxn ang="0">
                    <a:pos x="1433" y="522"/>
                  </a:cxn>
                  <a:cxn ang="0">
                    <a:pos x="1623" y="462"/>
                  </a:cxn>
                  <a:cxn ang="0">
                    <a:pos x="1829" y="403"/>
                  </a:cxn>
                  <a:cxn ang="0">
                    <a:pos x="2057" y="343"/>
                  </a:cxn>
                  <a:cxn ang="0">
                    <a:pos x="2301" y="283"/>
                  </a:cxn>
                  <a:cxn ang="0">
                    <a:pos x="2567" y="223"/>
                  </a:cxn>
                  <a:cxn ang="0">
                    <a:pos x="2849" y="163"/>
                  </a:cxn>
                  <a:cxn ang="0">
                    <a:pos x="2849" y="0"/>
                  </a:cxn>
                  <a:cxn ang="0">
                    <a:pos x="2817" y="16"/>
                  </a:cxn>
                  <a:cxn ang="0">
                    <a:pos x="2773" y="33"/>
                  </a:cxn>
                  <a:cxn ang="0">
                    <a:pos x="2719" y="54"/>
                  </a:cxn>
                  <a:cxn ang="0">
                    <a:pos x="2648" y="76"/>
                  </a:cxn>
                  <a:cxn ang="0">
                    <a:pos x="2572" y="98"/>
                  </a:cxn>
                  <a:cxn ang="0">
                    <a:pos x="2491" y="120"/>
                  </a:cxn>
                  <a:cxn ang="0">
                    <a:pos x="2399" y="147"/>
                  </a:cxn>
                  <a:cxn ang="0">
                    <a:pos x="2301" y="169"/>
                  </a:cxn>
                  <a:cxn ang="0">
                    <a:pos x="2095" y="223"/>
                  </a:cxn>
                  <a:cxn ang="0">
                    <a:pos x="1889" y="277"/>
                  </a:cxn>
                  <a:cxn ang="0">
                    <a:pos x="1688" y="326"/>
                  </a:cxn>
                  <a:cxn ang="0">
                    <a:pos x="1590" y="354"/>
                  </a:cxn>
                  <a:cxn ang="0">
                    <a:pos x="1503" y="381"/>
                  </a:cxn>
                  <a:cxn ang="0">
                    <a:pos x="1107" y="506"/>
                  </a:cxn>
                  <a:cxn ang="0">
                    <a:pos x="912" y="577"/>
                  </a:cxn>
                  <a:cxn ang="0">
                    <a:pos x="727" y="647"/>
                  </a:cxn>
                  <a:cxn ang="0">
                    <a:pos x="548" y="718"/>
                  </a:cxn>
                  <a:cxn ang="0">
                    <a:pos x="380" y="794"/>
                  </a:cxn>
                  <a:cxn ang="0">
                    <a:pos x="228" y="876"/>
                  </a:cxn>
                  <a:cxn ang="0">
                    <a:pos x="92" y="958"/>
                  </a:cxn>
                  <a:cxn ang="0">
                    <a:pos x="92" y="958"/>
                  </a:cxn>
                </a:cxnLst>
                <a:rect l="0" t="0" r="r" b="b"/>
                <a:pathLst>
                  <a:path w="2849" h="969">
                    <a:moveTo>
                      <a:pt x="92" y="958"/>
                    </a:moveTo>
                    <a:lnTo>
                      <a:pt x="0" y="969"/>
                    </a:lnTo>
                    <a:lnTo>
                      <a:pt x="391" y="969"/>
                    </a:lnTo>
                    <a:lnTo>
                      <a:pt x="434" y="947"/>
                    </a:lnTo>
                    <a:lnTo>
                      <a:pt x="483" y="914"/>
                    </a:lnTo>
                    <a:lnTo>
                      <a:pt x="554" y="876"/>
                    </a:lnTo>
                    <a:lnTo>
                      <a:pt x="635" y="838"/>
                    </a:lnTo>
                    <a:lnTo>
                      <a:pt x="727" y="794"/>
                    </a:lnTo>
                    <a:lnTo>
                      <a:pt x="836" y="745"/>
                    </a:lnTo>
                    <a:lnTo>
                      <a:pt x="961" y="696"/>
                    </a:lnTo>
                    <a:lnTo>
                      <a:pt x="1102" y="642"/>
                    </a:lnTo>
                    <a:lnTo>
                      <a:pt x="1259" y="582"/>
                    </a:lnTo>
                    <a:lnTo>
                      <a:pt x="1433" y="522"/>
                    </a:lnTo>
                    <a:lnTo>
                      <a:pt x="1623" y="462"/>
                    </a:lnTo>
                    <a:lnTo>
                      <a:pt x="1829" y="403"/>
                    </a:lnTo>
                    <a:lnTo>
                      <a:pt x="2057" y="343"/>
                    </a:lnTo>
                    <a:lnTo>
                      <a:pt x="2301" y="283"/>
                    </a:lnTo>
                    <a:lnTo>
                      <a:pt x="2567" y="223"/>
                    </a:lnTo>
                    <a:lnTo>
                      <a:pt x="2849" y="163"/>
                    </a:lnTo>
                    <a:lnTo>
                      <a:pt x="2849" y="0"/>
                    </a:lnTo>
                    <a:lnTo>
                      <a:pt x="2817" y="16"/>
                    </a:lnTo>
                    <a:lnTo>
                      <a:pt x="2773" y="33"/>
                    </a:lnTo>
                    <a:lnTo>
                      <a:pt x="2719" y="54"/>
                    </a:lnTo>
                    <a:lnTo>
                      <a:pt x="2648" y="76"/>
                    </a:lnTo>
                    <a:lnTo>
                      <a:pt x="2572" y="98"/>
                    </a:lnTo>
                    <a:lnTo>
                      <a:pt x="2491" y="120"/>
                    </a:lnTo>
                    <a:lnTo>
                      <a:pt x="2399" y="147"/>
                    </a:lnTo>
                    <a:lnTo>
                      <a:pt x="2301" y="169"/>
                    </a:lnTo>
                    <a:lnTo>
                      <a:pt x="2095" y="223"/>
                    </a:lnTo>
                    <a:lnTo>
                      <a:pt x="1889" y="277"/>
                    </a:lnTo>
                    <a:lnTo>
                      <a:pt x="1688" y="326"/>
                    </a:lnTo>
                    <a:lnTo>
                      <a:pt x="1590" y="354"/>
                    </a:lnTo>
                    <a:lnTo>
                      <a:pt x="1503" y="381"/>
                    </a:lnTo>
                    <a:lnTo>
                      <a:pt x="1107" y="506"/>
                    </a:lnTo>
                    <a:lnTo>
                      <a:pt x="912" y="577"/>
                    </a:lnTo>
                    <a:lnTo>
                      <a:pt x="727" y="647"/>
                    </a:lnTo>
                    <a:lnTo>
                      <a:pt x="548" y="718"/>
                    </a:lnTo>
                    <a:lnTo>
                      <a:pt x="380" y="794"/>
                    </a:lnTo>
                    <a:lnTo>
                      <a:pt x="228" y="876"/>
                    </a:lnTo>
                    <a:lnTo>
                      <a:pt x="92" y="958"/>
                    </a:lnTo>
                    <a:lnTo>
                      <a:pt x="92" y="958"/>
                    </a:lnTo>
                    <a:close/>
                  </a:path>
                </a:pathLst>
              </a:custGeom>
              <a:gradFill rotWithShape="0">
                <a:gsLst>
                  <a:gs pos="0">
                    <a:schemeClr val="bg1">
                      <a:gamma/>
                      <a:shade val="81961"/>
                      <a:invGamma/>
                    </a:schemeClr>
                  </a:gs>
                  <a:gs pos="100000">
                    <a:schemeClr val="bg1"/>
                  </a:gs>
                </a:gsLst>
                <a:lin ang="5400000" scaled="1"/>
              </a:gradFill>
              <a:ln w="9525">
                <a:noFill/>
                <a:round/>
                <a:headEnd/>
                <a:tailEnd/>
              </a:ln>
            </p:spPr>
            <p:txBody>
              <a:bodyPr/>
              <a:lstStyle/>
              <a:p>
                <a:pPr eaLnBrk="0" hangingPunct="0">
                  <a:defRPr/>
                </a:pPr>
                <a:endParaRPr lang="en-US" sz="1800">
                  <a:solidFill>
                    <a:srgbClr val="FFFFFF"/>
                  </a:solidFill>
                  <a:latin typeface="+mn-lt"/>
                  <a:cs typeface="+mn-cs"/>
                </a:endParaRPr>
              </a:p>
            </p:txBody>
          </p:sp>
          <p:sp>
            <p:nvSpPr>
              <p:cNvPr id="11" name="Freeform 9">
                <a:extLst>
                  <a:ext uri="{FF2B5EF4-FFF2-40B4-BE49-F238E27FC236}">
                    <a16:creationId xmlns:a16="http://schemas.microsoft.com/office/drawing/2014/main" id="{064A203A-F47C-42C5-B05E-7D7EF4EF852B}"/>
                  </a:ext>
                </a:extLst>
              </p:cNvPr>
              <p:cNvSpPr>
                <a:spLocks/>
              </p:cNvSpPr>
              <p:nvPr/>
            </p:nvSpPr>
            <p:spPr bwMode="hidden">
              <a:xfrm>
                <a:off x="2748" y="2230"/>
                <a:ext cx="3007" cy="2085"/>
              </a:xfrm>
              <a:custGeom>
                <a:avLst/>
                <a:gdLst>
                  <a:gd name="T0" fmla="*/ 1433 w 3007"/>
                  <a:gd name="T1" fmla="*/ 474 h 2085"/>
                  <a:gd name="T2" fmla="*/ 1460 w 3007"/>
                  <a:gd name="T3" fmla="*/ 528 h 2085"/>
                  <a:gd name="T4" fmla="*/ 1541 w 3007"/>
                  <a:gd name="T5" fmla="*/ 593 h 2085"/>
                  <a:gd name="T6" fmla="*/ 1715 w 3007"/>
                  <a:gd name="T7" fmla="*/ 670 h 2085"/>
                  <a:gd name="T8" fmla="*/ 1927 w 3007"/>
                  <a:gd name="T9" fmla="*/ 735 h 2085"/>
                  <a:gd name="T10" fmla="*/ 2155 w 3007"/>
                  <a:gd name="T11" fmla="*/ 789 h 2085"/>
                  <a:gd name="T12" fmla="*/ 2372 w 3007"/>
                  <a:gd name="T13" fmla="*/ 849 h 2085"/>
                  <a:gd name="T14" fmla="*/ 2551 w 3007"/>
                  <a:gd name="T15" fmla="*/ 920 h 2085"/>
                  <a:gd name="T16" fmla="*/ 2638 w 3007"/>
                  <a:gd name="T17" fmla="*/ 980 h 2085"/>
                  <a:gd name="T18" fmla="*/ 2676 w 3007"/>
                  <a:gd name="T19" fmla="*/ 1029 h 2085"/>
                  <a:gd name="T20" fmla="*/ 2681 w 3007"/>
                  <a:gd name="T21" fmla="*/ 1083 h 2085"/>
                  <a:gd name="T22" fmla="*/ 2665 w 3007"/>
                  <a:gd name="T23" fmla="*/ 1127 h 2085"/>
                  <a:gd name="T24" fmla="*/ 2616 w 3007"/>
                  <a:gd name="T25" fmla="*/ 1170 h 2085"/>
                  <a:gd name="T26" fmla="*/ 2545 w 3007"/>
                  <a:gd name="T27" fmla="*/ 1208 h 2085"/>
                  <a:gd name="T28" fmla="*/ 2448 w 3007"/>
                  <a:gd name="T29" fmla="*/ 1241 h 2085"/>
                  <a:gd name="T30" fmla="*/ 2328 w 3007"/>
                  <a:gd name="T31" fmla="*/ 1274 h 2085"/>
                  <a:gd name="T32" fmla="*/ 2106 w 3007"/>
                  <a:gd name="T33" fmla="*/ 1328 h 2085"/>
                  <a:gd name="T34" fmla="*/ 1742 w 3007"/>
                  <a:gd name="T35" fmla="*/ 1421 h 2085"/>
                  <a:gd name="T36" fmla="*/ 1308 w 3007"/>
                  <a:gd name="T37" fmla="*/ 1540 h 2085"/>
                  <a:gd name="T38" fmla="*/ 820 w 3007"/>
                  <a:gd name="T39" fmla="*/ 1709 h 2085"/>
                  <a:gd name="T40" fmla="*/ 282 w 3007"/>
                  <a:gd name="T41" fmla="*/ 1943 h 2085"/>
                  <a:gd name="T42" fmla="*/ 152 w 3007"/>
                  <a:gd name="T43" fmla="*/ 2085 h 2085"/>
                  <a:gd name="T44" fmla="*/ 386 w 3007"/>
                  <a:gd name="T45" fmla="*/ 1992 h 2085"/>
                  <a:gd name="T46" fmla="*/ 700 w 3007"/>
                  <a:gd name="T47" fmla="*/ 1834 h 2085"/>
                  <a:gd name="T48" fmla="*/ 1064 w 3007"/>
                  <a:gd name="T49" fmla="*/ 1693 h 2085"/>
                  <a:gd name="T50" fmla="*/ 1661 w 3007"/>
                  <a:gd name="T51" fmla="*/ 1497 h 2085"/>
                  <a:gd name="T52" fmla="*/ 1845 w 3007"/>
                  <a:gd name="T53" fmla="*/ 1442 h 2085"/>
                  <a:gd name="T54" fmla="*/ 2252 w 3007"/>
                  <a:gd name="T55" fmla="*/ 1339 h 2085"/>
                  <a:gd name="T56" fmla="*/ 2551 w 3007"/>
                  <a:gd name="T57" fmla="*/ 1263 h 2085"/>
                  <a:gd name="T58" fmla="*/ 2730 w 3007"/>
                  <a:gd name="T59" fmla="*/ 1214 h 2085"/>
                  <a:gd name="T60" fmla="*/ 2876 w 3007"/>
                  <a:gd name="T61" fmla="*/ 1170 h 2085"/>
                  <a:gd name="T62" fmla="*/ 2974 w 3007"/>
                  <a:gd name="T63" fmla="*/ 1132 h 2085"/>
                  <a:gd name="T64" fmla="*/ 3007 w 3007"/>
                  <a:gd name="T65" fmla="*/ 871 h 2085"/>
                  <a:gd name="T66" fmla="*/ 2860 w 3007"/>
                  <a:gd name="T67" fmla="*/ 844 h 2085"/>
                  <a:gd name="T68" fmla="*/ 2670 w 3007"/>
                  <a:gd name="T69" fmla="*/ 806 h 2085"/>
                  <a:gd name="T70" fmla="*/ 2458 w 3007"/>
                  <a:gd name="T71" fmla="*/ 757 h 2085"/>
                  <a:gd name="T72" fmla="*/ 2138 w 3007"/>
                  <a:gd name="T73" fmla="*/ 670 h 2085"/>
                  <a:gd name="T74" fmla="*/ 1959 w 3007"/>
                  <a:gd name="T75" fmla="*/ 604 h 2085"/>
                  <a:gd name="T76" fmla="*/ 1824 w 3007"/>
                  <a:gd name="T77" fmla="*/ 534 h 2085"/>
                  <a:gd name="T78" fmla="*/ 1769 w 3007"/>
                  <a:gd name="T79" fmla="*/ 474 h 2085"/>
                  <a:gd name="T80" fmla="*/ 1753 w 3007"/>
                  <a:gd name="T81" fmla="*/ 436 h 2085"/>
                  <a:gd name="T82" fmla="*/ 1780 w 3007"/>
                  <a:gd name="T83" fmla="*/ 381 h 2085"/>
                  <a:gd name="T84" fmla="*/ 1862 w 3007"/>
                  <a:gd name="T85" fmla="*/ 316 h 2085"/>
                  <a:gd name="T86" fmla="*/ 1986 w 3007"/>
                  <a:gd name="T87" fmla="*/ 267 h 2085"/>
                  <a:gd name="T88" fmla="*/ 2149 w 3007"/>
                  <a:gd name="T89" fmla="*/ 229 h 2085"/>
                  <a:gd name="T90" fmla="*/ 2431 w 3007"/>
                  <a:gd name="T91" fmla="*/ 180 h 2085"/>
                  <a:gd name="T92" fmla="*/ 2827 w 3007"/>
                  <a:gd name="T93" fmla="*/ 125 h 2085"/>
                  <a:gd name="T94" fmla="*/ 3007 w 3007"/>
                  <a:gd name="T95" fmla="*/ 87 h 2085"/>
                  <a:gd name="T96" fmla="*/ 2909 w 3007"/>
                  <a:gd name="T97" fmla="*/ 22 h 2085"/>
                  <a:gd name="T98" fmla="*/ 2676 w 3007"/>
                  <a:gd name="T99" fmla="*/ 66 h 2085"/>
                  <a:gd name="T100" fmla="*/ 2285 w 3007"/>
                  <a:gd name="T101" fmla="*/ 120 h 2085"/>
                  <a:gd name="T102" fmla="*/ 2030 w 3007"/>
                  <a:gd name="T103" fmla="*/ 158 h 2085"/>
                  <a:gd name="T104" fmla="*/ 1791 w 3007"/>
                  <a:gd name="T105" fmla="*/ 202 h 2085"/>
                  <a:gd name="T106" fmla="*/ 1601 w 3007"/>
                  <a:gd name="T107" fmla="*/ 261 h 2085"/>
                  <a:gd name="T108" fmla="*/ 1471 w 3007"/>
                  <a:gd name="T109" fmla="*/ 338 h 2085"/>
                  <a:gd name="T110" fmla="*/ 1438 w 3007"/>
                  <a:gd name="T111" fmla="*/ 387 h 2085"/>
                  <a:gd name="T112" fmla="*/ 1427 w 3007"/>
                  <a:gd name="T113" fmla="*/ 441 h 2085"/>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3007" h="2085">
                    <a:moveTo>
                      <a:pt x="1427" y="441"/>
                    </a:moveTo>
                    <a:lnTo>
                      <a:pt x="1433" y="474"/>
                    </a:lnTo>
                    <a:lnTo>
                      <a:pt x="1444" y="501"/>
                    </a:lnTo>
                    <a:lnTo>
                      <a:pt x="1460" y="528"/>
                    </a:lnTo>
                    <a:lnTo>
                      <a:pt x="1482" y="550"/>
                    </a:lnTo>
                    <a:lnTo>
                      <a:pt x="1541" y="593"/>
                    </a:lnTo>
                    <a:lnTo>
                      <a:pt x="1623" y="637"/>
                    </a:lnTo>
                    <a:lnTo>
                      <a:pt x="1715" y="670"/>
                    </a:lnTo>
                    <a:lnTo>
                      <a:pt x="1818" y="702"/>
                    </a:lnTo>
                    <a:lnTo>
                      <a:pt x="1927" y="735"/>
                    </a:lnTo>
                    <a:lnTo>
                      <a:pt x="2041" y="762"/>
                    </a:lnTo>
                    <a:lnTo>
                      <a:pt x="2155" y="789"/>
                    </a:lnTo>
                    <a:lnTo>
                      <a:pt x="2269" y="822"/>
                    </a:lnTo>
                    <a:lnTo>
                      <a:pt x="2372" y="849"/>
                    </a:lnTo>
                    <a:lnTo>
                      <a:pt x="2464" y="882"/>
                    </a:lnTo>
                    <a:lnTo>
                      <a:pt x="2551" y="920"/>
                    </a:lnTo>
                    <a:lnTo>
                      <a:pt x="2616" y="958"/>
                    </a:lnTo>
                    <a:lnTo>
                      <a:pt x="2638" y="980"/>
                    </a:lnTo>
                    <a:lnTo>
                      <a:pt x="2659" y="1007"/>
                    </a:lnTo>
                    <a:lnTo>
                      <a:pt x="2676" y="1029"/>
                    </a:lnTo>
                    <a:lnTo>
                      <a:pt x="2681" y="1056"/>
                    </a:lnTo>
                    <a:lnTo>
                      <a:pt x="2681" y="1083"/>
                    </a:lnTo>
                    <a:lnTo>
                      <a:pt x="2676" y="1105"/>
                    </a:lnTo>
                    <a:lnTo>
                      <a:pt x="2665" y="1127"/>
                    </a:lnTo>
                    <a:lnTo>
                      <a:pt x="2643" y="1149"/>
                    </a:lnTo>
                    <a:lnTo>
                      <a:pt x="2616" y="1170"/>
                    </a:lnTo>
                    <a:lnTo>
                      <a:pt x="2583" y="1187"/>
                    </a:lnTo>
                    <a:lnTo>
                      <a:pt x="2545" y="1208"/>
                    </a:lnTo>
                    <a:lnTo>
                      <a:pt x="2502" y="1225"/>
                    </a:lnTo>
                    <a:lnTo>
                      <a:pt x="2448" y="1241"/>
                    </a:lnTo>
                    <a:lnTo>
                      <a:pt x="2388" y="1257"/>
                    </a:lnTo>
                    <a:lnTo>
                      <a:pt x="2328" y="1274"/>
                    </a:lnTo>
                    <a:lnTo>
                      <a:pt x="2258" y="1290"/>
                    </a:lnTo>
                    <a:lnTo>
                      <a:pt x="2106" y="1328"/>
                    </a:lnTo>
                    <a:lnTo>
                      <a:pt x="1932" y="1372"/>
                    </a:lnTo>
                    <a:lnTo>
                      <a:pt x="1742" y="1421"/>
                    </a:lnTo>
                    <a:lnTo>
                      <a:pt x="1531" y="1475"/>
                    </a:lnTo>
                    <a:lnTo>
                      <a:pt x="1308" y="1540"/>
                    </a:lnTo>
                    <a:lnTo>
                      <a:pt x="1069" y="1617"/>
                    </a:lnTo>
                    <a:lnTo>
                      <a:pt x="820" y="1709"/>
                    </a:lnTo>
                    <a:lnTo>
                      <a:pt x="554" y="1818"/>
                    </a:lnTo>
                    <a:lnTo>
                      <a:pt x="282" y="1943"/>
                    </a:lnTo>
                    <a:lnTo>
                      <a:pt x="0" y="2085"/>
                    </a:lnTo>
                    <a:lnTo>
                      <a:pt x="152" y="2085"/>
                    </a:lnTo>
                    <a:lnTo>
                      <a:pt x="244" y="2074"/>
                    </a:lnTo>
                    <a:lnTo>
                      <a:pt x="386" y="1992"/>
                    </a:lnTo>
                    <a:lnTo>
                      <a:pt x="537" y="1910"/>
                    </a:lnTo>
                    <a:lnTo>
                      <a:pt x="700" y="1834"/>
                    </a:lnTo>
                    <a:lnTo>
                      <a:pt x="879" y="1763"/>
                    </a:lnTo>
                    <a:lnTo>
                      <a:pt x="1064" y="1693"/>
                    </a:lnTo>
                    <a:lnTo>
                      <a:pt x="1259" y="1622"/>
                    </a:lnTo>
                    <a:lnTo>
                      <a:pt x="1661" y="1497"/>
                    </a:lnTo>
                    <a:lnTo>
                      <a:pt x="1748" y="1470"/>
                    </a:lnTo>
                    <a:lnTo>
                      <a:pt x="1845" y="1442"/>
                    </a:lnTo>
                    <a:lnTo>
                      <a:pt x="2046" y="1393"/>
                    </a:lnTo>
                    <a:lnTo>
                      <a:pt x="2252" y="1339"/>
                    </a:lnTo>
                    <a:lnTo>
                      <a:pt x="2458" y="1285"/>
                    </a:lnTo>
                    <a:lnTo>
                      <a:pt x="2551" y="1263"/>
                    </a:lnTo>
                    <a:lnTo>
                      <a:pt x="2643" y="1236"/>
                    </a:lnTo>
                    <a:lnTo>
                      <a:pt x="2730" y="1214"/>
                    </a:lnTo>
                    <a:lnTo>
                      <a:pt x="2806" y="1192"/>
                    </a:lnTo>
                    <a:lnTo>
                      <a:pt x="2876" y="1170"/>
                    </a:lnTo>
                    <a:lnTo>
                      <a:pt x="2931" y="1149"/>
                    </a:lnTo>
                    <a:lnTo>
                      <a:pt x="2974" y="1132"/>
                    </a:lnTo>
                    <a:lnTo>
                      <a:pt x="3007" y="1116"/>
                    </a:lnTo>
                    <a:lnTo>
                      <a:pt x="3007" y="871"/>
                    </a:lnTo>
                    <a:lnTo>
                      <a:pt x="2941" y="860"/>
                    </a:lnTo>
                    <a:lnTo>
                      <a:pt x="2860" y="844"/>
                    </a:lnTo>
                    <a:lnTo>
                      <a:pt x="2773" y="827"/>
                    </a:lnTo>
                    <a:lnTo>
                      <a:pt x="2670" y="806"/>
                    </a:lnTo>
                    <a:lnTo>
                      <a:pt x="2567" y="784"/>
                    </a:lnTo>
                    <a:lnTo>
                      <a:pt x="2458" y="757"/>
                    </a:lnTo>
                    <a:lnTo>
                      <a:pt x="2241" y="702"/>
                    </a:lnTo>
                    <a:lnTo>
                      <a:pt x="2138" y="670"/>
                    </a:lnTo>
                    <a:lnTo>
                      <a:pt x="2046" y="637"/>
                    </a:lnTo>
                    <a:lnTo>
                      <a:pt x="1959" y="604"/>
                    </a:lnTo>
                    <a:lnTo>
                      <a:pt x="1883" y="566"/>
                    </a:lnTo>
                    <a:lnTo>
                      <a:pt x="1824" y="534"/>
                    </a:lnTo>
                    <a:lnTo>
                      <a:pt x="1780" y="495"/>
                    </a:lnTo>
                    <a:lnTo>
                      <a:pt x="1769" y="474"/>
                    </a:lnTo>
                    <a:lnTo>
                      <a:pt x="1758" y="457"/>
                    </a:lnTo>
                    <a:lnTo>
                      <a:pt x="1753" y="436"/>
                    </a:lnTo>
                    <a:lnTo>
                      <a:pt x="1758" y="419"/>
                    </a:lnTo>
                    <a:lnTo>
                      <a:pt x="1780" y="381"/>
                    </a:lnTo>
                    <a:lnTo>
                      <a:pt x="1813" y="343"/>
                    </a:lnTo>
                    <a:lnTo>
                      <a:pt x="1862" y="316"/>
                    </a:lnTo>
                    <a:lnTo>
                      <a:pt x="1921" y="289"/>
                    </a:lnTo>
                    <a:lnTo>
                      <a:pt x="1986" y="267"/>
                    </a:lnTo>
                    <a:lnTo>
                      <a:pt x="2062" y="245"/>
                    </a:lnTo>
                    <a:lnTo>
                      <a:pt x="2149" y="229"/>
                    </a:lnTo>
                    <a:lnTo>
                      <a:pt x="2236" y="213"/>
                    </a:lnTo>
                    <a:lnTo>
                      <a:pt x="2431" y="180"/>
                    </a:lnTo>
                    <a:lnTo>
                      <a:pt x="2627" y="158"/>
                    </a:lnTo>
                    <a:lnTo>
                      <a:pt x="2827" y="125"/>
                    </a:lnTo>
                    <a:lnTo>
                      <a:pt x="2920" y="109"/>
                    </a:lnTo>
                    <a:lnTo>
                      <a:pt x="3007" y="87"/>
                    </a:lnTo>
                    <a:lnTo>
                      <a:pt x="3007" y="0"/>
                    </a:lnTo>
                    <a:lnTo>
                      <a:pt x="2909" y="22"/>
                    </a:lnTo>
                    <a:lnTo>
                      <a:pt x="2795" y="44"/>
                    </a:lnTo>
                    <a:lnTo>
                      <a:pt x="2676" y="66"/>
                    </a:lnTo>
                    <a:lnTo>
                      <a:pt x="2551" y="82"/>
                    </a:lnTo>
                    <a:lnTo>
                      <a:pt x="2285" y="120"/>
                    </a:lnTo>
                    <a:lnTo>
                      <a:pt x="2155" y="136"/>
                    </a:lnTo>
                    <a:lnTo>
                      <a:pt x="2030" y="158"/>
                    </a:lnTo>
                    <a:lnTo>
                      <a:pt x="1905" y="174"/>
                    </a:lnTo>
                    <a:lnTo>
                      <a:pt x="1791" y="202"/>
                    </a:lnTo>
                    <a:lnTo>
                      <a:pt x="1688" y="229"/>
                    </a:lnTo>
                    <a:lnTo>
                      <a:pt x="1601" y="261"/>
                    </a:lnTo>
                    <a:lnTo>
                      <a:pt x="1525" y="300"/>
                    </a:lnTo>
                    <a:lnTo>
                      <a:pt x="1471" y="338"/>
                    </a:lnTo>
                    <a:lnTo>
                      <a:pt x="1455" y="359"/>
                    </a:lnTo>
                    <a:lnTo>
                      <a:pt x="1438" y="387"/>
                    </a:lnTo>
                    <a:lnTo>
                      <a:pt x="1427" y="414"/>
                    </a:lnTo>
                    <a:lnTo>
                      <a:pt x="1427" y="44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800"/>
              </a:p>
            </p:txBody>
          </p:sp>
          <p:sp>
            <p:nvSpPr>
              <p:cNvPr id="12" name="Freeform 10">
                <a:extLst>
                  <a:ext uri="{FF2B5EF4-FFF2-40B4-BE49-F238E27FC236}">
                    <a16:creationId xmlns:a16="http://schemas.microsoft.com/office/drawing/2014/main" id="{F786C7E2-8DA8-44F2-BCD7-E529D12D1B22}"/>
                  </a:ext>
                </a:extLst>
              </p:cNvPr>
              <p:cNvSpPr>
                <a:spLocks/>
              </p:cNvSpPr>
              <p:nvPr/>
            </p:nvSpPr>
            <p:spPr bwMode="hidden">
              <a:xfrm>
                <a:off x="4501" y="2317"/>
                <a:ext cx="1248" cy="539"/>
              </a:xfrm>
              <a:custGeom>
                <a:avLst/>
                <a:gdLst/>
                <a:ahLst/>
                <a:cxnLst>
                  <a:cxn ang="0">
                    <a:pos x="0" y="332"/>
                  </a:cxn>
                  <a:cxn ang="0">
                    <a:pos x="0" y="360"/>
                  </a:cxn>
                  <a:cxn ang="0">
                    <a:pos x="5" y="387"/>
                  </a:cxn>
                  <a:cxn ang="0">
                    <a:pos x="27" y="414"/>
                  </a:cxn>
                  <a:cxn ang="0">
                    <a:pos x="54" y="436"/>
                  </a:cxn>
                  <a:cxn ang="0">
                    <a:pos x="92" y="463"/>
                  </a:cxn>
                  <a:cxn ang="0">
                    <a:pos x="141" y="490"/>
                  </a:cxn>
                  <a:cxn ang="0">
                    <a:pos x="195" y="512"/>
                  </a:cxn>
                  <a:cxn ang="0">
                    <a:pos x="255" y="539"/>
                  </a:cxn>
                  <a:cxn ang="0">
                    <a:pos x="212" y="517"/>
                  </a:cxn>
                  <a:cxn ang="0">
                    <a:pos x="179" y="490"/>
                  </a:cxn>
                  <a:cxn ang="0">
                    <a:pos x="157" y="468"/>
                  </a:cxn>
                  <a:cxn ang="0">
                    <a:pos x="141" y="447"/>
                  </a:cxn>
                  <a:cxn ang="0">
                    <a:pos x="136" y="425"/>
                  </a:cxn>
                  <a:cxn ang="0">
                    <a:pos x="136" y="403"/>
                  </a:cxn>
                  <a:cxn ang="0">
                    <a:pos x="141" y="381"/>
                  </a:cxn>
                  <a:cxn ang="0">
                    <a:pos x="157" y="365"/>
                  </a:cxn>
                  <a:cxn ang="0">
                    <a:pos x="179" y="343"/>
                  </a:cxn>
                  <a:cxn ang="0">
                    <a:pos x="201" y="327"/>
                  </a:cxn>
                  <a:cxn ang="0">
                    <a:pos x="266" y="294"/>
                  </a:cxn>
                  <a:cxn ang="0">
                    <a:pos x="353" y="262"/>
                  </a:cxn>
                  <a:cxn ang="0">
                    <a:pos x="445" y="234"/>
                  </a:cxn>
                  <a:cxn ang="0">
                    <a:pos x="554" y="213"/>
                  </a:cxn>
                  <a:cxn ang="0">
                    <a:pos x="662" y="191"/>
                  </a:cxn>
                  <a:cxn ang="0">
                    <a:pos x="890" y="153"/>
                  </a:cxn>
                  <a:cxn ang="0">
                    <a:pos x="993" y="136"/>
                  </a:cxn>
                  <a:cxn ang="0">
                    <a:pos x="1091" y="120"/>
                  </a:cxn>
                  <a:cxn ang="0">
                    <a:pos x="1178" y="115"/>
                  </a:cxn>
                  <a:cxn ang="0">
                    <a:pos x="1248" y="104"/>
                  </a:cxn>
                  <a:cxn ang="0">
                    <a:pos x="1248" y="0"/>
                  </a:cxn>
                  <a:cxn ang="0">
                    <a:pos x="1161" y="22"/>
                  </a:cxn>
                  <a:cxn ang="0">
                    <a:pos x="1069" y="38"/>
                  </a:cxn>
                  <a:cxn ang="0">
                    <a:pos x="874" y="71"/>
                  </a:cxn>
                  <a:cxn ang="0">
                    <a:pos x="673" y="93"/>
                  </a:cxn>
                  <a:cxn ang="0">
                    <a:pos x="483" y="126"/>
                  </a:cxn>
                  <a:cxn ang="0">
                    <a:pos x="391" y="142"/>
                  </a:cxn>
                  <a:cxn ang="0">
                    <a:pos x="309" y="158"/>
                  </a:cxn>
                  <a:cxn ang="0">
                    <a:pos x="228" y="180"/>
                  </a:cxn>
                  <a:cxn ang="0">
                    <a:pos x="163" y="202"/>
                  </a:cxn>
                  <a:cxn ang="0">
                    <a:pos x="103" y="229"/>
                  </a:cxn>
                  <a:cxn ang="0">
                    <a:pos x="54" y="256"/>
                  </a:cxn>
                  <a:cxn ang="0">
                    <a:pos x="22" y="294"/>
                  </a:cxn>
                  <a:cxn ang="0">
                    <a:pos x="0" y="332"/>
                  </a:cxn>
                  <a:cxn ang="0">
                    <a:pos x="0" y="332"/>
                  </a:cxn>
                </a:cxnLst>
                <a:rect l="0" t="0" r="r" b="b"/>
                <a:pathLst>
                  <a:path w="1248" h="539">
                    <a:moveTo>
                      <a:pt x="0" y="332"/>
                    </a:moveTo>
                    <a:lnTo>
                      <a:pt x="0" y="360"/>
                    </a:lnTo>
                    <a:lnTo>
                      <a:pt x="5" y="387"/>
                    </a:lnTo>
                    <a:lnTo>
                      <a:pt x="27" y="414"/>
                    </a:lnTo>
                    <a:lnTo>
                      <a:pt x="54" y="436"/>
                    </a:lnTo>
                    <a:lnTo>
                      <a:pt x="92" y="463"/>
                    </a:lnTo>
                    <a:lnTo>
                      <a:pt x="141" y="490"/>
                    </a:lnTo>
                    <a:lnTo>
                      <a:pt x="195" y="512"/>
                    </a:lnTo>
                    <a:lnTo>
                      <a:pt x="255" y="539"/>
                    </a:lnTo>
                    <a:lnTo>
                      <a:pt x="212" y="517"/>
                    </a:lnTo>
                    <a:lnTo>
                      <a:pt x="179" y="490"/>
                    </a:lnTo>
                    <a:lnTo>
                      <a:pt x="157" y="468"/>
                    </a:lnTo>
                    <a:lnTo>
                      <a:pt x="141" y="447"/>
                    </a:lnTo>
                    <a:lnTo>
                      <a:pt x="136" y="425"/>
                    </a:lnTo>
                    <a:lnTo>
                      <a:pt x="136" y="403"/>
                    </a:lnTo>
                    <a:lnTo>
                      <a:pt x="141" y="381"/>
                    </a:lnTo>
                    <a:lnTo>
                      <a:pt x="157" y="365"/>
                    </a:lnTo>
                    <a:lnTo>
                      <a:pt x="179" y="343"/>
                    </a:lnTo>
                    <a:lnTo>
                      <a:pt x="201" y="327"/>
                    </a:lnTo>
                    <a:lnTo>
                      <a:pt x="266" y="294"/>
                    </a:lnTo>
                    <a:lnTo>
                      <a:pt x="353" y="262"/>
                    </a:lnTo>
                    <a:lnTo>
                      <a:pt x="445" y="234"/>
                    </a:lnTo>
                    <a:lnTo>
                      <a:pt x="554" y="213"/>
                    </a:lnTo>
                    <a:lnTo>
                      <a:pt x="662" y="191"/>
                    </a:lnTo>
                    <a:lnTo>
                      <a:pt x="890" y="153"/>
                    </a:lnTo>
                    <a:lnTo>
                      <a:pt x="993" y="136"/>
                    </a:lnTo>
                    <a:lnTo>
                      <a:pt x="1091" y="120"/>
                    </a:lnTo>
                    <a:lnTo>
                      <a:pt x="1178" y="115"/>
                    </a:lnTo>
                    <a:lnTo>
                      <a:pt x="1248" y="104"/>
                    </a:lnTo>
                    <a:lnTo>
                      <a:pt x="1248" y="0"/>
                    </a:lnTo>
                    <a:lnTo>
                      <a:pt x="1161" y="22"/>
                    </a:lnTo>
                    <a:lnTo>
                      <a:pt x="1069" y="38"/>
                    </a:lnTo>
                    <a:lnTo>
                      <a:pt x="874" y="71"/>
                    </a:lnTo>
                    <a:lnTo>
                      <a:pt x="673" y="93"/>
                    </a:lnTo>
                    <a:lnTo>
                      <a:pt x="483" y="126"/>
                    </a:lnTo>
                    <a:lnTo>
                      <a:pt x="391" y="142"/>
                    </a:lnTo>
                    <a:lnTo>
                      <a:pt x="309" y="158"/>
                    </a:lnTo>
                    <a:lnTo>
                      <a:pt x="228" y="180"/>
                    </a:lnTo>
                    <a:lnTo>
                      <a:pt x="163" y="202"/>
                    </a:lnTo>
                    <a:lnTo>
                      <a:pt x="103" y="229"/>
                    </a:lnTo>
                    <a:lnTo>
                      <a:pt x="54" y="256"/>
                    </a:lnTo>
                    <a:lnTo>
                      <a:pt x="22" y="294"/>
                    </a:lnTo>
                    <a:lnTo>
                      <a:pt x="0" y="332"/>
                    </a:lnTo>
                    <a:lnTo>
                      <a:pt x="0" y="332"/>
                    </a:lnTo>
                    <a:close/>
                  </a:path>
                </a:pathLst>
              </a:custGeom>
              <a:gradFill rotWithShape="0">
                <a:gsLst>
                  <a:gs pos="0">
                    <a:schemeClr val="bg1">
                      <a:gamma/>
                      <a:shade val="87843"/>
                      <a:invGamma/>
                    </a:schemeClr>
                  </a:gs>
                  <a:gs pos="100000">
                    <a:schemeClr val="bg1"/>
                  </a:gs>
                </a:gsLst>
                <a:lin ang="2700000" scaled="1"/>
              </a:gradFill>
              <a:ln w="9525">
                <a:noFill/>
                <a:round/>
                <a:headEnd/>
                <a:tailEnd/>
              </a:ln>
            </p:spPr>
            <p:txBody>
              <a:bodyPr/>
              <a:lstStyle/>
              <a:p>
                <a:pPr eaLnBrk="0" hangingPunct="0">
                  <a:defRPr/>
                </a:pPr>
                <a:endParaRPr lang="en-US" sz="1800">
                  <a:solidFill>
                    <a:srgbClr val="FFFFFF"/>
                  </a:solidFill>
                  <a:latin typeface="+mn-lt"/>
                  <a:cs typeface="+mn-cs"/>
                </a:endParaRPr>
              </a:p>
            </p:txBody>
          </p:sp>
        </p:grpSp>
        <p:sp>
          <p:nvSpPr>
            <p:cNvPr id="6" name="Freeform 11">
              <a:extLst>
                <a:ext uri="{FF2B5EF4-FFF2-40B4-BE49-F238E27FC236}">
                  <a16:creationId xmlns:a16="http://schemas.microsoft.com/office/drawing/2014/main" id="{83C29E2A-28AD-4B64-BEF5-7C26B72BE170}"/>
                </a:ext>
              </a:extLst>
            </p:cNvPr>
            <p:cNvSpPr>
              <a:spLocks/>
            </p:cNvSpPr>
            <p:nvPr/>
          </p:nvSpPr>
          <p:spPr bwMode="hidden">
            <a:xfrm>
              <a:off x="3322" y="1341"/>
              <a:ext cx="1825" cy="1537"/>
            </a:xfrm>
            <a:custGeom>
              <a:avLst/>
              <a:gdLst/>
              <a:ahLst/>
              <a:cxnLst>
                <a:cxn ang="0">
                  <a:pos x="982" y="1061"/>
                </a:cxn>
                <a:cxn ang="0">
                  <a:pos x="1357" y="1012"/>
                </a:cxn>
                <a:cxn ang="0">
                  <a:pos x="1666" y="957"/>
                </a:cxn>
                <a:cxn ang="0">
                  <a:pos x="1916" y="897"/>
                </a:cxn>
                <a:cxn ang="0">
                  <a:pos x="2100" y="832"/>
                </a:cxn>
                <a:cxn ang="0">
                  <a:pos x="2220" y="756"/>
                </a:cxn>
                <a:cxn ang="0">
                  <a:pos x="2285" y="669"/>
                </a:cxn>
                <a:cxn ang="0">
                  <a:pos x="2290" y="560"/>
                </a:cxn>
                <a:cxn ang="0">
                  <a:pos x="2241" y="457"/>
                </a:cxn>
                <a:cxn ang="0">
                  <a:pos x="2144" y="364"/>
                </a:cxn>
                <a:cxn ang="0">
                  <a:pos x="2008" y="277"/>
                </a:cxn>
                <a:cxn ang="0">
                  <a:pos x="1769" y="157"/>
                </a:cxn>
                <a:cxn ang="0">
                  <a:pos x="1612" y="92"/>
                </a:cxn>
                <a:cxn ang="0">
                  <a:pos x="1476" y="43"/>
                </a:cxn>
                <a:cxn ang="0">
                  <a:pos x="1384" y="10"/>
                </a:cxn>
                <a:cxn ang="0">
                  <a:pos x="1346" y="0"/>
                </a:cxn>
                <a:cxn ang="0">
                  <a:pos x="1655" y="119"/>
                </a:cxn>
                <a:cxn ang="0">
                  <a:pos x="1948" y="255"/>
                </a:cxn>
                <a:cxn ang="0">
                  <a:pos x="2068" y="326"/>
                </a:cxn>
                <a:cxn ang="0">
                  <a:pos x="2171" y="402"/>
                </a:cxn>
                <a:cxn ang="0">
                  <a:pos x="2236" y="478"/>
                </a:cxn>
                <a:cxn ang="0">
                  <a:pos x="2263" y="560"/>
                </a:cxn>
                <a:cxn ang="0">
                  <a:pos x="2241" y="636"/>
                </a:cxn>
                <a:cxn ang="0">
                  <a:pos x="2171" y="702"/>
                </a:cxn>
                <a:cxn ang="0">
                  <a:pos x="2062" y="756"/>
                </a:cxn>
                <a:cxn ang="0">
                  <a:pos x="1921" y="800"/>
                </a:cxn>
                <a:cxn ang="0">
                  <a:pos x="1748" y="843"/>
                </a:cxn>
                <a:cxn ang="0">
                  <a:pos x="1351" y="908"/>
                </a:cxn>
                <a:cxn ang="0">
                  <a:pos x="923" y="968"/>
                </a:cxn>
                <a:cxn ang="0">
                  <a:pos x="521" y="1028"/>
                </a:cxn>
                <a:cxn ang="0">
                  <a:pos x="353" y="1066"/>
                </a:cxn>
                <a:cxn ang="0">
                  <a:pos x="206" y="1104"/>
                </a:cxn>
                <a:cxn ang="0">
                  <a:pos x="92" y="1148"/>
                </a:cxn>
                <a:cxn ang="0">
                  <a:pos x="22" y="1202"/>
                </a:cxn>
                <a:cxn ang="0">
                  <a:pos x="0" y="1262"/>
                </a:cxn>
                <a:cxn ang="0">
                  <a:pos x="27" y="1327"/>
                </a:cxn>
                <a:cxn ang="0">
                  <a:pos x="98" y="1382"/>
                </a:cxn>
                <a:cxn ang="0">
                  <a:pos x="196" y="1425"/>
                </a:cxn>
                <a:cxn ang="0">
                  <a:pos x="326" y="1469"/>
                </a:cxn>
                <a:cxn ang="0">
                  <a:pos x="217" y="1414"/>
                </a:cxn>
                <a:cxn ang="0">
                  <a:pos x="147" y="1360"/>
                </a:cxn>
                <a:cxn ang="0">
                  <a:pos x="120" y="1306"/>
                </a:cxn>
                <a:cxn ang="0">
                  <a:pos x="141" y="1257"/>
                </a:cxn>
                <a:cxn ang="0">
                  <a:pos x="212" y="1208"/>
                </a:cxn>
                <a:cxn ang="0">
                  <a:pos x="342" y="1164"/>
                </a:cxn>
                <a:cxn ang="0">
                  <a:pos x="527" y="1121"/>
                </a:cxn>
                <a:cxn ang="0">
                  <a:pos x="771" y="1088"/>
                </a:cxn>
              </a:cxnLst>
              <a:rect l="0" t="0" r="r" b="b"/>
              <a:pathLst>
                <a:path w="2296" h="1469">
                  <a:moveTo>
                    <a:pt x="771" y="1088"/>
                  </a:moveTo>
                  <a:lnTo>
                    <a:pt x="982" y="1061"/>
                  </a:lnTo>
                  <a:lnTo>
                    <a:pt x="1178" y="1034"/>
                  </a:lnTo>
                  <a:lnTo>
                    <a:pt x="1357" y="1012"/>
                  </a:lnTo>
                  <a:lnTo>
                    <a:pt x="1520" y="985"/>
                  </a:lnTo>
                  <a:lnTo>
                    <a:pt x="1666" y="957"/>
                  </a:lnTo>
                  <a:lnTo>
                    <a:pt x="1796" y="930"/>
                  </a:lnTo>
                  <a:lnTo>
                    <a:pt x="1916" y="897"/>
                  </a:lnTo>
                  <a:lnTo>
                    <a:pt x="2013" y="870"/>
                  </a:lnTo>
                  <a:lnTo>
                    <a:pt x="2100" y="832"/>
                  </a:lnTo>
                  <a:lnTo>
                    <a:pt x="2171" y="800"/>
                  </a:lnTo>
                  <a:lnTo>
                    <a:pt x="2220" y="756"/>
                  </a:lnTo>
                  <a:lnTo>
                    <a:pt x="2263" y="712"/>
                  </a:lnTo>
                  <a:lnTo>
                    <a:pt x="2285" y="669"/>
                  </a:lnTo>
                  <a:lnTo>
                    <a:pt x="2296" y="614"/>
                  </a:lnTo>
                  <a:lnTo>
                    <a:pt x="2290" y="560"/>
                  </a:lnTo>
                  <a:lnTo>
                    <a:pt x="2269" y="500"/>
                  </a:lnTo>
                  <a:lnTo>
                    <a:pt x="2241" y="457"/>
                  </a:lnTo>
                  <a:lnTo>
                    <a:pt x="2198" y="408"/>
                  </a:lnTo>
                  <a:lnTo>
                    <a:pt x="2144" y="364"/>
                  </a:lnTo>
                  <a:lnTo>
                    <a:pt x="2079" y="321"/>
                  </a:lnTo>
                  <a:lnTo>
                    <a:pt x="2008" y="277"/>
                  </a:lnTo>
                  <a:lnTo>
                    <a:pt x="1927" y="234"/>
                  </a:lnTo>
                  <a:lnTo>
                    <a:pt x="1769" y="157"/>
                  </a:lnTo>
                  <a:lnTo>
                    <a:pt x="1688" y="125"/>
                  </a:lnTo>
                  <a:lnTo>
                    <a:pt x="1612" y="92"/>
                  </a:lnTo>
                  <a:lnTo>
                    <a:pt x="1536" y="65"/>
                  </a:lnTo>
                  <a:lnTo>
                    <a:pt x="1476" y="43"/>
                  </a:lnTo>
                  <a:lnTo>
                    <a:pt x="1422" y="27"/>
                  </a:lnTo>
                  <a:lnTo>
                    <a:pt x="1384" y="10"/>
                  </a:lnTo>
                  <a:lnTo>
                    <a:pt x="1357" y="5"/>
                  </a:lnTo>
                  <a:lnTo>
                    <a:pt x="1346" y="0"/>
                  </a:lnTo>
                  <a:lnTo>
                    <a:pt x="1498" y="54"/>
                  </a:lnTo>
                  <a:lnTo>
                    <a:pt x="1655" y="119"/>
                  </a:lnTo>
                  <a:lnTo>
                    <a:pt x="1807" y="185"/>
                  </a:lnTo>
                  <a:lnTo>
                    <a:pt x="1948" y="255"/>
                  </a:lnTo>
                  <a:lnTo>
                    <a:pt x="2013" y="288"/>
                  </a:lnTo>
                  <a:lnTo>
                    <a:pt x="2068" y="326"/>
                  </a:lnTo>
                  <a:lnTo>
                    <a:pt x="2122" y="364"/>
                  </a:lnTo>
                  <a:lnTo>
                    <a:pt x="2171" y="402"/>
                  </a:lnTo>
                  <a:lnTo>
                    <a:pt x="2209" y="440"/>
                  </a:lnTo>
                  <a:lnTo>
                    <a:pt x="2236" y="478"/>
                  </a:lnTo>
                  <a:lnTo>
                    <a:pt x="2252" y="522"/>
                  </a:lnTo>
                  <a:lnTo>
                    <a:pt x="2263" y="560"/>
                  </a:lnTo>
                  <a:lnTo>
                    <a:pt x="2258" y="598"/>
                  </a:lnTo>
                  <a:lnTo>
                    <a:pt x="2241" y="636"/>
                  </a:lnTo>
                  <a:lnTo>
                    <a:pt x="2214" y="669"/>
                  </a:lnTo>
                  <a:lnTo>
                    <a:pt x="2171" y="702"/>
                  </a:lnTo>
                  <a:lnTo>
                    <a:pt x="2122" y="729"/>
                  </a:lnTo>
                  <a:lnTo>
                    <a:pt x="2062" y="756"/>
                  </a:lnTo>
                  <a:lnTo>
                    <a:pt x="1997" y="778"/>
                  </a:lnTo>
                  <a:lnTo>
                    <a:pt x="1921" y="800"/>
                  </a:lnTo>
                  <a:lnTo>
                    <a:pt x="1834" y="821"/>
                  </a:lnTo>
                  <a:lnTo>
                    <a:pt x="1748" y="843"/>
                  </a:lnTo>
                  <a:lnTo>
                    <a:pt x="1552" y="876"/>
                  </a:lnTo>
                  <a:lnTo>
                    <a:pt x="1351" y="908"/>
                  </a:lnTo>
                  <a:lnTo>
                    <a:pt x="1134" y="941"/>
                  </a:lnTo>
                  <a:lnTo>
                    <a:pt x="923" y="968"/>
                  </a:lnTo>
                  <a:lnTo>
                    <a:pt x="716" y="995"/>
                  </a:lnTo>
                  <a:lnTo>
                    <a:pt x="521" y="1028"/>
                  </a:lnTo>
                  <a:lnTo>
                    <a:pt x="434" y="1044"/>
                  </a:lnTo>
                  <a:lnTo>
                    <a:pt x="353" y="1066"/>
                  </a:lnTo>
                  <a:lnTo>
                    <a:pt x="277" y="1082"/>
                  </a:lnTo>
                  <a:lnTo>
                    <a:pt x="206" y="1104"/>
                  </a:lnTo>
                  <a:lnTo>
                    <a:pt x="147" y="1126"/>
                  </a:lnTo>
                  <a:lnTo>
                    <a:pt x="92" y="1148"/>
                  </a:lnTo>
                  <a:lnTo>
                    <a:pt x="54" y="1175"/>
                  </a:lnTo>
                  <a:lnTo>
                    <a:pt x="22" y="1202"/>
                  </a:lnTo>
                  <a:lnTo>
                    <a:pt x="6" y="1229"/>
                  </a:lnTo>
                  <a:lnTo>
                    <a:pt x="0" y="1262"/>
                  </a:lnTo>
                  <a:lnTo>
                    <a:pt x="11" y="1295"/>
                  </a:lnTo>
                  <a:lnTo>
                    <a:pt x="27" y="1327"/>
                  </a:lnTo>
                  <a:lnTo>
                    <a:pt x="54" y="1355"/>
                  </a:lnTo>
                  <a:lnTo>
                    <a:pt x="98" y="1382"/>
                  </a:lnTo>
                  <a:lnTo>
                    <a:pt x="141" y="1404"/>
                  </a:lnTo>
                  <a:lnTo>
                    <a:pt x="196" y="1425"/>
                  </a:lnTo>
                  <a:lnTo>
                    <a:pt x="261" y="1447"/>
                  </a:lnTo>
                  <a:lnTo>
                    <a:pt x="326" y="1469"/>
                  </a:lnTo>
                  <a:lnTo>
                    <a:pt x="266" y="1442"/>
                  </a:lnTo>
                  <a:lnTo>
                    <a:pt x="217" y="1414"/>
                  </a:lnTo>
                  <a:lnTo>
                    <a:pt x="174" y="1387"/>
                  </a:lnTo>
                  <a:lnTo>
                    <a:pt x="147" y="1360"/>
                  </a:lnTo>
                  <a:lnTo>
                    <a:pt x="125" y="1333"/>
                  </a:lnTo>
                  <a:lnTo>
                    <a:pt x="120" y="1306"/>
                  </a:lnTo>
                  <a:lnTo>
                    <a:pt x="125" y="1278"/>
                  </a:lnTo>
                  <a:lnTo>
                    <a:pt x="141" y="1257"/>
                  </a:lnTo>
                  <a:lnTo>
                    <a:pt x="174" y="1229"/>
                  </a:lnTo>
                  <a:lnTo>
                    <a:pt x="212" y="1208"/>
                  </a:lnTo>
                  <a:lnTo>
                    <a:pt x="272" y="1186"/>
                  </a:lnTo>
                  <a:lnTo>
                    <a:pt x="342" y="1164"/>
                  </a:lnTo>
                  <a:lnTo>
                    <a:pt x="423" y="1142"/>
                  </a:lnTo>
                  <a:lnTo>
                    <a:pt x="527" y="1121"/>
                  </a:lnTo>
                  <a:lnTo>
                    <a:pt x="641" y="1104"/>
                  </a:lnTo>
                  <a:lnTo>
                    <a:pt x="771" y="1088"/>
                  </a:lnTo>
                  <a:lnTo>
                    <a:pt x="771" y="1088"/>
                  </a:lnTo>
                  <a:close/>
                </a:path>
              </a:pathLst>
            </a:custGeom>
            <a:gradFill rotWithShape="0">
              <a:gsLst>
                <a:gs pos="0">
                  <a:schemeClr val="bg1">
                    <a:gamma/>
                    <a:shade val="84706"/>
                    <a:invGamma/>
                  </a:schemeClr>
                </a:gs>
                <a:gs pos="100000">
                  <a:schemeClr val="bg1"/>
                </a:gs>
              </a:gsLst>
              <a:lin ang="2700000" scaled="1"/>
            </a:gradFill>
            <a:ln w="9525">
              <a:noFill/>
              <a:round/>
              <a:headEnd/>
              <a:tailEnd/>
            </a:ln>
          </p:spPr>
          <p:txBody>
            <a:bodyPr/>
            <a:lstStyle/>
            <a:p>
              <a:pPr eaLnBrk="0" hangingPunct="0">
                <a:defRPr/>
              </a:pPr>
              <a:endParaRPr lang="en-US" sz="1800">
                <a:solidFill>
                  <a:srgbClr val="FFFFFF"/>
                </a:solidFill>
                <a:latin typeface="+mn-lt"/>
                <a:cs typeface="+mn-cs"/>
              </a:endParaRPr>
            </a:p>
          </p:txBody>
        </p:sp>
        <p:sp>
          <p:nvSpPr>
            <p:cNvPr id="7" name="Freeform 12">
              <a:extLst>
                <a:ext uri="{FF2B5EF4-FFF2-40B4-BE49-F238E27FC236}">
                  <a16:creationId xmlns:a16="http://schemas.microsoft.com/office/drawing/2014/main" id="{8526120E-E583-4DB6-8C30-4359A47FE6EC}"/>
                </a:ext>
              </a:extLst>
            </p:cNvPr>
            <p:cNvSpPr>
              <a:spLocks/>
            </p:cNvSpPr>
            <p:nvPr/>
          </p:nvSpPr>
          <p:spPr bwMode="hidden">
            <a:xfrm>
              <a:off x="0" y="0"/>
              <a:ext cx="5758" cy="1776"/>
            </a:xfrm>
            <a:custGeom>
              <a:avLst/>
              <a:gdLst>
                <a:gd name="T0" fmla="*/ 0 w 5740"/>
                <a:gd name="T1" fmla="*/ 0 h 1906"/>
                <a:gd name="T2" fmla="*/ 0 w 5740"/>
                <a:gd name="T3" fmla="*/ 1776 h 1906"/>
                <a:gd name="T4" fmla="*/ 5758 w 5740"/>
                <a:gd name="T5" fmla="*/ 1776 h 1906"/>
                <a:gd name="T6" fmla="*/ 5758 w 5740"/>
                <a:gd name="T7" fmla="*/ 0 h 1906"/>
                <a:gd name="T8" fmla="*/ 0 w 5740"/>
                <a:gd name="T9" fmla="*/ 0 h 1906"/>
                <a:gd name="T10" fmla="*/ 0 w 5740"/>
                <a:gd name="T11" fmla="*/ 0 h 190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5740" h="1906">
                  <a:moveTo>
                    <a:pt x="0" y="0"/>
                  </a:moveTo>
                  <a:lnTo>
                    <a:pt x="0" y="1906"/>
                  </a:lnTo>
                  <a:lnTo>
                    <a:pt x="5740" y="1906"/>
                  </a:lnTo>
                  <a:lnTo>
                    <a:pt x="5740" y="0"/>
                  </a:lnTo>
                  <a:lnTo>
                    <a:pt x="0" y="0"/>
                  </a:lnTo>
                  <a:close/>
                </a:path>
              </a:pathLst>
            </a:custGeom>
            <a:gradFill rotWithShape="0">
              <a:gsLst>
                <a:gs pos="0">
                  <a:schemeClr val="bg2"/>
                </a:gs>
                <a:gs pos="100000">
                  <a:schemeClr val="bg1"/>
                </a:gs>
              </a:gsLst>
              <a:lin ang="54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800"/>
            </a:p>
          </p:txBody>
        </p:sp>
      </p:grpSp>
      <p:sp>
        <p:nvSpPr>
          <p:cNvPr id="13" name="Text Box 16">
            <a:extLst>
              <a:ext uri="{FF2B5EF4-FFF2-40B4-BE49-F238E27FC236}">
                <a16:creationId xmlns:a16="http://schemas.microsoft.com/office/drawing/2014/main" id="{196FE3D8-E4DA-4B02-9140-4EF652E1D454}"/>
              </a:ext>
            </a:extLst>
          </p:cNvPr>
          <p:cNvSpPr txBox="1">
            <a:spLocks noChangeArrowheads="1"/>
          </p:cNvSpPr>
          <p:nvPr/>
        </p:nvSpPr>
        <p:spPr bwMode="auto">
          <a:xfrm>
            <a:off x="11074400" y="304801"/>
            <a:ext cx="711200"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pPr eaLnBrk="0" hangingPunct="0">
              <a:spcBef>
                <a:spcPct val="50000"/>
              </a:spcBef>
              <a:defRPr/>
            </a:pPr>
            <a:endParaRPr lang="en-US" altLang="en-US" sz="1800">
              <a:solidFill>
                <a:srgbClr val="FFFFFF"/>
              </a:solidFill>
              <a:latin typeface="Garamond" pitchFamily="18" charset="0"/>
            </a:endParaRPr>
          </a:p>
        </p:txBody>
      </p:sp>
      <p:sp>
        <p:nvSpPr>
          <p:cNvPr id="14" name="Text Box 17">
            <a:extLst>
              <a:ext uri="{FF2B5EF4-FFF2-40B4-BE49-F238E27FC236}">
                <a16:creationId xmlns:a16="http://schemas.microsoft.com/office/drawing/2014/main" id="{493D2A5D-5963-4B1C-BB3D-D3E4416835CD}"/>
              </a:ext>
            </a:extLst>
          </p:cNvPr>
          <p:cNvSpPr txBox="1">
            <a:spLocks noChangeArrowheads="1"/>
          </p:cNvSpPr>
          <p:nvPr/>
        </p:nvSpPr>
        <p:spPr bwMode="auto">
          <a:xfrm>
            <a:off x="11582400" y="228601"/>
            <a:ext cx="609600"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Calibri" panose="020F0502020204030204" pitchFamily="34" charset="0"/>
                <a:cs typeface="Arial" panose="020B0604020202020204" pitchFamily="34" charset="0"/>
              </a:defRPr>
            </a:lvl1pPr>
            <a:lvl2pPr marL="742950" indent="-285750" eaLnBrk="0" hangingPunct="0">
              <a:defRPr>
                <a:solidFill>
                  <a:schemeClr val="tx1"/>
                </a:solidFill>
                <a:latin typeface="Calibri" panose="020F0502020204030204" pitchFamily="34" charset="0"/>
                <a:cs typeface="Arial" panose="020B0604020202020204" pitchFamily="34" charset="0"/>
              </a:defRPr>
            </a:lvl2pPr>
            <a:lvl3pPr marL="1143000" indent="-228600" eaLnBrk="0" hangingPunct="0">
              <a:defRPr>
                <a:solidFill>
                  <a:schemeClr val="tx1"/>
                </a:solidFill>
                <a:latin typeface="Calibri" panose="020F0502020204030204" pitchFamily="34" charset="0"/>
                <a:cs typeface="Arial" panose="020B0604020202020204" pitchFamily="34" charset="0"/>
              </a:defRPr>
            </a:lvl3pPr>
            <a:lvl4pPr marL="1600200" indent="-228600" eaLnBrk="0" hangingPunct="0">
              <a:defRPr>
                <a:solidFill>
                  <a:schemeClr val="tx1"/>
                </a:solidFill>
                <a:latin typeface="Calibri" panose="020F0502020204030204" pitchFamily="34" charset="0"/>
                <a:cs typeface="Arial" panose="020B0604020202020204" pitchFamily="34" charset="0"/>
              </a:defRPr>
            </a:lvl4pPr>
            <a:lvl5pPr marL="2057400" indent="-228600" eaLnBrk="0" hangingPunct="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spcBef>
                <a:spcPct val="50000"/>
              </a:spcBef>
            </a:pPr>
            <a:fld id="{7BCAE609-7AE8-40EE-92A6-80B355CA1B09}" type="slidenum">
              <a:rPr lang="en-US" altLang="en-US" sz="1800">
                <a:solidFill>
                  <a:srgbClr val="FFFFFF"/>
                </a:solidFill>
                <a:latin typeface="Garamond" panose="02020404030301010803" pitchFamily="18" charset="0"/>
              </a:rPr>
              <a:pPr>
                <a:spcBef>
                  <a:spcPct val="50000"/>
                </a:spcBef>
              </a:pPr>
              <a:t>‹#›</a:t>
            </a:fld>
            <a:endParaRPr lang="en-US" altLang="en-US" sz="1800">
              <a:solidFill>
                <a:srgbClr val="FFFFFF"/>
              </a:solidFill>
              <a:latin typeface="Garamond" panose="02020404030301010803" pitchFamily="18" charset="0"/>
            </a:endParaRPr>
          </a:p>
        </p:txBody>
      </p:sp>
      <p:graphicFrame>
        <p:nvGraphicFramePr>
          <p:cNvPr id="15" name="Object 18">
            <a:extLst>
              <a:ext uri="{FF2B5EF4-FFF2-40B4-BE49-F238E27FC236}">
                <a16:creationId xmlns:a16="http://schemas.microsoft.com/office/drawing/2014/main" id="{15E24494-9D71-4804-930C-777190388FCF}"/>
              </a:ext>
            </a:extLst>
          </p:cNvPr>
          <p:cNvGraphicFramePr>
            <a:graphicFrameLocks noChangeAspect="1"/>
          </p:cNvGraphicFramePr>
          <p:nvPr/>
        </p:nvGraphicFramePr>
        <p:xfrm>
          <a:off x="9652000" y="5918200"/>
          <a:ext cx="2540000" cy="939800"/>
        </p:xfrm>
        <a:graphic>
          <a:graphicData uri="http://schemas.openxmlformats.org/presentationml/2006/ole">
            <mc:AlternateContent xmlns:mc="http://schemas.openxmlformats.org/markup-compatibility/2006">
              <mc:Choice xmlns:v="urn:schemas-microsoft-com:vml" Requires="v">
                <p:oleObj spid="_x0000_s13315" name="Bitmap Image" r:id="rId3" imgW="2142857" imgH="1057423" progId="Paint.Picture">
                  <p:embed/>
                </p:oleObj>
              </mc:Choice>
              <mc:Fallback>
                <p:oleObj name="Bitmap Image" r:id="rId3" imgW="2142857" imgH="1057423" progId="Paint.Picture">
                  <p:embed/>
                  <p:pic>
                    <p:nvPicPr>
                      <p:cNvPr id="15" name="Object 18">
                        <a:extLst>
                          <a:ext uri="{FF2B5EF4-FFF2-40B4-BE49-F238E27FC236}">
                            <a16:creationId xmlns:a16="http://schemas.microsoft.com/office/drawing/2014/main" id="{15E24494-9D71-4804-930C-777190388FC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652000" y="5918200"/>
                        <a:ext cx="2540000" cy="939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Rectangle 2">
            <a:extLst>
              <a:ext uri="{FF2B5EF4-FFF2-40B4-BE49-F238E27FC236}">
                <a16:creationId xmlns:a16="http://schemas.microsoft.com/office/drawing/2014/main" id="{AD94AC97-5538-4016-8C05-B1D830799A44}"/>
              </a:ext>
            </a:extLst>
          </p:cNvPr>
          <p:cNvSpPr>
            <a:spLocks noGrp="1" noChangeArrowheads="1"/>
          </p:cNvSpPr>
          <p:nvPr>
            <p:ph type="dt" sz="half" idx="10"/>
          </p:nvPr>
        </p:nvSpPr>
        <p:spPr/>
        <p:txBody>
          <a:bodyPr/>
          <a:lstStyle>
            <a:lvl1pPr fontAlgn="auto">
              <a:spcBef>
                <a:spcPts val="0"/>
              </a:spcBef>
              <a:spcAft>
                <a:spcPts val="0"/>
              </a:spcAft>
              <a:defRPr/>
            </a:lvl1pPr>
          </a:lstStyle>
          <a:p>
            <a:pPr>
              <a:defRPr/>
            </a:pPr>
            <a:endParaRPr lang="en-US"/>
          </a:p>
        </p:txBody>
      </p:sp>
      <p:sp>
        <p:nvSpPr>
          <p:cNvPr id="17" name="Rectangle 3">
            <a:extLst>
              <a:ext uri="{FF2B5EF4-FFF2-40B4-BE49-F238E27FC236}">
                <a16:creationId xmlns:a16="http://schemas.microsoft.com/office/drawing/2014/main" id="{73AA150E-E5D5-476C-A3B5-DDD14BB69F4D}"/>
              </a:ext>
            </a:extLst>
          </p:cNvPr>
          <p:cNvSpPr>
            <a:spLocks noGrp="1" noChangeArrowheads="1"/>
          </p:cNvSpPr>
          <p:nvPr>
            <p:ph type="sldNum" sz="quarter" idx="11"/>
          </p:nvPr>
        </p:nvSpPr>
        <p:spPr/>
        <p:txBody>
          <a:bodyPr/>
          <a:lstStyle>
            <a:lvl1pPr>
              <a:defRPr/>
            </a:lvl1pPr>
          </a:lstStyle>
          <a:p>
            <a:fld id="{298CB860-60AB-418F-8B90-4C43ABFB95BF}" type="slidenum">
              <a:rPr lang="en-US" altLang="en-US"/>
              <a:pPr/>
              <a:t>‹#›</a:t>
            </a:fld>
            <a:endParaRPr lang="en-US" altLang="en-US"/>
          </a:p>
        </p:txBody>
      </p:sp>
      <p:sp>
        <p:nvSpPr>
          <p:cNvPr id="18" name="Rectangle 14">
            <a:extLst>
              <a:ext uri="{FF2B5EF4-FFF2-40B4-BE49-F238E27FC236}">
                <a16:creationId xmlns:a16="http://schemas.microsoft.com/office/drawing/2014/main" id="{AE67C472-A394-4651-B80D-9EC685BB6249}"/>
              </a:ext>
            </a:extLst>
          </p:cNvPr>
          <p:cNvSpPr>
            <a:spLocks noGrp="1" noChangeArrowheads="1"/>
          </p:cNvSpPr>
          <p:nvPr>
            <p:ph type="ftr" sz="quarter" idx="12"/>
          </p:nvPr>
        </p:nvSpPr>
        <p:spPr/>
        <p:txBody>
          <a:bodyPr/>
          <a:lstStyle>
            <a:lvl1pPr fontAlgn="auto">
              <a:spcBef>
                <a:spcPts val="0"/>
              </a:spcBef>
              <a:spcAft>
                <a:spcPts val="0"/>
              </a:spcAft>
              <a:defRPr/>
            </a:lvl1pPr>
          </a:lstStyle>
          <a:p>
            <a:pPr>
              <a:defRPr/>
            </a:pPr>
            <a:endParaRPr lang="en-US"/>
          </a:p>
        </p:txBody>
      </p:sp>
    </p:spTree>
    <p:extLst>
      <p:ext uri="{BB962C8B-B14F-4D97-AF65-F5344CB8AC3E}">
        <p14:creationId xmlns:p14="http://schemas.microsoft.com/office/powerpoint/2010/main" val="3600894993"/>
      </p:ext>
    </p:extLst>
  </p:cSld>
  <p:clrMapOvr>
    <a:masterClrMapping/>
  </p:clrMapOvr>
  <p:transition>
    <p:random/>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CB337B-81C5-48D9-8279-28D8ECA5B765}"/>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C67CBCBB-E92B-45B5-8269-FBBD7B2B392C}"/>
              </a:ext>
            </a:extLst>
          </p:cNvPr>
          <p:cNvSpPr>
            <a:spLocks noGrp="1"/>
          </p:cNvSpPr>
          <p:nvPr>
            <p:ph type="dt" sz="half" idx="10"/>
          </p:nvPr>
        </p:nvSpPr>
        <p:spPr/>
        <p:txBody>
          <a:bodyPr/>
          <a:lstStyle/>
          <a:p>
            <a:fld id="{0C08B2A5-1572-4DE8-941E-858EF0E10F23}" type="datetimeFigureOut">
              <a:rPr lang="en-US" smtClean="0"/>
              <a:t>12/6/2019</a:t>
            </a:fld>
            <a:endParaRPr lang="en-US"/>
          </a:p>
        </p:txBody>
      </p:sp>
      <p:sp>
        <p:nvSpPr>
          <p:cNvPr id="4" name="Footer Placeholder 3">
            <a:extLst>
              <a:ext uri="{FF2B5EF4-FFF2-40B4-BE49-F238E27FC236}">
                <a16:creationId xmlns:a16="http://schemas.microsoft.com/office/drawing/2014/main" id="{FC83DF7B-E3D9-4B1F-A7A4-FE88EB74DD7C}"/>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DD19776A-1E45-46AE-BB1E-CF2B09D68DD3}"/>
              </a:ext>
            </a:extLst>
          </p:cNvPr>
          <p:cNvSpPr>
            <a:spLocks noGrp="1"/>
          </p:cNvSpPr>
          <p:nvPr>
            <p:ph type="sldNum" sz="quarter" idx="12"/>
          </p:nvPr>
        </p:nvSpPr>
        <p:spPr/>
        <p:txBody>
          <a:bodyPr/>
          <a:lstStyle/>
          <a:p>
            <a:fld id="{E5FAEECA-10E4-45EC-A9E1-A5331A7A6F2F}" type="slidenum">
              <a:rPr lang="en-US" smtClean="0"/>
              <a:t>‹#›</a:t>
            </a:fld>
            <a:endParaRPr lang="en-US"/>
          </a:p>
        </p:txBody>
      </p:sp>
    </p:spTree>
    <p:extLst>
      <p:ext uri="{BB962C8B-B14F-4D97-AF65-F5344CB8AC3E}">
        <p14:creationId xmlns:p14="http://schemas.microsoft.com/office/powerpoint/2010/main" val="2750490606"/>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grpSp>
        <p:nvGrpSpPr>
          <p:cNvPr id="4" name="Group 4">
            <a:extLst>
              <a:ext uri="{FF2B5EF4-FFF2-40B4-BE49-F238E27FC236}">
                <a16:creationId xmlns:a16="http://schemas.microsoft.com/office/drawing/2014/main" id="{F642DADD-195B-4D58-905B-4E9A316C67EC}"/>
              </a:ext>
            </a:extLst>
          </p:cNvPr>
          <p:cNvGrpSpPr>
            <a:grpSpLocks/>
          </p:cNvGrpSpPr>
          <p:nvPr/>
        </p:nvGrpSpPr>
        <p:grpSpPr bwMode="auto">
          <a:xfrm>
            <a:off x="1" y="1"/>
            <a:ext cx="12187767" cy="6850063"/>
            <a:chOff x="0" y="0"/>
            <a:chExt cx="5758" cy="4315"/>
          </a:xfrm>
        </p:grpSpPr>
        <p:grpSp>
          <p:nvGrpSpPr>
            <p:cNvPr id="5" name="Group 5">
              <a:extLst>
                <a:ext uri="{FF2B5EF4-FFF2-40B4-BE49-F238E27FC236}">
                  <a16:creationId xmlns:a16="http://schemas.microsoft.com/office/drawing/2014/main" id="{F1BDBDC7-515D-4372-9B4F-2E9A80D96729}"/>
                </a:ext>
              </a:extLst>
            </p:cNvPr>
            <p:cNvGrpSpPr>
              <a:grpSpLocks/>
            </p:cNvGrpSpPr>
            <p:nvPr userDrawn="1"/>
          </p:nvGrpSpPr>
          <p:grpSpPr bwMode="auto">
            <a:xfrm>
              <a:off x="1728" y="2230"/>
              <a:ext cx="4027" cy="2085"/>
              <a:chOff x="1728" y="2230"/>
              <a:chExt cx="4027" cy="2085"/>
            </a:xfrm>
          </p:grpSpPr>
          <p:sp>
            <p:nvSpPr>
              <p:cNvPr id="8" name="Freeform 6">
                <a:extLst>
                  <a:ext uri="{FF2B5EF4-FFF2-40B4-BE49-F238E27FC236}">
                    <a16:creationId xmlns:a16="http://schemas.microsoft.com/office/drawing/2014/main" id="{5EA79FF7-B6CC-4304-B29C-413C2F408CE9}"/>
                  </a:ext>
                </a:extLst>
              </p:cNvPr>
              <p:cNvSpPr>
                <a:spLocks/>
              </p:cNvSpPr>
              <p:nvPr/>
            </p:nvSpPr>
            <p:spPr bwMode="hidden">
              <a:xfrm>
                <a:off x="1728" y="2644"/>
                <a:ext cx="2882" cy="1671"/>
              </a:xfrm>
              <a:custGeom>
                <a:avLst/>
                <a:gdLst/>
                <a:ahLst/>
                <a:cxnLst>
                  <a:cxn ang="0">
                    <a:pos x="2740" y="528"/>
                  </a:cxn>
                  <a:cxn ang="0">
                    <a:pos x="2632" y="484"/>
                  </a:cxn>
                  <a:cxn ang="0">
                    <a:pos x="2480" y="424"/>
                  </a:cxn>
                  <a:cxn ang="0">
                    <a:pos x="2203" y="343"/>
                  </a:cxn>
                  <a:cxn ang="0">
                    <a:pos x="1970" y="277"/>
                  </a:cxn>
                  <a:cxn ang="0">
                    <a:pos x="1807" y="212"/>
                  </a:cxn>
                  <a:cxn ang="0">
                    <a:pos x="1693" y="152"/>
                  </a:cxn>
                  <a:cxn ang="0">
                    <a:pos x="1628" y="103"/>
                  </a:cxn>
                  <a:cxn ang="0">
                    <a:pos x="1590" y="60"/>
                  </a:cxn>
                  <a:cxn ang="0">
                    <a:pos x="1579" y="27"/>
                  </a:cxn>
                  <a:cxn ang="0">
                    <a:pos x="1585" y="0"/>
                  </a:cxn>
                  <a:cxn ang="0">
                    <a:pos x="1557" y="49"/>
                  </a:cxn>
                  <a:cxn ang="0">
                    <a:pos x="1568" y="98"/>
                  </a:cxn>
                  <a:cxn ang="0">
                    <a:pos x="1617" y="141"/>
                  </a:cxn>
                  <a:cxn ang="0">
                    <a:pos x="1688" y="185"/>
                  </a:cxn>
                  <a:cxn ang="0">
                    <a:pos x="1791" y="228"/>
                  </a:cxn>
                  <a:cxn ang="0">
                    <a:pos x="2040" y="310"/>
                  </a:cxn>
                  <a:cxn ang="0">
                    <a:pos x="2285" y="381"/>
                  </a:cxn>
                  <a:cxn ang="0">
                    <a:pos x="2464" y="435"/>
                  </a:cxn>
                  <a:cxn ang="0">
                    <a:pos x="2605" y="484"/>
                  </a:cxn>
                  <a:cxn ang="0">
                    <a:pos x="2708" y="528"/>
                  </a:cxn>
                  <a:cxn ang="0">
                    <a:pos x="2768" y="560"/>
                  </a:cxn>
                  <a:cxn ang="0">
                    <a:pos x="2795" y="593"/>
                  </a:cxn>
                  <a:cxn ang="0">
                    <a:pos x="2795" y="642"/>
                  </a:cxn>
                  <a:cxn ang="0">
                    <a:pos x="2762" y="691"/>
                  </a:cxn>
                  <a:cxn ang="0">
                    <a:pos x="2692" y="735"/>
                  </a:cxn>
                  <a:cxn ang="0">
                    <a:pos x="2589" y="778"/>
                  </a:cxn>
                  <a:cxn ang="0">
                    <a:pos x="2458" y="822"/>
                  </a:cxn>
                  <a:cxn ang="0">
                    <a:pos x="2301" y="865"/>
                  </a:cxn>
                  <a:cxn ang="0">
                    <a:pos x="2030" y="930"/>
                  </a:cxn>
                  <a:cxn ang="0">
                    <a:pos x="1606" y="1034"/>
                  </a:cxn>
                  <a:cxn ang="0">
                    <a:pos x="1145" y="1164"/>
                  </a:cxn>
                  <a:cxn ang="0">
                    <a:pos x="673" y="1328"/>
                  </a:cxn>
                  <a:cxn ang="0">
                    <a:pos x="217" y="1545"/>
                  </a:cxn>
                  <a:cxn ang="0">
                    <a:pos x="353" y="1671"/>
                  </a:cxn>
                  <a:cxn ang="0">
                    <a:pos x="754" y="1469"/>
                  </a:cxn>
                  <a:cxn ang="0">
                    <a:pos x="1145" y="1311"/>
                  </a:cxn>
                  <a:cxn ang="0">
                    <a:pos x="1519" y="1186"/>
                  </a:cxn>
                  <a:cxn ang="0">
                    <a:pos x="1861" y="1083"/>
                  </a:cxn>
                  <a:cxn ang="0">
                    <a:pos x="2165" y="1007"/>
                  </a:cxn>
                  <a:cxn ang="0">
                    <a:pos x="2426" y="947"/>
                  </a:cxn>
                  <a:cxn ang="0">
                    <a:pos x="2626" y="892"/>
                  </a:cxn>
                  <a:cxn ang="0">
                    <a:pos x="2762" y="838"/>
                  </a:cxn>
                  <a:cxn ang="0">
                    <a:pos x="2827" y="794"/>
                  </a:cxn>
                  <a:cxn ang="0">
                    <a:pos x="2865" y="745"/>
                  </a:cxn>
                  <a:cxn ang="0">
                    <a:pos x="2882" y="702"/>
                  </a:cxn>
                  <a:cxn ang="0">
                    <a:pos x="2854" y="620"/>
                  </a:cxn>
                  <a:cxn ang="0">
                    <a:pos x="2800" y="560"/>
                  </a:cxn>
                  <a:cxn ang="0">
                    <a:pos x="2773" y="544"/>
                  </a:cxn>
                </a:cxnLst>
                <a:rect l="0" t="0" r="r" b="b"/>
                <a:pathLst>
                  <a:path w="2882" h="1671">
                    <a:moveTo>
                      <a:pt x="2773" y="544"/>
                    </a:moveTo>
                    <a:lnTo>
                      <a:pt x="2740" y="528"/>
                    </a:lnTo>
                    <a:lnTo>
                      <a:pt x="2692" y="506"/>
                    </a:lnTo>
                    <a:lnTo>
                      <a:pt x="2632" y="484"/>
                    </a:lnTo>
                    <a:lnTo>
                      <a:pt x="2561" y="457"/>
                    </a:lnTo>
                    <a:lnTo>
                      <a:pt x="2480" y="424"/>
                    </a:lnTo>
                    <a:lnTo>
                      <a:pt x="2388" y="397"/>
                    </a:lnTo>
                    <a:lnTo>
                      <a:pt x="2203" y="343"/>
                    </a:lnTo>
                    <a:lnTo>
                      <a:pt x="2078" y="310"/>
                    </a:lnTo>
                    <a:lnTo>
                      <a:pt x="1970" y="277"/>
                    </a:lnTo>
                    <a:lnTo>
                      <a:pt x="1878" y="245"/>
                    </a:lnTo>
                    <a:lnTo>
                      <a:pt x="1807" y="212"/>
                    </a:lnTo>
                    <a:lnTo>
                      <a:pt x="1742" y="179"/>
                    </a:lnTo>
                    <a:lnTo>
                      <a:pt x="1693" y="152"/>
                    </a:lnTo>
                    <a:lnTo>
                      <a:pt x="1655" y="125"/>
                    </a:lnTo>
                    <a:lnTo>
                      <a:pt x="1628" y="103"/>
                    </a:lnTo>
                    <a:lnTo>
                      <a:pt x="1606" y="81"/>
                    </a:lnTo>
                    <a:lnTo>
                      <a:pt x="1590" y="60"/>
                    </a:lnTo>
                    <a:lnTo>
                      <a:pt x="1585" y="43"/>
                    </a:lnTo>
                    <a:lnTo>
                      <a:pt x="1579" y="27"/>
                    </a:lnTo>
                    <a:lnTo>
                      <a:pt x="1585" y="5"/>
                    </a:lnTo>
                    <a:lnTo>
                      <a:pt x="1585" y="0"/>
                    </a:lnTo>
                    <a:lnTo>
                      <a:pt x="1568" y="27"/>
                    </a:lnTo>
                    <a:lnTo>
                      <a:pt x="1557" y="49"/>
                    </a:lnTo>
                    <a:lnTo>
                      <a:pt x="1557" y="76"/>
                    </a:lnTo>
                    <a:lnTo>
                      <a:pt x="1568" y="98"/>
                    </a:lnTo>
                    <a:lnTo>
                      <a:pt x="1590" y="120"/>
                    </a:lnTo>
                    <a:lnTo>
                      <a:pt x="1617" y="141"/>
                    </a:lnTo>
                    <a:lnTo>
                      <a:pt x="1650" y="163"/>
                    </a:lnTo>
                    <a:lnTo>
                      <a:pt x="1688" y="185"/>
                    </a:lnTo>
                    <a:lnTo>
                      <a:pt x="1737" y="207"/>
                    </a:lnTo>
                    <a:lnTo>
                      <a:pt x="1791" y="228"/>
                    </a:lnTo>
                    <a:lnTo>
                      <a:pt x="1905" y="267"/>
                    </a:lnTo>
                    <a:lnTo>
                      <a:pt x="2040" y="310"/>
                    </a:lnTo>
                    <a:lnTo>
                      <a:pt x="2182" y="348"/>
                    </a:lnTo>
                    <a:lnTo>
                      <a:pt x="2285" y="381"/>
                    </a:lnTo>
                    <a:lnTo>
                      <a:pt x="2382" y="408"/>
                    </a:lnTo>
                    <a:lnTo>
                      <a:pt x="2464" y="435"/>
                    </a:lnTo>
                    <a:lnTo>
                      <a:pt x="2540" y="462"/>
                    </a:lnTo>
                    <a:lnTo>
                      <a:pt x="2605" y="484"/>
                    </a:lnTo>
                    <a:lnTo>
                      <a:pt x="2659" y="506"/>
                    </a:lnTo>
                    <a:lnTo>
                      <a:pt x="2708" y="528"/>
                    </a:lnTo>
                    <a:lnTo>
                      <a:pt x="2740" y="544"/>
                    </a:lnTo>
                    <a:lnTo>
                      <a:pt x="2768" y="560"/>
                    </a:lnTo>
                    <a:lnTo>
                      <a:pt x="2784" y="577"/>
                    </a:lnTo>
                    <a:lnTo>
                      <a:pt x="2795" y="593"/>
                    </a:lnTo>
                    <a:lnTo>
                      <a:pt x="2800" y="615"/>
                    </a:lnTo>
                    <a:lnTo>
                      <a:pt x="2795" y="642"/>
                    </a:lnTo>
                    <a:lnTo>
                      <a:pt x="2784" y="664"/>
                    </a:lnTo>
                    <a:lnTo>
                      <a:pt x="2762" y="691"/>
                    </a:lnTo>
                    <a:lnTo>
                      <a:pt x="2730" y="713"/>
                    </a:lnTo>
                    <a:lnTo>
                      <a:pt x="2692" y="735"/>
                    </a:lnTo>
                    <a:lnTo>
                      <a:pt x="2643" y="756"/>
                    </a:lnTo>
                    <a:lnTo>
                      <a:pt x="2589" y="778"/>
                    </a:lnTo>
                    <a:lnTo>
                      <a:pt x="2529" y="800"/>
                    </a:lnTo>
                    <a:lnTo>
                      <a:pt x="2458" y="822"/>
                    </a:lnTo>
                    <a:lnTo>
                      <a:pt x="2382" y="843"/>
                    </a:lnTo>
                    <a:lnTo>
                      <a:pt x="2301" y="865"/>
                    </a:lnTo>
                    <a:lnTo>
                      <a:pt x="2214" y="887"/>
                    </a:lnTo>
                    <a:lnTo>
                      <a:pt x="2030" y="930"/>
                    </a:lnTo>
                    <a:lnTo>
                      <a:pt x="1823" y="979"/>
                    </a:lnTo>
                    <a:lnTo>
                      <a:pt x="1606" y="1034"/>
                    </a:lnTo>
                    <a:lnTo>
                      <a:pt x="1378" y="1094"/>
                    </a:lnTo>
                    <a:lnTo>
                      <a:pt x="1145" y="1164"/>
                    </a:lnTo>
                    <a:lnTo>
                      <a:pt x="912" y="1241"/>
                    </a:lnTo>
                    <a:lnTo>
                      <a:pt x="673" y="1328"/>
                    </a:lnTo>
                    <a:lnTo>
                      <a:pt x="440" y="1431"/>
                    </a:lnTo>
                    <a:lnTo>
                      <a:pt x="217" y="1545"/>
                    </a:lnTo>
                    <a:lnTo>
                      <a:pt x="0" y="1671"/>
                    </a:lnTo>
                    <a:lnTo>
                      <a:pt x="353" y="1671"/>
                    </a:lnTo>
                    <a:lnTo>
                      <a:pt x="554" y="1567"/>
                    </a:lnTo>
                    <a:lnTo>
                      <a:pt x="754" y="1469"/>
                    </a:lnTo>
                    <a:lnTo>
                      <a:pt x="955" y="1388"/>
                    </a:lnTo>
                    <a:lnTo>
                      <a:pt x="1145" y="1311"/>
                    </a:lnTo>
                    <a:lnTo>
                      <a:pt x="1335" y="1241"/>
                    </a:lnTo>
                    <a:lnTo>
                      <a:pt x="1519" y="1186"/>
                    </a:lnTo>
                    <a:lnTo>
                      <a:pt x="1693" y="1132"/>
                    </a:lnTo>
                    <a:lnTo>
                      <a:pt x="1861" y="1083"/>
                    </a:lnTo>
                    <a:lnTo>
                      <a:pt x="2019" y="1045"/>
                    </a:lnTo>
                    <a:lnTo>
                      <a:pt x="2165" y="1007"/>
                    </a:lnTo>
                    <a:lnTo>
                      <a:pt x="2301" y="974"/>
                    </a:lnTo>
                    <a:lnTo>
                      <a:pt x="2426" y="947"/>
                    </a:lnTo>
                    <a:lnTo>
                      <a:pt x="2534" y="914"/>
                    </a:lnTo>
                    <a:lnTo>
                      <a:pt x="2626" y="892"/>
                    </a:lnTo>
                    <a:lnTo>
                      <a:pt x="2702" y="865"/>
                    </a:lnTo>
                    <a:lnTo>
                      <a:pt x="2762" y="838"/>
                    </a:lnTo>
                    <a:lnTo>
                      <a:pt x="2800" y="816"/>
                    </a:lnTo>
                    <a:lnTo>
                      <a:pt x="2827" y="794"/>
                    </a:lnTo>
                    <a:lnTo>
                      <a:pt x="2849" y="767"/>
                    </a:lnTo>
                    <a:lnTo>
                      <a:pt x="2865" y="745"/>
                    </a:lnTo>
                    <a:lnTo>
                      <a:pt x="2876" y="724"/>
                    </a:lnTo>
                    <a:lnTo>
                      <a:pt x="2882" y="702"/>
                    </a:lnTo>
                    <a:lnTo>
                      <a:pt x="2876" y="658"/>
                    </a:lnTo>
                    <a:lnTo>
                      <a:pt x="2854" y="620"/>
                    </a:lnTo>
                    <a:lnTo>
                      <a:pt x="2833" y="588"/>
                    </a:lnTo>
                    <a:lnTo>
                      <a:pt x="2800" y="560"/>
                    </a:lnTo>
                    <a:lnTo>
                      <a:pt x="2773" y="544"/>
                    </a:lnTo>
                    <a:lnTo>
                      <a:pt x="2773" y="544"/>
                    </a:lnTo>
                    <a:close/>
                  </a:path>
                </a:pathLst>
              </a:custGeom>
              <a:gradFill rotWithShape="0">
                <a:gsLst>
                  <a:gs pos="0">
                    <a:schemeClr val="bg1"/>
                  </a:gs>
                  <a:gs pos="100000">
                    <a:schemeClr val="bg1">
                      <a:gamma/>
                      <a:shade val="90980"/>
                      <a:invGamma/>
                    </a:schemeClr>
                  </a:gs>
                </a:gsLst>
                <a:lin ang="0" scaled="1"/>
              </a:gradFill>
              <a:ln w="9525">
                <a:noFill/>
                <a:round/>
                <a:headEnd/>
                <a:tailEnd/>
              </a:ln>
            </p:spPr>
            <p:txBody>
              <a:bodyPr/>
              <a:lstStyle/>
              <a:p>
                <a:pPr eaLnBrk="0" hangingPunct="0">
                  <a:defRPr/>
                </a:pPr>
                <a:endParaRPr lang="en-US" sz="1800">
                  <a:solidFill>
                    <a:srgbClr val="FFFFFF"/>
                  </a:solidFill>
                  <a:latin typeface="+mn-lt"/>
                  <a:cs typeface="+mn-cs"/>
                </a:endParaRPr>
              </a:p>
            </p:txBody>
          </p:sp>
          <p:sp>
            <p:nvSpPr>
              <p:cNvPr id="9" name="Freeform 7">
                <a:extLst>
                  <a:ext uri="{FF2B5EF4-FFF2-40B4-BE49-F238E27FC236}">
                    <a16:creationId xmlns:a16="http://schemas.microsoft.com/office/drawing/2014/main" id="{515A9982-8573-4287-A828-C342B81CFCE3}"/>
                  </a:ext>
                </a:extLst>
              </p:cNvPr>
              <p:cNvSpPr>
                <a:spLocks/>
              </p:cNvSpPr>
              <p:nvPr/>
            </p:nvSpPr>
            <p:spPr bwMode="hidden">
              <a:xfrm>
                <a:off x="4170" y="2671"/>
                <a:ext cx="1259" cy="811"/>
              </a:xfrm>
              <a:custGeom>
                <a:avLst/>
                <a:gdLst/>
                <a:ahLst/>
                <a:cxnLst>
                  <a:cxn ang="0">
                    <a:pos x="1259" y="615"/>
                  </a:cxn>
                  <a:cxn ang="0">
                    <a:pos x="1248" y="588"/>
                  </a:cxn>
                  <a:cxn ang="0">
                    <a:pos x="1237" y="566"/>
                  </a:cxn>
                  <a:cxn ang="0">
                    <a:pos x="1216" y="539"/>
                  </a:cxn>
                  <a:cxn ang="0">
                    <a:pos x="1188" y="517"/>
                  </a:cxn>
                  <a:cxn ang="0">
                    <a:pos x="1123" y="479"/>
                  </a:cxn>
                  <a:cxn ang="0">
                    <a:pos x="1042" y="441"/>
                  </a:cxn>
                  <a:cxn ang="0">
                    <a:pos x="944" y="408"/>
                  </a:cxn>
                  <a:cxn ang="0">
                    <a:pos x="841" y="381"/>
                  </a:cxn>
                  <a:cxn ang="0">
                    <a:pos x="727" y="348"/>
                  </a:cxn>
                  <a:cxn ang="0">
                    <a:pos x="613" y="321"/>
                  </a:cxn>
                  <a:cxn ang="0">
                    <a:pos x="499" y="294"/>
                  </a:cxn>
                  <a:cxn ang="0">
                    <a:pos x="391" y="261"/>
                  </a:cxn>
                  <a:cxn ang="0">
                    <a:pos x="288" y="229"/>
                  </a:cxn>
                  <a:cxn ang="0">
                    <a:pos x="195" y="196"/>
                  </a:cxn>
                  <a:cxn ang="0">
                    <a:pos x="119" y="152"/>
                  </a:cxn>
                  <a:cxn ang="0">
                    <a:pos x="54" y="109"/>
                  </a:cxn>
                  <a:cxn ang="0">
                    <a:pos x="33" y="87"/>
                  </a:cxn>
                  <a:cxn ang="0">
                    <a:pos x="16" y="60"/>
                  </a:cxn>
                  <a:cxn ang="0">
                    <a:pos x="5" y="33"/>
                  </a:cxn>
                  <a:cxn ang="0">
                    <a:pos x="0" y="0"/>
                  </a:cxn>
                  <a:cxn ang="0">
                    <a:pos x="0" y="6"/>
                  </a:cxn>
                  <a:cxn ang="0">
                    <a:pos x="0" y="11"/>
                  </a:cxn>
                  <a:cxn ang="0">
                    <a:pos x="0" y="38"/>
                  </a:cxn>
                  <a:cxn ang="0">
                    <a:pos x="5" y="60"/>
                  </a:cxn>
                  <a:cxn ang="0">
                    <a:pos x="16" y="87"/>
                  </a:cxn>
                  <a:cxn ang="0">
                    <a:pos x="33" y="114"/>
                  </a:cxn>
                  <a:cxn ang="0">
                    <a:pos x="54" y="142"/>
                  </a:cxn>
                  <a:cxn ang="0">
                    <a:pos x="87" y="174"/>
                  </a:cxn>
                  <a:cxn ang="0">
                    <a:pos x="125" y="207"/>
                  </a:cxn>
                  <a:cxn ang="0">
                    <a:pos x="179" y="240"/>
                  </a:cxn>
                  <a:cxn ang="0">
                    <a:pos x="244" y="278"/>
                  </a:cxn>
                  <a:cxn ang="0">
                    <a:pos x="326" y="310"/>
                  </a:cxn>
                  <a:cxn ang="0">
                    <a:pos x="418" y="348"/>
                  </a:cxn>
                  <a:cxn ang="0">
                    <a:pos x="526" y="381"/>
                  </a:cxn>
                  <a:cxn ang="0">
                    <a:pos x="657" y="414"/>
                  </a:cxn>
                  <a:cxn ang="0">
                    <a:pos x="749" y="435"/>
                  </a:cxn>
                  <a:cxn ang="0">
                    <a:pos x="830" y="463"/>
                  </a:cxn>
                  <a:cxn ang="0">
                    <a:pos x="901" y="490"/>
                  </a:cxn>
                  <a:cxn ang="0">
                    <a:pos x="966" y="512"/>
                  </a:cxn>
                  <a:cxn ang="0">
                    <a:pos x="1015" y="539"/>
                  </a:cxn>
                  <a:cxn ang="0">
                    <a:pos x="1053" y="566"/>
                  </a:cxn>
                  <a:cxn ang="0">
                    <a:pos x="1080" y="593"/>
                  </a:cxn>
                  <a:cxn ang="0">
                    <a:pos x="1102" y="620"/>
                  </a:cxn>
                  <a:cxn ang="0">
                    <a:pos x="1112" y="648"/>
                  </a:cxn>
                  <a:cxn ang="0">
                    <a:pos x="1118" y="675"/>
                  </a:cxn>
                  <a:cxn ang="0">
                    <a:pos x="1112" y="697"/>
                  </a:cxn>
                  <a:cxn ang="0">
                    <a:pos x="1096" y="724"/>
                  </a:cxn>
                  <a:cxn ang="0">
                    <a:pos x="1080" y="746"/>
                  </a:cxn>
                  <a:cxn ang="0">
                    <a:pos x="1053" y="767"/>
                  </a:cxn>
                  <a:cxn ang="0">
                    <a:pos x="1015" y="789"/>
                  </a:cxn>
                  <a:cxn ang="0">
                    <a:pos x="977" y="811"/>
                  </a:cxn>
                  <a:cxn ang="0">
                    <a:pos x="1047" y="789"/>
                  </a:cxn>
                  <a:cxn ang="0">
                    <a:pos x="1107" y="767"/>
                  </a:cxn>
                  <a:cxn ang="0">
                    <a:pos x="1156" y="746"/>
                  </a:cxn>
                  <a:cxn ang="0">
                    <a:pos x="1199" y="724"/>
                  </a:cxn>
                  <a:cxn ang="0">
                    <a:pos x="1226" y="702"/>
                  </a:cxn>
                  <a:cxn ang="0">
                    <a:pos x="1248" y="675"/>
                  </a:cxn>
                  <a:cxn ang="0">
                    <a:pos x="1259" y="648"/>
                  </a:cxn>
                  <a:cxn ang="0">
                    <a:pos x="1259" y="615"/>
                  </a:cxn>
                  <a:cxn ang="0">
                    <a:pos x="1259" y="615"/>
                  </a:cxn>
                </a:cxnLst>
                <a:rect l="0" t="0" r="r" b="b"/>
                <a:pathLst>
                  <a:path w="1259" h="811">
                    <a:moveTo>
                      <a:pt x="1259" y="615"/>
                    </a:moveTo>
                    <a:lnTo>
                      <a:pt x="1248" y="588"/>
                    </a:lnTo>
                    <a:lnTo>
                      <a:pt x="1237" y="566"/>
                    </a:lnTo>
                    <a:lnTo>
                      <a:pt x="1216" y="539"/>
                    </a:lnTo>
                    <a:lnTo>
                      <a:pt x="1188" y="517"/>
                    </a:lnTo>
                    <a:lnTo>
                      <a:pt x="1123" y="479"/>
                    </a:lnTo>
                    <a:lnTo>
                      <a:pt x="1042" y="441"/>
                    </a:lnTo>
                    <a:lnTo>
                      <a:pt x="944" y="408"/>
                    </a:lnTo>
                    <a:lnTo>
                      <a:pt x="841" y="381"/>
                    </a:lnTo>
                    <a:lnTo>
                      <a:pt x="727" y="348"/>
                    </a:lnTo>
                    <a:lnTo>
                      <a:pt x="613" y="321"/>
                    </a:lnTo>
                    <a:lnTo>
                      <a:pt x="499" y="294"/>
                    </a:lnTo>
                    <a:lnTo>
                      <a:pt x="391" y="261"/>
                    </a:lnTo>
                    <a:lnTo>
                      <a:pt x="288" y="229"/>
                    </a:lnTo>
                    <a:lnTo>
                      <a:pt x="195" y="196"/>
                    </a:lnTo>
                    <a:lnTo>
                      <a:pt x="119" y="152"/>
                    </a:lnTo>
                    <a:lnTo>
                      <a:pt x="54" y="109"/>
                    </a:lnTo>
                    <a:lnTo>
                      <a:pt x="33" y="87"/>
                    </a:lnTo>
                    <a:lnTo>
                      <a:pt x="16" y="60"/>
                    </a:lnTo>
                    <a:lnTo>
                      <a:pt x="5" y="33"/>
                    </a:lnTo>
                    <a:lnTo>
                      <a:pt x="0" y="0"/>
                    </a:lnTo>
                    <a:lnTo>
                      <a:pt x="0" y="6"/>
                    </a:lnTo>
                    <a:lnTo>
                      <a:pt x="0" y="11"/>
                    </a:lnTo>
                    <a:lnTo>
                      <a:pt x="0" y="38"/>
                    </a:lnTo>
                    <a:lnTo>
                      <a:pt x="5" y="60"/>
                    </a:lnTo>
                    <a:lnTo>
                      <a:pt x="16" y="87"/>
                    </a:lnTo>
                    <a:lnTo>
                      <a:pt x="33" y="114"/>
                    </a:lnTo>
                    <a:lnTo>
                      <a:pt x="54" y="142"/>
                    </a:lnTo>
                    <a:lnTo>
                      <a:pt x="87" y="174"/>
                    </a:lnTo>
                    <a:lnTo>
                      <a:pt x="125" y="207"/>
                    </a:lnTo>
                    <a:lnTo>
                      <a:pt x="179" y="240"/>
                    </a:lnTo>
                    <a:lnTo>
                      <a:pt x="244" y="278"/>
                    </a:lnTo>
                    <a:lnTo>
                      <a:pt x="326" y="310"/>
                    </a:lnTo>
                    <a:lnTo>
                      <a:pt x="418" y="348"/>
                    </a:lnTo>
                    <a:lnTo>
                      <a:pt x="526" y="381"/>
                    </a:lnTo>
                    <a:lnTo>
                      <a:pt x="657" y="414"/>
                    </a:lnTo>
                    <a:lnTo>
                      <a:pt x="749" y="435"/>
                    </a:lnTo>
                    <a:lnTo>
                      <a:pt x="830" y="463"/>
                    </a:lnTo>
                    <a:lnTo>
                      <a:pt x="901" y="490"/>
                    </a:lnTo>
                    <a:lnTo>
                      <a:pt x="966" y="512"/>
                    </a:lnTo>
                    <a:lnTo>
                      <a:pt x="1015" y="539"/>
                    </a:lnTo>
                    <a:lnTo>
                      <a:pt x="1053" y="566"/>
                    </a:lnTo>
                    <a:lnTo>
                      <a:pt x="1080" y="593"/>
                    </a:lnTo>
                    <a:lnTo>
                      <a:pt x="1102" y="620"/>
                    </a:lnTo>
                    <a:lnTo>
                      <a:pt x="1112" y="648"/>
                    </a:lnTo>
                    <a:lnTo>
                      <a:pt x="1118" y="675"/>
                    </a:lnTo>
                    <a:lnTo>
                      <a:pt x="1112" y="697"/>
                    </a:lnTo>
                    <a:lnTo>
                      <a:pt x="1096" y="724"/>
                    </a:lnTo>
                    <a:lnTo>
                      <a:pt x="1080" y="746"/>
                    </a:lnTo>
                    <a:lnTo>
                      <a:pt x="1053" y="767"/>
                    </a:lnTo>
                    <a:lnTo>
                      <a:pt x="1015" y="789"/>
                    </a:lnTo>
                    <a:lnTo>
                      <a:pt x="977" y="811"/>
                    </a:lnTo>
                    <a:lnTo>
                      <a:pt x="1047" y="789"/>
                    </a:lnTo>
                    <a:lnTo>
                      <a:pt x="1107" y="767"/>
                    </a:lnTo>
                    <a:lnTo>
                      <a:pt x="1156" y="746"/>
                    </a:lnTo>
                    <a:lnTo>
                      <a:pt x="1199" y="724"/>
                    </a:lnTo>
                    <a:lnTo>
                      <a:pt x="1226" y="702"/>
                    </a:lnTo>
                    <a:lnTo>
                      <a:pt x="1248" y="675"/>
                    </a:lnTo>
                    <a:lnTo>
                      <a:pt x="1259" y="648"/>
                    </a:lnTo>
                    <a:lnTo>
                      <a:pt x="1259" y="615"/>
                    </a:lnTo>
                    <a:lnTo>
                      <a:pt x="1259" y="615"/>
                    </a:lnTo>
                    <a:close/>
                  </a:path>
                </a:pathLst>
              </a:custGeom>
              <a:gradFill rotWithShape="0">
                <a:gsLst>
                  <a:gs pos="0">
                    <a:schemeClr val="bg1"/>
                  </a:gs>
                  <a:gs pos="100000">
                    <a:schemeClr val="bg1">
                      <a:gamma/>
                      <a:shade val="90980"/>
                      <a:invGamma/>
                    </a:schemeClr>
                  </a:gs>
                </a:gsLst>
                <a:lin ang="2700000" scaled="1"/>
              </a:gradFill>
              <a:ln w="9525">
                <a:noFill/>
                <a:round/>
                <a:headEnd/>
                <a:tailEnd/>
              </a:ln>
            </p:spPr>
            <p:txBody>
              <a:bodyPr/>
              <a:lstStyle/>
              <a:p>
                <a:pPr eaLnBrk="0" hangingPunct="0">
                  <a:defRPr/>
                </a:pPr>
                <a:endParaRPr lang="en-US" sz="1800">
                  <a:solidFill>
                    <a:srgbClr val="FFFFFF"/>
                  </a:solidFill>
                  <a:latin typeface="+mn-lt"/>
                  <a:cs typeface="+mn-cs"/>
                </a:endParaRPr>
              </a:p>
            </p:txBody>
          </p:sp>
          <p:sp>
            <p:nvSpPr>
              <p:cNvPr id="10" name="Freeform 8">
                <a:extLst>
                  <a:ext uri="{FF2B5EF4-FFF2-40B4-BE49-F238E27FC236}">
                    <a16:creationId xmlns:a16="http://schemas.microsoft.com/office/drawing/2014/main" id="{294072C5-BDCC-47D6-B84D-6ED88E2C8514}"/>
                  </a:ext>
                </a:extLst>
              </p:cNvPr>
              <p:cNvSpPr>
                <a:spLocks/>
              </p:cNvSpPr>
              <p:nvPr/>
            </p:nvSpPr>
            <p:spPr bwMode="hidden">
              <a:xfrm>
                <a:off x="2900" y="3346"/>
                <a:ext cx="2849" cy="969"/>
              </a:xfrm>
              <a:custGeom>
                <a:avLst/>
                <a:gdLst/>
                <a:ahLst/>
                <a:cxnLst>
                  <a:cxn ang="0">
                    <a:pos x="92" y="958"/>
                  </a:cxn>
                  <a:cxn ang="0">
                    <a:pos x="0" y="969"/>
                  </a:cxn>
                  <a:cxn ang="0">
                    <a:pos x="391" y="969"/>
                  </a:cxn>
                  <a:cxn ang="0">
                    <a:pos x="434" y="947"/>
                  </a:cxn>
                  <a:cxn ang="0">
                    <a:pos x="483" y="914"/>
                  </a:cxn>
                  <a:cxn ang="0">
                    <a:pos x="554" y="876"/>
                  </a:cxn>
                  <a:cxn ang="0">
                    <a:pos x="635" y="838"/>
                  </a:cxn>
                  <a:cxn ang="0">
                    <a:pos x="727" y="794"/>
                  </a:cxn>
                  <a:cxn ang="0">
                    <a:pos x="836" y="745"/>
                  </a:cxn>
                  <a:cxn ang="0">
                    <a:pos x="961" y="696"/>
                  </a:cxn>
                  <a:cxn ang="0">
                    <a:pos x="1102" y="642"/>
                  </a:cxn>
                  <a:cxn ang="0">
                    <a:pos x="1259" y="582"/>
                  </a:cxn>
                  <a:cxn ang="0">
                    <a:pos x="1433" y="522"/>
                  </a:cxn>
                  <a:cxn ang="0">
                    <a:pos x="1623" y="462"/>
                  </a:cxn>
                  <a:cxn ang="0">
                    <a:pos x="1829" y="403"/>
                  </a:cxn>
                  <a:cxn ang="0">
                    <a:pos x="2057" y="343"/>
                  </a:cxn>
                  <a:cxn ang="0">
                    <a:pos x="2301" y="283"/>
                  </a:cxn>
                  <a:cxn ang="0">
                    <a:pos x="2567" y="223"/>
                  </a:cxn>
                  <a:cxn ang="0">
                    <a:pos x="2849" y="163"/>
                  </a:cxn>
                  <a:cxn ang="0">
                    <a:pos x="2849" y="0"/>
                  </a:cxn>
                  <a:cxn ang="0">
                    <a:pos x="2817" y="16"/>
                  </a:cxn>
                  <a:cxn ang="0">
                    <a:pos x="2773" y="33"/>
                  </a:cxn>
                  <a:cxn ang="0">
                    <a:pos x="2719" y="54"/>
                  </a:cxn>
                  <a:cxn ang="0">
                    <a:pos x="2648" y="76"/>
                  </a:cxn>
                  <a:cxn ang="0">
                    <a:pos x="2572" y="98"/>
                  </a:cxn>
                  <a:cxn ang="0">
                    <a:pos x="2491" y="120"/>
                  </a:cxn>
                  <a:cxn ang="0">
                    <a:pos x="2399" y="147"/>
                  </a:cxn>
                  <a:cxn ang="0">
                    <a:pos x="2301" y="169"/>
                  </a:cxn>
                  <a:cxn ang="0">
                    <a:pos x="2095" y="223"/>
                  </a:cxn>
                  <a:cxn ang="0">
                    <a:pos x="1889" y="277"/>
                  </a:cxn>
                  <a:cxn ang="0">
                    <a:pos x="1688" y="326"/>
                  </a:cxn>
                  <a:cxn ang="0">
                    <a:pos x="1590" y="354"/>
                  </a:cxn>
                  <a:cxn ang="0">
                    <a:pos x="1503" y="381"/>
                  </a:cxn>
                  <a:cxn ang="0">
                    <a:pos x="1107" y="506"/>
                  </a:cxn>
                  <a:cxn ang="0">
                    <a:pos x="912" y="577"/>
                  </a:cxn>
                  <a:cxn ang="0">
                    <a:pos x="727" y="647"/>
                  </a:cxn>
                  <a:cxn ang="0">
                    <a:pos x="548" y="718"/>
                  </a:cxn>
                  <a:cxn ang="0">
                    <a:pos x="380" y="794"/>
                  </a:cxn>
                  <a:cxn ang="0">
                    <a:pos x="228" y="876"/>
                  </a:cxn>
                  <a:cxn ang="0">
                    <a:pos x="92" y="958"/>
                  </a:cxn>
                  <a:cxn ang="0">
                    <a:pos x="92" y="958"/>
                  </a:cxn>
                </a:cxnLst>
                <a:rect l="0" t="0" r="r" b="b"/>
                <a:pathLst>
                  <a:path w="2849" h="969">
                    <a:moveTo>
                      <a:pt x="92" y="958"/>
                    </a:moveTo>
                    <a:lnTo>
                      <a:pt x="0" y="969"/>
                    </a:lnTo>
                    <a:lnTo>
                      <a:pt x="391" y="969"/>
                    </a:lnTo>
                    <a:lnTo>
                      <a:pt x="434" y="947"/>
                    </a:lnTo>
                    <a:lnTo>
                      <a:pt x="483" y="914"/>
                    </a:lnTo>
                    <a:lnTo>
                      <a:pt x="554" y="876"/>
                    </a:lnTo>
                    <a:lnTo>
                      <a:pt x="635" y="838"/>
                    </a:lnTo>
                    <a:lnTo>
                      <a:pt x="727" y="794"/>
                    </a:lnTo>
                    <a:lnTo>
                      <a:pt x="836" y="745"/>
                    </a:lnTo>
                    <a:lnTo>
                      <a:pt x="961" y="696"/>
                    </a:lnTo>
                    <a:lnTo>
                      <a:pt x="1102" y="642"/>
                    </a:lnTo>
                    <a:lnTo>
                      <a:pt x="1259" y="582"/>
                    </a:lnTo>
                    <a:lnTo>
                      <a:pt x="1433" y="522"/>
                    </a:lnTo>
                    <a:lnTo>
                      <a:pt x="1623" y="462"/>
                    </a:lnTo>
                    <a:lnTo>
                      <a:pt x="1829" y="403"/>
                    </a:lnTo>
                    <a:lnTo>
                      <a:pt x="2057" y="343"/>
                    </a:lnTo>
                    <a:lnTo>
                      <a:pt x="2301" y="283"/>
                    </a:lnTo>
                    <a:lnTo>
                      <a:pt x="2567" y="223"/>
                    </a:lnTo>
                    <a:lnTo>
                      <a:pt x="2849" y="163"/>
                    </a:lnTo>
                    <a:lnTo>
                      <a:pt x="2849" y="0"/>
                    </a:lnTo>
                    <a:lnTo>
                      <a:pt x="2817" y="16"/>
                    </a:lnTo>
                    <a:lnTo>
                      <a:pt x="2773" y="33"/>
                    </a:lnTo>
                    <a:lnTo>
                      <a:pt x="2719" y="54"/>
                    </a:lnTo>
                    <a:lnTo>
                      <a:pt x="2648" y="76"/>
                    </a:lnTo>
                    <a:lnTo>
                      <a:pt x="2572" y="98"/>
                    </a:lnTo>
                    <a:lnTo>
                      <a:pt x="2491" y="120"/>
                    </a:lnTo>
                    <a:lnTo>
                      <a:pt x="2399" y="147"/>
                    </a:lnTo>
                    <a:lnTo>
                      <a:pt x="2301" y="169"/>
                    </a:lnTo>
                    <a:lnTo>
                      <a:pt x="2095" y="223"/>
                    </a:lnTo>
                    <a:lnTo>
                      <a:pt x="1889" y="277"/>
                    </a:lnTo>
                    <a:lnTo>
                      <a:pt x="1688" y="326"/>
                    </a:lnTo>
                    <a:lnTo>
                      <a:pt x="1590" y="354"/>
                    </a:lnTo>
                    <a:lnTo>
                      <a:pt x="1503" y="381"/>
                    </a:lnTo>
                    <a:lnTo>
                      <a:pt x="1107" y="506"/>
                    </a:lnTo>
                    <a:lnTo>
                      <a:pt x="912" y="577"/>
                    </a:lnTo>
                    <a:lnTo>
                      <a:pt x="727" y="647"/>
                    </a:lnTo>
                    <a:lnTo>
                      <a:pt x="548" y="718"/>
                    </a:lnTo>
                    <a:lnTo>
                      <a:pt x="380" y="794"/>
                    </a:lnTo>
                    <a:lnTo>
                      <a:pt x="228" y="876"/>
                    </a:lnTo>
                    <a:lnTo>
                      <a:pt x="92" y="958"/>
                    </a:lnTo>
                    <a:lnTo>
                      <a:pt x="92" y="958"/>
                    </a:lnTo>
                    <a:close/>
                  </a:path>
                </a:pathLst>
              </a:custGeom>
              <a:gradFill rotWithShape="0">
                <a:gsLst>
                  <a:gs pos="0">
                    <a:schemeClr val="bg1">
                      <a:gamma/>
                      <a:shade val="81961"/>
                      <a:invGamma/>
                    </a:schemeClr>
                  </a:gs>
                  <a:gs pos="100000">
                    <a:schemeClr val="bg1"/>
                  </a:gs>
                </a:gsLst>
                <a:lin ang="5400000" scaled="1"/>
              </a:gradFill>
              <a:ln w="9525">
                <a:noFill/>
                <a:round/>
                <a:headEnd/>
                <a:tailEnd/>
              </a:ln>
            </p:spPr>
            <p:txBody>
              <a:bodyPr/>
              <a:lstStyle/>
              <a:p>
                <a:pPr eaLnBrk="0" hangingPunct="0">
                  <a:defRPr/>
                </a:pPr>
                <a:endParaRPr lang="en-US" sz="1800">
                  <a:solidFill>
                    <a:srgbClr val="FFFFFF"/>
                  </a:solidFill>
                  <a:latin typeface="+mn-lt"/>
                  <a:cs typeface="+mn-cs"/>
                </a:endParaRPr>
              </a:p>
            </p:txBody>
          </p:sp>
          <p:sp>
            <p:nvSpPr>
              <p:cNvPr id="11" name="Freeform 9">
                <a:extLst>
                  <a:ext uri="{FF2B5EF4-FFF2-40B4-BE49-F238E27FC236}">
                    <a16:creationId xmlns:a16="http://schemas.microsoft.com/office/drawing/2014/main" id="{7C3C16FD-34B1-46E2-A729-A251D6125D27}"/>
                  </a:ext>
                </a:extLst>
              </p:cNvPr>
              <p:cNvSpPr>
                <a:spLocks/>
              </p:cNvSpPr>
              <p:nvPr/>
            </p:nvSpPr>
            <p:spPr bwMode="hidden">
              <a:xfrm>
                <a:off x="2748" y="2230"/>
                <a:ext cx="3007" cy="2085"/>
              </a:xfrm>
              <a:custGeom>
                <a:avLst/>
                <a:gdLst>
                  <a:gd name="T0" fmla="*/ 1433 w 3007"/>
                  <a:gd name="T1" fmla="*/ 474 h 2085"/>
                  <a:gd name="T2" fmla="*/ 1460 w 3007"/>
                  <a:gd name="T3" fmla="*/ 528 h 2085"/>
                  <a:gd name="T4" fmla="*/ 1541 w 3007"/>
                  <a:gd name="T5" fmla="*/ 593 h 2085"/>
                  <a:gd name="T6" fmla="*/ 1715 w 3007"/>
                  <a:gd name="T7" fmla="*/ 670 h 2085"/>
                  <a:gd name="T8" fmla="*/ 1927 w 3007"/>
                  <a:gd name="T9" fmla="*/ 735 h 2085"/>
                  <a:gd name="T10" fmla="*/ 2155 w 3007"/>
                  <a:gd name="T11" fmla="*/ 789 h 2085"/>
                  <a:gd name="T12" fmla="*/ 2372 w 3007"/>
                  <a:gd name="T13" fmla="*/ 849 h 2085"/>
                  <a:gd name="T14" fmla="*/ 2551 w 3007"/>
                  <a:gd name="T15" fmla="*/ 920 h 2085"/>
                  <a:gd name="T16" fmla="*/ 2638 w 3007"/>
                  <a:gd name="T17" fmla="*/ 980 h 2085"/>
                  <a:gd name="T18" fmla="*/ 2676 w 3007"/>
                  <a:gd name="T19" fmla="*/ 1029 h 2085"/>
                  <a:gd name="T20" fmla="*/ 2681 w 3007"/>
                  <a:gd name="T21" fmla="*/ 1083 h 2085"/>
                  <a:gd name="T22" fmla="*/ 2665 w 3007"/>
                  <a:gd name="T23" fmla="*/ 1127 h 2085"/>
                  <a:gd name="T24" fmla="*/ 2616 w 3007"/>
                  <a:gd name="T25" fmla="*/ 1170 h 2085"/>
                  <a:gd name="T26" fmla="*/ 2545 w 3007"/>
                  <a:gd name="T27" fmla="*/ 1208 h 2085"/>
                  <a:gd name="T28" fmla="*/ 2448 w 3007"/>
                  <a:gd name="T29" fmla="*/ 1241 h 2085"/>
                  <a:gd name="T30" fmla="*/ 2328 w 3007"/>
                  <a:gd name="T31" fmla="*/ 1274 h 2085"/>
                  <a:gd name="T32" fmla="*/ 2106 w 3007"/>
                  <a:gd name="T33" fmla="*/ 1328 h 2085"/>
                  <a:gd name="T34" fmla="*/ 1742 w 3007"/>
                  <a:gd name="T35" fmla="*/ 1421 h 2085"/>
                  <a:gd name="T36" fmla="*/ 1308 w 3007"/>
                  <a:gd name="T37" fmla="*/ 1540 h 2085"/>
                  <a:gd name="T38" fmla="*/ 820 w 3007"/>
                  <a:gd name="T39" fmla="*/ 1709 h 2085"/>
                  <a:gd name="T40" fmla="*/ 282 w 3007"/>
                  <a:gd name="T41" fmla="*/ 1943 h 2085"/>
                  <a:gd name="T42" fmla="*/ 152 w 3007"/>
                  <a:gd name="T43" fmla="*/ 2085 h 2085"/>
                  <a:gd name="T44" fmla="*/ 386 w 3007"/>
                  <a:gd name="T45" fmla="*/ 1992 h 2085"/>
                  <a:gd name="T46" fmla="*/ 700 w 3007"/>
                  <a:gd name="T47" fmla="*/ 1834 h 2085"/>
                  <a:gd name="T48" fmla="*/ 1064 w 3007"/>
                  <a:gd name="T49" fmla="*/ 1693 h 2085"/>
                  <a:gd name="T50" fmla="*/ 1661 w 3007"/>
                  <a:gd name="T51" fmla="*/ 1497 h 2085"/>
                  <a:gd name="T52" fmla="*/ 1845 w 3007"/>
                  <a:gd name="T53" fmla="*/ 1442 h 2085"/>
                  <a:gd name="T54" fmla="*/ 2252 w 3007"/>
                  <a:gd name="T55" fmla="*/ 1339 h 2085"/>
                  <a:gd name="T56" fmla="*/ 2551 w 3007"/>
                  <a:gd name="T57" fmla="*/ 1263 h 2085"/>
                  <a:gd name="T58" fmla="*/ 2730 w 3007"/>
                  <a:gd name="T59" fmla="*/ 1214 h 2085"/>
                  <a:gd name="T60" fmla="*/ 2876 w 3007"/>
                  <a:gd name="T61" fmla="*/ 1170 h 2085"/>
                  <a:gd name="T62" fmla="*/ 2974 w 3007"/>
                  <a:gd name="T63" fmla="*/ 1132 h 2085"/>
                  <a:gd name="T64" fmla="*/ 3007 w 3007"/>
                  <a:gd name="T65" fmla="*/ 871 h 2085"/>
                  <a:gd name="T66" fmla="*/ 2860 w 3007"/>
                  <a:gd name="T67" fmla="*/ 844 h 2085"/>
                  <a:gd name="T68" fmla="*/ 2670 w 3007"/>
                  <a:gd name="T69" fmla="*/ 806 h 2085"/>
                  <a:gd name="T70" fmla="*/ 2458 w 3007"/>
                  <a:gd name="T71" fmla="*/ 757 h 2085"/>
                  <a:gd name="T72" fmla="*/ 2138 w 3007"/>
                  <a:gd name="T73" fmla="*/ 670 h 2085"/>
                  <a:gd name="T74" fmla="*/ 1959 w 3007"/>
                  <a:gd name="T75" fmla="*/ 604 h 2085"/>
                  <a:gd name="T76" fmla="*/ 1824 w 3007"/>
                  <a:gd name="T77" fmla="*/ 534 h 2085"/>
                  <a:gd name="T78" fmla="*/ 1769 w 3007"/>
                  <a:gd name="T79" fmla="*/ 474 h 2085"/>
                  <a:gd name="T80" fmla="*/ 1753 w 3007"/>
                  <a:gd name="T81" fmla="*/ 436 h 2085"/>
                  <a:gd name="T82" fmla="*/ 1780 w 3007"/>
                  <a:gd name="T83" fmla="*/ 381 h 2085"/>
                  <a:gd name="T84" fmla="*/ 1862 w 3007"/>
                  <a:gd name="T85" fmla="*/ 316 h 2085"/>
                  <a:gd name="T86" fmla="*/ 1986 w 3007"/>
                  <a:gd name="T87" fmla="*/ 267 h 2085"/>
                  <a:gd name="T88" fmla="*/ 2149 w 3007"/>
                  <a:gd name="T89" fmla="*/ 229 h 2085"/>
                  <a:gd name="T90" fmla="*/ 2431 w 3007"/>
                  <a:gd name="T91" fmla="*/ 180 h 2085"/>
                  <a:gd name="T92" fmla="*/ 2827 w 3007"/>
                  <a:gd name="T93" fmla="*/ 125 h 2085"/>
                  <a:gd name="T94" fmla="*/ 3007 w 3007"/>
                  <a:gd name="T95" fmla="*/ 87 h 2085"/>
                  <a:gd name="T96" fmla="*/ 2909 w 3007"/>
                  <a:gd name="T97" fmla="*/ 22 h 2085"/>
                  <a:gd name="T98" fmla="*/ 2676 w 3007"/>
                  <a:gd name="T99" fmla="*/ 66 h 2085"/>
                  <a:gd name="T100" fmla="*/ 2285 w 3007"/>
                  <a:gd name="T101" fmla="*/ 120 h 2085"/>
                  <a:gd name="T102" fmla="*/ 2030 w 3007"/>
                  <a:gd name="T103" fmla="*/ 158 h 2085"/>
                  <a:gd name="T104" fmla="*/ 1791 w 3007"/>
                  <a:gd name="T105" fmla="*/ 202 h 2085"/>
                  <a:gd name="T106" fmla="*/ 1601 w 3007"/>
                  <a:gd name="T107" fmla="*/ 261 h 2085"/>
                  <a:gd name="T108" fmla="*/ 1471 w 3007"/>
                  <a:gd name="T109" fmla="*/ 338 h 2085"/>
                  <a:gd name="T110" fmla="*/ 1438 w 3007"/>
                  <a:gd name="T111" fmla="*/ 387 h 2085"/>
                  <a:gd name="T112" fmla="*/ 1427 w 3007"/>
                  <a:gd name="T113" fmla="*/ 441 h 2085"/>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3007" h="2085">
                    <a:moveTo>
                      <a:pt x="1427" y="441"/>
                    </a:moveTo>
                    <a:lnTo>
                      <a:pt x="1433" y="474"/>
                    </a:lnTo>
                    <a:lnTo>
                      <a:pt x="1444" y="501"/>
                    </a:lnTo>
                    <a:lnTo>
                      <a:pt x="1460" y="528"/>
                    </a:lnTo>
                    <a:lnTo>
                      <a:pt x="1482" y="550"/>
                    </a:lnTo>
                    <a:lnTo>
                      <a:pt x="1541" y="593"/>
                    </a:lnTo>
                    <a:lnTo>
                      <a:pt x="1623" y="637"/>
                    </a:lnTo>
                    <a:lnTo>
                      <a:pt x="1715" y="670"/>
                    </a:lnTo>
                    <a:lnTo>
                      <a:pt x="1818" y="702"/>
                    </a:lnTo>
                    <a:lnTo>
                      <a:pt x="1927" y="735"/>
                    </a:lnTo>
                    <a:lnTo>
                      <a:pt x="2041" y="762"/>
                    </a:lnTo>
                    <a:lnTo>
                      <a:pt x="2155" y="789"/>
                    </a:lnTo>
                    <a:lnTo>
                      <a:pt x="2269" y="822"/>
                    </a:lnTo>
                    <a:lnTo>
                      <a:pt x="2372" y="849"/>
                    </a:lnTo>
                    <a:lnTo>
                      <a:pt x="2464" y="882"/>
                    </a:lnTo>
                    <a:lnTo>
                      <a:pt x="2551" y="920"/>
                    </a:lnTo>
                    <a:lnTo>
                      <a:pt x="2616" y="958"/>
                    </a:lnTo>
                    <a:lnTo>
                      <a:pt x="2638" y="980"/>
                    </a:lnTo>
                    <a:lnTo>
                      <a:pt x="2659" y="1007"/>
                    </a:lnTo>
                    <a:lnTo>
                      <a:pt x="2676" y="1029"/>
                    </a:lnTo>
                    <a:lnTo>
                      <a:pt x="2681" y="1056"/>
                    </a:lnTo>
                    <a:lnTo>
                      <a:pt x="2681" y="1083"/>
                    </a:lnTo>
                    <a:lnTo>
                      <a:pt x="2676" y="1105"/>
                    </a:lnTo>
                    <a:lnTo>
                      <a:pt x="2665" y="1127"/>
                    </a:lnTo>
                    <a:lnTo>
                      <a:pt x="2643" y="1149"/>
                    </a:lnTo>
                    <a:lnTo>
                      <a:pt x="2616" y="1170"/>
                    </a:lnTo>
                    <a:lnTo>
                      <a:pt x="2583" y="1187"/>
                    </a:lnTo>
                    <a:lnTo>
                      <a:pt x="2545" y="1208"/>
                    </a:lnTo>
                    <a:lnTo>
                      <a:pt x="2502" y="1225"/>
                    </a:lnTo>
                    <a:lnTo>
                      <a:pt x="2448" y="1241"/>
                    </a:lnTo>
                    <a:lnTo>
                      <a:pt x="2388" y="1257"/>
                    </a:lnTo>
                    <a:lnTo>
                      <a:pt x="2328" y="1274"/>
                    </a:lnTo>
                    <a:lnTo>
                      <a:pt x="2258" y="1290"/>
                    </a:lnTo>
                    <a:lnTo>
                      <a:pt x="2106" y="1328"/>
                    </a:lnTo>
                    <a:lnTo>
                      <a:pt x="1932" y="1372"/>
                    </a:lnTo>
                    <a:lnTo>
                      <a:pt x="1742" y="1421"/>
                    </a:lnTo>
                    <a:lnTo>
                      <a:pt x="1531" y="1475"/>
                    </a:lnTo>
                    <a:lnTo>
                      <a:pt x="1308" y="1540"/>
                    </a:lnTo>
                    <a:lnTo>
                      <a:pt x="1069" y="1617"/>
                    </a:lnTo>
                    <a:lnTo>
                      <a:pt x="820" y="1709"/>
                    </a:lnTo>
                    <a:lnTo>
                      <a:pt x="554" y="1818"/>
                    </a:lnTo>
                    <a:lnTo>
                      <a:pt x="282" y="1943"/>
                    </a:lnTo>
                    <a:lnTo>
                      <a:pt x="0" y="2085"/>
                    </a:lnTo>
                    <a:lnTo>
                      <a:pt x="152" y="2085"/>
                    </a:lnTo>
                    <a:lnTo>
                      <a:pt x="244" y="2074"/>
                    </a:lnTo>
                    <a:lnTo>
                      <a:pt x="386" y="1992"/>
                    </a:lnTo>
                    <a:lnTo>
                      <a:pt x="537" y="1910"/>
                    </a:lnTo>
                    <a:lnTo>
                      <a:pt x="700" y="1834"/>
                    </a:lnTo>
                    <a:lnTo>
                      <a:pt x="879" y="1763"/>
                    </a:lnTo>
                    <a:lnTo>
                      <a:pt x="1064" y="1693"/>
                    </a:lnTo>
                    <a:lnTo>
                      <a:pt x="1259" y="1622"/>
                    </a:lnTo>
                    <a:lnTo>
                      <a:pt x="1661" y="1497"/>
                    </a:lnTo>
                    <a:lnTo>
                      <a:pt x="1748" y="1470"/>
                    </a:lnTo>
                    <a:lnTo>
                      <a:pt x="1845" y="1442"/>
                    </a:lnTo>
                    <a:lnTo>
                      <a:pt x="2046" y="1393"/>
                    </a:lnTo>
                    <a:lnTo>
                      <a:pt x="2252" y="1339"/>
                    </a:lnTo>
                    <a:lnTo>
                      <a:pt x="2458" y="1285"/>
                    </a:lnTo>
                    <a:lnTo>
                      <a:pt x="2551" y="1263"/>
                    </a:lnTo>
                    <a:lnTo>
                      <a:pt x="2643" y="1236"/>
                    </a:lnTo>
                    <a:lnTo>
                      <a:pt x="2730" y="1214"/>
                    </a:lnTo>
                    <a:lnTo>
                      <a:pt x="2806" y="1192"/>
                    </a:lnTo>
                    <a:lnTo>
                      <a:pt x="2876" y="1170"/>
                    </a:lnTo>
                    <a:lnTo>
                      <a:pt x="2931" y="1149"/>
                    </a:lnTo>
                    <a:lnTo>
                      <a:pt x="2974" y="1132"/>
                    </a:lnTo>
                    <a:lnTo>
                      <a:pt x="3007" y="1116"/>
                    </a:lnTo>
                    <a:lnTo>
                      <a:pt x="3007" y="871"/>
                    </a:lnTo>
                    <a:lnTo>
                      <a:pt x="2941" y="860"/>
                    </a:lnTo>
                    <a:lnTo>
                      <a:pt x="2860" y="844"/>
                    </a:lnTo>
                    <a:lnTo>
                      <a:pt x="2773" y="827"/>
                    </a:lnTo>
                    <a:lnTo>
                      <a:pt x="2670" y="806"/>
                    </a:lnTo>
                    <a:lnTo>
                      <a:pt x="2567" y="784"/>
                    </a:lnTo>
                    <a:lnTo>
                      <a:pt x="2458" y="757"/>
                    </a:lnTo>
                    <a:lnTo>
                      <a:pt x="2241" y="702"/>
                    </a:lnTo>
                    <a:lnTo>
                      <a:pt x="2138" y="670"/>
                    </a:lnTo>
                    <a:lnTo>
                      <a:pt x="2046" y="637"/>
                    </a:lnTo>
                    <a:lnTo>
                      <a:pt x="1959" y="604"/>
                    </a:lnTo>
                    <a:lnTo>
                      <a:pt x="1883" y="566"/>
                    </a:lnTo>
                    <a:lnTo>
                      <a:pt x="1824" y="534"/>
                    </a:lnTo>
                    <a:lnTo>
                      <a:pt x="1780" y="495"/>
                    </a:lnTo>
                    <a:lnTo>
                      <a:pt x="1769" y="474"/>
                    </a:lnTo>
                    <a:lnTo>
                      <a:pt x="1758" y="457"/>
                    </a:lnTo>
                    <a:lnTo>
                      <a:pt x="1753" y="436"/>
                    </a:lnTo>
                    <a:lnTo>
                      <a:pt x="1758" y="419"/>
                    </a:lnTo>
                    <a:lnTo>
                      <a:pt x="1780" y="381"/>
                    </a:lnTo>
                    <a:lnTo>
                      <a:pt x="1813" y="343"/>
                    </a:lnTo>
                    <a:lnTo>
                      <a:pt x="1862" y="316"/>
                    </a:lnTo>
                    <a:lnTo>
                      <a:pt x="1921" y="289"/>
                    </a:lnTo>
                    <a:lnTo>
                      <a:pt x="1986" y="267"/>
                    </a:lnTo>
                    <a:lnTo>
                      <a:pt x="2062" y="245"/>
                    </a:lnTo>
                    <a:lnTo>
                      <a:pt x="2149" y="229"/>
                    </a:lnTo>
                    <a:lnTo>
                      <a:pt x="2236" y="213"/>
                    </a:lnTo>
                    <a:lnTo>
                      <a:pt x="2431" y="180"/>
                    </a:lnTo>
                    <a:lnTo>
                      <a:pt x="2627" y="158"/>
                    </a:lnTo>
                    <a:lnTo>
                      <a:pt x="2827" y="125"/>
                    </a:lnTo>
                    <a:lnTo>
                      <a:pt x="2920" y="109"/>
                    </a:lnTo>
                    <a:lnTo>
                      <a:pt x="3007" y="87"/>
                    </a:lnTo>
                    <a:lnTo>
                      <a:pt x="3007" y="0"/>
                    </a:lnTo>
                    <a:lnTo>
                      <a:pt x="2909" y="22"/>
                    </a:lnTo>
                    <a:lnTo>
                      <a:pt x="2795" y="44"/>
                    </a:lnTo>
                    <a:lnTo>
                      <a:pt x="2676" y="66"/>
                    </a:lnTo>
                    <a:lnTo>
                      <a:pt x="2551" y="82"/>
                    </a:lnTo>
                    <a:lnTo>
                      <a:pt x="2285" y="120"/>
                    </a:lnTo>
                    <a:lnTo>
                      <a:pt x="2155" y="136"/>
                    </a:lnTo>
                    <a:lnTo>
                      <a:pt x="2030" y="158"/>
                    </a:lnTo>
                    <a:lnTo>
                      <a:pt x="1905" y="174"/>
                    </a:lnTo>
                    <a:lnTo>
                      <a:pt x="1791" y="202"/>
                    </a:lnTo>
                    <a:lnTo>
                      <a:pt x="1688" y="229"/>
                    </a:lnTo>
                    <a:lnTo>
                      <a:pt x="1601" y="261"/>
                    </a:lnTo>
                    <a:lnTo>
                      <a:pt x="1525" y="300"/>
                    </a:lnTo>
                    <a:lnTo>
                      <a:pt x="1471" y="338"/>
                    </a:lnTo>
                    <a:lnTo>
                      <a:pt x="1455" y="359"/>
                    </a:lnTo>
                    <a:lnTo>
                      <a:pt x="1438" y="387"/>
                    </a:lnTo>
                    <a:lnTo>
                      <a:pt x="1427" y="414"/>
                    </a:lnTo>
                    <a:lnTo>
                      <a:pt x="1427" y="44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800"/>
              </a:p>
            </p:txBody>
          </p:sp>
          <p:sp>
            <p:nvSpPr>
              <p:cNvPr id="12" name="Freeform 10">
                <a:extLst>
                  <a:ext uri="{FF2B5EF4-FFF2-40B4-BE49-F238E27FC236}">
                    <a16:creationId xmlns:a16="http://schemas.microsoft.com/office/drawing/2014/main" id="{EE1454AB-10CF-4C59-AC95-EC30B3CFB90A}"/>
                  </a:ext>
                </a:extLst>
              </p:cNvPr>
              <p:cNvSpPr>
                <a:spLocks/>
              </p:cNvSpPr>
              <p:nvPr/>
            </p:nvSpPr>
            <p:spPr bwMode="hidden">
              <a:xfrm>
                <a:off x="4501" y="2317"/>
                <a:ext cx="1248" cy="539"/>
              </a:xfrm>
              <a:custGeom>
                <a:avLst/>
                <a:gdLst/>
                <a:ahLst/>
                <a:cxnLst>
                  <a:cxn ang="0">
                    <a:pos x="0" y="332"/>
                  </a:cxn>
                  <a:cxn ang="0">
                    <a:pos x="0" y="360"/>
                  </a:cxn>
                  <a:cxn ang="0">
                    <a:pos x="5" y="387"/>
                  </a:cxn>
                  <a:cxn ang="0">
                    <a:pos x="27" y="414"/>
                  </a:cxn>
                  <a:cxn ang="0">
                    <a:pos x="54" y="436"/>
                  </a:cxn>
                  <a:cxn ang="0">
                    <a:pos x="92" y="463"/>
                  </a:cxn>
                  <a:cxn ang="0">
                    <a:pos x="141" y="490"/>
                  </a:cxn>
                  <a:cxn ang="0">
                    <a:pos x="195" y="512"/>
                  </a:cxn>
                  <a:cxn ang="0">
                    <a:pos x="255" y="539"/>
                  </a:cxn>
                  <a:cxn ang="0">
                    <a:pos x="212" y="517"/>
                  </a:cxn>
                  <a:cxn ang="0">
                    <a:pos x="179" y="490"/>
                  </a:cxn>
                  <a:cxn ang="0">
                    <a:pos x="157" y="468"/>
                  </a:cxn>
                  <a:cxn ang="0">
                    <a:pos x="141" y="447"/>
                  </a:cxn>
                  <a:cxn ang="0">
                    <a:pos x="136" y="425"/>
                  </a:cxn>
                  <a:cxn ang="0">
                    <a:pos x="136" y="403"/>
                  </a:cxn>
                  <a:cxn ang="0">
                    <a:pos x="141" y="381"/>
                  </a:cxn>
                  <a:cxn ang="0">
                    <a:pos x="157" y="365"/>
                  </a:cxn>
                  <a:cxn ang="0">
                    <a:pos x="179" y="343"/>
                  </a:cxn>
                  <a:cxn ang="0">
                    <a:pos x="201" y="327"/>
                  </a:cxn>
                  <a:cxn ang="0">
                    <a:pos x="266" y="294"/>
                  </a:cxn>
                  <a:cxn ang="0">
                    <a:pos x="353" y="262"/>
                  </a:cxn>
                  <a:cxn ang="0">
                    <a:pos x="445" y="234"/>
                  </a:cxn>
                  <a:cxn ang="0">
                    <a:pos x="554" y="213"/>
                  </a:cxn>
                  <a:cxn ang="0">
                    <a:pos x="662" y="191"/>
                  </a:cxn>
                  <a:cxn ang="0">
                    <a:pos x="890" y="153"/>
                  </a:cxn>
                  <a:cxn ang="0">
                    <a:pos x="993" y="136"/>
                  </a:cxn>
                  <a:cxn ang="0">
                    <a:pos x="1091" y="120"/>
                  </a:cxn>
                  <a:cxn ang="0">
                    <a:pos x="1178" y="115"/>
                  </a:cxn>
                  <a:cxn ang="0">
                    <a:pos x="1248" y="104"/>
                  </a:cxn>
                  <a:cxn ang="0">
                    <a:pos x="1248" y="0"/>
                  </a:cxn>
                  <a:cxn ang="0">
                    <a:pos x="1161" y="22"/>
                  </a:cxn>
                  <a:cxn ang="0">
                    <a:pos x="1069" y="38"/>
                  </a:cxn>
                  <a:cxn ang="0">
                    <a:pos x="874" y="71"/>
                  </a:cxn>
                  <a:cxn ang="0">
                    <a:pos x="673" y="93"/>
                  </a:cxn>
                  <a:cxn ang="0">
                    <a:pos x="483" y="126"/>
                  </a:cxn>
                  <a:cxn ang="0">
                    <a:pos x="391" y="142"/>
                  </a:cxn>
                  <a:cxn ang="0">
                    <a:pos x="309" y="158"/>
                  </a:cxn>
                  <a:cxn ang="0">
                    <a:pos x="228" y="180"/>
                  </a:cxn>
                  <a:cxn ang="0">
                    <a:pos x="163" y="202"/>
                  </a:cxn>
                  <a:cxn ang="0">
                    <a:pos x="103" y="229"/>
                  </a:cxn>
                  <a:cxn ang="0">
                    <a:pos x="54" y="256"/>
                  </a:cxn>
                  <a:cxn ang="0">
                    <a:pos x="22" y="294"/>
                  </a:cxn>
                  <a:cxn ang="0">
                    <a:pos x="0" y="332"/>
                  </a:cxn>
                  <a:cxn ang="0">
                    <a:pos x="0" y="332"/>
                  </a:cxn>
                </a:cxnLst>
                <a:rect l="0" t="0" r="r" b="b"/>
                <a:pathLst>
                  <a:path w="1248" h="539">
                    <a:moveTo>
                      <a:pt x="0" y="332"/>
                    </a:moveTo>
                    <a:lnTo>
                      <a:pt x="0" y="360"/>
                    </a:lnTo>
                    <a:lnTo>
                      <a:pt x="5" y="387"/>
                    </a:lnTo>
                    <a:lnTo>
                      <a:pt x="27" y="414"/>
                    </a:lnTo>
                    <a:lnTo>
                      <a:pt x="54" y="436"/>
                    </a:lnTo>
                    <a:lnTo>
                      <a:pt x="92" y="463"/>
                    </a:lnTo>
                    <a:lnTo>
                      <a:pt x="141" y="490"/>
                    </a:lnTo>
                    <a:lnTo>
                      <a:pt x="195" y="512"/>
                    </a:lnTo>
                    <a:lnTo>
                      <a:pt x="255" y="539"/>
                    </a:lnTo>
                    <a:lnTo>
                      <a:pt x="212" y="517"/>
                    </a:lnTo>
                    <a:lnTo>
                      <a:pt x="179" y="490"/>
                    </a:lnTo>
                    <a:lnTo>
                      <a:pt x="157" y="468"/>
                    </a:lnTo>
                    <a:lnTo>
                      <a:pt x="141" y="447"/>
                    </a:lnTo>
                    <a:lnTo>
                      <a:pt x="136" y="425"/>
                    </a:lnTo>
                    <a:lnTo>
                      <a:pt x="136" y="403"/>
                    </a:lnTo>
                    <a:lnTo>
                      <a:pt x="141" y="381"/>
                    </a:lnTo>
                    <a:lnTo>
                      <a:pt x="157" y="365"/>
                    </a:lnTo>
                    <a:lnTo>
                      <a:pt x="179" y="343"/>
                    </a:lnTo>
                    <a:lnTo>
                      <a:pt x="201" y="327"/>
                    </a:lnTo>
                    <a:lnTo>
                      <a:pt x="266" y="294"/>
                    </a:lnTo>
                    <a:lnTo>
                      <a:pt x="353" y="262"/>
                    </a:lnTo>
                    <a:lnTo>
                      <a:pt x="445" y="234"/>
                    </a:lnTo>
                    <a:lnTo>
                      <a:pt x="554" y="213"/>
                    </a:lnTo>
                    <a:lnTo>
                      <a:pt x="662" y="191"/>
                    </a:lnTo>
                    <a:lnTo>
                      <a:pt x="890" y="153"/>
                    </a:lnTo>
                    <a:lnTo>
                      <a:pt x="993" y="136"/>
                    </a:lnTo>
                    <a:lnTo>
                      <a:pt x="1091" y="120"/>
                    </a:lnTo>
                    <a:lnTo>
                      <a:pt x="1178" y="115"/>
                    </a:lnTo>
                    <a:lnTo>
                      <a:pt x="1248" y="104"/>
                    </a:lnTo>
                    <a:lnTo>
                      <a:pt x="1248" y="0"/>
                    </a:lnTo>
                    <a:lnTo>
                      <a:pt x="1161" y="22"/>
                    </a:lnTo>
                    <a:lnTo>
                      <a:pt x="1069" y="38"/>
                    </a:lnTo>
                    <a:lnTo>
                      <a:pt x="874" y="71"/>
                    </a:lnTo>
                    <a:lnTo>
                      <a:pt x="673" y="93"/>
                    </a:lnTo>
                    <a:lnTo>
                      <a:pt x="483" y="126"/>
                    </a:lnTo>
                    <a:lnTo>
                      <a:pt x="391" y="142"/>
                    </a:lnTo>
                    <a:lnTo>
                      <a:pt x="309" y="158"/>
                    </a:lnTo>
                    <a:lnTo>
                      <a:pt x="228" y="180"/>
                    </a:lnTo>
                    <a:lnTo>
                      <a:pt x="163" y="202"/>
                    </a:lnTo>
                    <a:lnTo>
                      <a:pt x="103" y="229"/>
                    </a:lnTo>
                    <a:lnTo>
                      <a:pt x="54" y="256"/>
                    </a:lnTo>
                    <a:lnTo>
                      <a:pt x="22" y="294"/>
                    </a:lnTo>
                    <a:lnTo>
                      <a:pt x="0" y="332"/>
                    </a:lnTo>
                    <a:lnTo>
                      <a:pt x="0" y="332"/>
                    </a:lnTo>
                    <a:close/>
                  </a:path>
                </a:pathLst>
              </a:custGeom>
              <a:gradFill rotWithShape="0">
                <a:gsLst>
                  <a:gs pos="0">
                    <a:schemeClr val="bg1">
                      <a:gamma/>
                      <a:shade val="87843"/>
                      <a:invGamma/>
                    </a:schemeClr>
                  </a:gs>
                  <a:gs pos="100000">
                    <a:schemeClr val="bg1"/>
                  </a:gs>
                </a:gsLst>
                <a:lin ang="2700000" scaled="1"/>
              </a:gradFill>
              <a:ln w="9525">
                <a:noFill/>
                <a:round/>
                <a:headEnd/>
                <a:tailEnd/>
              </a:ln>
            </p:spPr>
            <p:txBody>
              <a:bodyPr/>
              <a:lstStyle/>
              <a:p>
                <a:pPr eaLnBrk="0" hangingPunct="0">
                  <a:defRPr/>
                </a:pPr>
                <a:endParaRPr lang="en-US" sz="1800">
                  <a:solidFill>
                    <a:srgbClr val="FFFFFF"/>
                  </a:solidFill>
                  <a:latin typeface="+mn-lt"/>
                  <a:cs typeface="+mn-cs"/>
                </a:endParaRPr>
              </a:p>
            </p:txBody>
          </p:sp>
        </p:grpSp>
        <p:sp>
          <p:nvSpPr>
            <p:cNvPr id="6" name="Freeform 11">
              <a:extLst>
                <a:ext uri="{FF2B5EF4-FFF2-40B4-BE49-F238E27FC236}">
                  <a16:creationId xmlns:a16="http://schemas.microsoft.com/office/drawing/2014/main" id="{D1013A4E-B237-45C5-98C0-EBF2EA103054}"/>
                </a:ext>
              </a:extLst>
            </p:cNvPr>
            <p:cNvSpPr>
              <a:spLocks/>
            </p:cNvSpPr>
            <p:nvPr/>
          </p:nvSpPr>
          <p:spPr bwMode="hidden">
            <a:xfrm>
              <a:off x="3322" y="1341"/>
              <a:ext cx="1825" cy="1537"/>
            </a:xfrm>
            <a:custGeom>
              <a:avLst/>
              <a:gdLst/>
              <a:ahLst/>
              <a:cxnLst>
                <a:cxn ang="0">
                  <a:pos x="982" y="1061"/>
                </a:cxn>
                <a:cxn ang="0">
                  <a:pos x="1357" y="1012"/>
                </a:cxn>
                <a:cxn ang="0">
                  <a:pos x="1666" y="957"/>
                </a:cxn>
                <a:cxn ang="0">
                  <a:pos x="1916" y="897"/>
                </a:cxn>
                <a:cxn ang="0">
                  <a:pos x="2100" y="832"/>
                </a:cxn>
                <a:cxn ang="0">
                  <a:pos x="2220" y="756"/>
                </a:cxn>
                <a:cxn ang="0">
                  <a:pos x="2285" y="669"/>
                </a:cxn>
                <a:cxn ang="0">
                  <a:pos x="2290" y="560"/>
                </a:cxn>
                <a:cxn ang="0">
                  <a:pos x="2241" y="457"/>
                </a:cxn>
                <a:cxn ang="0">
                  <a:pos x="2144" y="364"/>
                </a:cxn>
                <a:cxn ang="0">
                  <a:pos x="2008" y="277"/>
                </a:cxn>
                <a:cxn ang="0">
                  <a:pos x="1769" y="157"/>
                </a:cxn>
                <a:cxn ang="0">
                  <a:pos x="1612" y="92"/>
                </a:cxn>
                <a:cxn ang="0">
                  <a:pos x="1476" y="43"/>
                </a:cxn>
                <a:cxn ang="0">
                  <a:pos x="1384" y="10"/>
                </a:cxn>
                <a:cxn ang="0">
                  <a:pos x="1346" y="0"/>
                </a:cxn>
                <a:cxn ang="0">
                  <a:pos x="1655" y="119"/>
                </a:cxn>
                <a:cxn ang="0">
                  <a:pos x="1948" y="255"/>
                </a:cxn>
                <a:cxn ang="0">
                  <a:pos x="2068" y="326"/>
                </a:cxn>
                <a:cxn ang="0">
                  <a:pos x="2171" y="402"/>
                </a:cxn>
                <a:cxn ang="0">
                  <a:pos x="2236" y="478"/>
                </a:cxn>
                <a:cxn ang="0">
                  <a:pos x="2263" y="560"/>
                </a:cxn>
                <a:cxn ang="0">
                  <a:pos x="2241" y="636"/>
                </a:cxn>
                <a:cxn ang="0">
                  <a:pos x="2171" y="702"/>
                </a:cxn>
                <a:cxn ang="0">
                  <a:pos x="2062" y="756"/>
                </a:cxn>
                <a:cxn ang="0">
                  <a:pos x="1921" y="800"/>
                </a:cxn>
                <a:cxn ang="0">
                  <a:pos x="1748" y="843"/>
                </a:cxn>
                <a:cxn ang="0">
                  <a:pos x="1351" y="908"/>
                </a:cxn>
                <a:cxn ang="0">
                  <a:pos x="923" y="968"/>
                </a:cxn>
                <a:cxn ang="0">
                  <a:pos x="521" y="1028"/>
                </a:cxn>
                <a:cxn ang="0">
                  <a:pos x="353" y="1066"/>
                </a:cxn>
                <a:cxn ang="0">
                  <a:pos x="206" y="1104"/>
                </a:cxn>
                <a:cxn ang="0">
                  <a:pos x="92" y="1148"/>
                </a:cxn>
                <a:cxn ang="0">
                  <a:pos x="22" y="1202"/>
                </a:cxn>
                <a:cxn ang="0">
                  <a:pos x="0" y="1262"/>
                </a:cxn>
                <a:cxn ang="0">
                  <a:pos x="27" y="1327"/>
                </a:cxn>
                <a:cxn ang="0">
                  <a:pos x="98" y="1382"/>
                </a:cxn>
                <a:cxn ang="0">
                  <a:pos x="196" y="1425"/>
                </a:cxn>
                <a:cxn ang="0">
                  <a:pos x="326" y="1469"/>
                </a:cxn>
                <a:cxn ang="0">
                  <a:pos x="217" y="1414"/>
                </a:cxn>
                <a:cxn ang="0">
                  <a:pos x="147" y="1360"/>
                </a:cxn>
                <a:cxn ang="0">
                  <a:pos x="120" y="1306"/>
                </a:cxn>
                <a:cxn ang="0">
                  <a:pos x="141" y="1257"/>
                </a:cxn>
                <a:cxn ang="0">
                  <a:pos x="212" y="1208"/>
                </a:cxn>
                <a:cxn ang="0">
                  <a:pos x="342" y="1164"/>
                </a:cxn>
                <a:cxn ang="0">
                  <a:pos x="527" y="1121"/>
                </a:cxn>
                <a:cxn ang="0">
                  <a:pos x="771" y="1088"/>
                </a:cxn>
              </a:cxnLst>
              <a:rect l="0" t="0" r="r" b="b"/>
              <a:pathLst>
                <a:path w="2296" h="1469">
                  <a:moveTo>
                    <a:pt x="771" y="1088"/>
                  </a:moveTo>
                  <a:lnTo>
                    <a:pt x="982" y="1061"/>
                  </a:lnTo>
                  <a:lnTo>
                    <a:pt x="1178" y="1034"/>
                  </a:lnTo>
                  <a:lnTo>
                    <a:pt x="1357" y="1012"/>
                  </a:lnTo>
                  <a:lnTo>
                    <a:pt x="1520" y="985"/>
                  </a:lnTo>
                  <a:lnTo>
                    <a:pt x="1666" y="957"/>
                  </a:lnTo>
                  <a:lnTo>
                    <a:pt x="1796" y="930"/>
                  </a:lnTo>
                  <a:lnTo>
                    <a:pt x="1916" y="897"/>
                  </a:lnTo>
                  <a:lnTo>
                    <a:pt x="2013" y="870"/>
                  </a:lnTo>
                  <a:lnTo>
                    <a:pt x="2100" y="832"/>
                  </a:lnTo>
                  <a:lnTo>
                    <a:pt x="2171" y="800"/>
                  </a:lnTo>
                  <a:lnTo>
                    <a:pt x="2220" y="756"/>
                  </a:lnTo>
                  <a:lnTo>
                    <a:pt x="2263" y="712"/>
                  </a:lnTo>
                  <a:lnTo>
                    <a:pt x="2285" y="669"/>
                  </a:lnTo>
                  <a:lnTo>
                    <a:pt x="2296" y="614"/>
                  </a:lnTo>
                  <a:lnTo>
                    <a:pt x="2290" y="560"/>
                  </a:lnTo>
                  <a:lnTo>
                    <a:pt x="2269" y="500"/>
                  </a:lnTo>
                  <a:lnTo>
                    <a:pt x="2241" y="457"/>
                  </a:lnTo>
                  <a:lnTo>
                    <a:pt x="2198" y="408"/>
                  </a:lnTo>
                  <a:lnTo>
                    <a:pt x="2144" y="364"/>
                  </a:lnTo>
                  <a:lnTo>
                    <a:pt x="2079" y="321"/>
                  </a:lnTo>
                  <a:lnTo>
                    <a:pt x="2008" y="277"/>
                  </a:lnTo>
                  <a:lnTo>
                    <a:pt x="1927" y="234"/>
                  </a:lnTo>
                  <a:lnTo>
                    <a:pt x="1769" y="157"/>
                  </a:lnTo>
                  <a:lnTo>
                    <a:pt x="1688" y="125"/>
                  </a:lnTo>
                  <a:lnTo>
                    <a:pt x="1612" y="92"/>
                  </a:lnTo>
                  <a:lnTo>
                    <a:pt x="1536" y="65"/>
                  </a:lnTo>
                  <a:lnTo>
                    <a:pt x="1476" y="43"/>
                  </a:lnTo>
                  <a:lnTo>
                    <a:pt x="1422" y="27"/>
                  </a:lnTo>
                  <a:lnTo>
                    <a:pt x="1384" y="10"/>
                  </a:lnTo>
                  <a:lnTo>
                    <a:pt x="1357" y="5"/>
                  </a:lnTo>
                  <a:lnTo>
                    <a:pt x="1346" y="0"/>
                  </a:lnTo>
                  <a:lnTo>
                    <a:pt x="1498" y="54"/>
                  </a:lnTo>
                  <a:lnTo>
                    <a:pt x="1655" y="119"/>
                  </a:lnTo>
                  <a:lnTo>
                    <a:pt x="1807" y="185"/>
                  </a:lnTo>
                  <a:lnTo>
                    <a:pt x="1948" y="255"/>
                  </a:lnTo>
                  <a:lnTo>
                    <a:pt x="2013" y="288"/>
                  </a:lnTo>
                  <a:lnTo>
                    <a:pt x="2068" y="326"/>
                  </a:lnTo>
                  <a:lnTo>
                    <a:pt x="2122" y="364"/>
                  </a:lnTo>
                  <a:lnTo>
                    <a:pt x="2171" y="402"/>
                  </a:lnTo>
                  <a:lnTo>
                    <a:pt x="2209" y="440"/>
                  </a:lnTo>
                  <a:lnTo>
                    <a:pt x="2236" y="478"/>
                  </a:lnTo>
                  <a:lnTo>
                    <a:pt x="2252" y="522"/>
                  </a:lnTo>
                  <a:lnTo>
                    <a:pt x="2263" y="560"/>
                  </a:lnTo>
                  <a:lnTo>
                    <a:pt x="2258" y="598"/>
                  </a:lnTo>
                  <a:lnTo>
                    <a:pt x="2241" y="636"/>
                  </a:lnTo>
                  <a:lnTo>
                    <a:pt x="2214" y="669"/>
                  </a:lnTo>
                  <a:lnTo>
                    <a:pt x="2171" y="702"/>
                  </a:lnTo>
                  <a:lnTo>
                    <a:pt x="2122" y="729"/>
                  </a:lnTo>
                  <a:lnTo>
                    <a:pt x="2062" y="756"/>
                  </a:lnTo>
                  <a:lnTo>
                    <a:pt x="1997" y="778"/>
                  </a:lnTo>
                  <a:lnTo>
                    <a:pt x="1921" y="800"/>
                  </a:lnTo>
                  <a:lnTo>
                    <a:pt x="1834" y="821"/>
                  </a:lnTo>
                  <a:lnTo>
                    <a:pt x="1748" y="843"/>
                  </a:lnTo>
                  <a:lnTo>
                    <a:pt x="1552" y="876"/>
                  </a:lnTo>
                  <a:lnTo>
                    <a:pt x="1351" y="908"/>
                  </a:lnTo>
                  <a:lnTo>
                    <a:pt x="1134" y="941"/>
                  </a:lnTo>
                  <a:lnTo>
                    <a:pt x="923" y="968"/>
                  </a:lnTo>
                  <a:lnTo>
                    <a:pt x="716" y="995"/>
                  </a:lnTo>
                  <a:lnTo>
                    <a:pt x="521" y="1028"/>
                  </a:lnTo>
                  <a:lnTo>
                    <a:pt x="434" y="1044"/>
                  </a:lnTo>
                  <a:lnTo>
                    <a:pt x="353" y="1066"/>
                  </a:lnTo>
                  <a:lnTo>
                    <a:pt x="277" y="1082"/>
                  </a:lnTo>
                  <a:lnTo>
                    <a:pt x="206" y="1104"/>
                  </a:lnTo>
                  <a:lnTo>
                    <a:pt x="147" y="1126"/>
                  </a:lnTo>
                  <a:lnTo>
                    <a:pt x="92" y="1148"/>
                  </a:lnTo>
                  <a:lnTo>
                    <a:pt x="54" y="1175"/>
                  </a:lnTo>
                  <a:lnTo>
                    <a:pt x="22" y="1202"/>
                  </a:lnTo>
                  <a:lnTo>
                    <a:pt x="6" y="1229"/>
                  </a:lnTo>
                  <a:lnTo>
                    <a:pt x="0" y="1262"/>
                  </a:lnTo>
                  <a:lnTo>
                    <a:pt x="11" y="1295"/>
                  </a:lnTo>
                  <a:lnTo>
                    <a:pt x="27" y="1327"/>
                  </a:lnTo>
                  <a:lnTo>
                    <a:pt x="54" y="1355"/>
                  </a:lnTo>
                  <a:lnTo>
                    <a:pt x="98" y="1382"/>
                  </a:lnTo>
                  <a:lnTo>
                    <a:pt x="141" y="1404"/>
                  </a:lnTo>
                  <a:lnTo>
                    <a:pt x="196" y="1425"/>
                  </a:lnTo>
                  <a:lnTo>
                    <a:pt x="261" y="1447"/>
                  </a:lnTo>
                  <a:lnTo>
                    <a:pt x="326" y="1469"/>
                  </a:lnTo>
                  <a:lnTo>
                    <a:pt x="266" y="1442"/>
                  </a:lnTo>
                  <a:lnTo>
                    <a:pt x="217" y="1414"/>
                  </a:lnTo>
                  <a:lnTo>
                    <a:pt x="174" y="1387"/>
                  </a:lnTo>
                  <a:lnTo>
                    <a:pt x="147" y="1360"/>
                  </a:lnTo>
                  <a:lnTo>
                    <a:pt x="125" y="1333"/>
                  </a:lnTo>
                  <a:lnTo>
                    <a:pt x="120" y="1306"/>
                  </a:lnTo>
                  <a:lnTo>
                    <a:pt x="125" y="1278"/>
                  </a:lnTo>
                  <a:lnTo>
                    <a:pt x="141" y="1257"/>
                  </a:lnTo>
                  <a:lnTo>
                    <a:pt x="174" y="1229"/>
                  </a:lnTo>
                  <a:lnTo>
                    <a:pt x="212" y="1208"/>
                  </a:lnTo>
                  <a:lnTo>
                    <a:pt x="272" y="1186"/>
                  </a:lnTo>
                  <a:lnTo>
                    <a:pt x="342" y="1164"/>
                  </a:lnTo>
                  <a:lnTo>
                    <a:pt x="423" y="1142"/>
                  </a:lnTo>
                  <a:lnTo>
                    <a:pt x="527" y="1121"/>
                  </a:lnTo>
                  <a:lnTo>
                    <a:pt x="641" y="1104"/>
                  </a:lnTo>
                  <a:lnTo>
                    <a:pt x="771" y="1088"/>
                  </a:lnTo>
                  <a:lnTo>
                    <a:pt x="771" y="1088"/>
                  </a:lnTo>
                  <a:close/>
                </a:path>
              </a:pathLst>
            </a:custGeom>
            <a:gradFill rotWithShape="0">
              <a:gsLst>
                <a:gs pos="0">
                  <a:schemeClr val="bg1">
                    <a:gamma/>
                    <a:shade val="84706"/>
                    <a:invGamma/>
                  </a:schemeClr>
                </a:gs>
                <a:gs pos="100000">
                  <a:schemeClr val="bg1"/>
                </a:gs>
              </a:gsLst>
              <a:lin ang="2700000" scaled="1"/>
            </a:gradFill>
            <a:ln w="9525">
              <a:noFill/>
              <a:round/>
              <a:headEnd/>
              <a:tailEnd/>
            </a:ln>
          </p:spPr>
          <p:txBody>
            <a:bodyPr/>
            <a:lstStyle/>
            <a:p>
              <a:pPr eaLnBrk="0" hangingPunct="0">
                <a:defRPr/>
              </a:pPr>
              <a:endParaRPr lang="en-US" sz="1800">
                <a:solidFill>
                  <a:srgbClr val="FFFFFF"/>
                </a:solidFill>
                <a:latin typeface="+mn-lt"/>
                <a:cs typeface="+mn-cs"/>
              </a:endParaRPr>
            </a:p>
          </p:txBody>
        </p:sp>
        <p:sp>
          <p:nvSpPr>
            <p:cNvPr id="7" name="Freeform 12">
              <a:extLst>
                <a:ext uri="{FF2B5EF4-FFF2-40B4-BE49-F238E27FC236}">
                  <a16:creationId xmlns:a16="http://schemas.microsoft.com/office/drawing/2014/main" id="{62E08E8F-A57A-4D62-ABB4-775A99ECE5BD}"/>
                </a:ext>
              </a:extLst>
            </p:cNvPr>
            <p:cNvSpPr>
              <a:spLocks/>
            </p:cNvSpPr>
            <p:nvPr/>
          </p:nvSpPr>
          <p:spPr bwMode="hidden">
            <a:xfrm>
              <a:off x="0" y="0"/>
              <a:ext cx="5758" cy="1776"/>
            </a:xfrm>
            <a:custGeom>
              <a:avLst/>
              <a:gdLst>
                <a:gd name="T0" fmla="*/ 0 w 5740"/>
                <a:gd name="T1" fmla="*/ 0 h 1906"/>
                <a:gd name="T2" fmla="*/ 0 w 5740"/>
                <a:gd name="T3" fmla="*/ 1776 h 1906"/>
                <a:gd name="T4" fmla="*/ 5758 w 5740"/>
                <a:gd name="T5" fmla="*/ 1776 h 1906"/>
                <a:gd name="T6" fmla="*/ 5758 w 5740"/>
                <a:gd name="T7" fmla="*/ 0 h 1906"/>
                <a:gd name="T8" fmla="*/ 0 w 5740"/>
                <a:gd name="T9" fmla="*/ 0 h 1906"/>
                <a:gd name="T10" fmla="*/ 0 w 5740"/>
                <a:gd name="T11" fmla="*/ 0 h 190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5740" h="1906">
                  <a:moveTo>
                    <a:pt x="0" y="0"/>
                  </a:moveTo>
                  <a:lnTo>
                    <a:pt x="0" y="1906"/>
                  </a:lnTo>
                  <a:lnTo>
                    <a:pt x="5740" y="1906"/>
                  </a:lnTo>
                  <a:lnTo>
                    <a:pt x="5740" y="0"/>
                  </a:lnTo>
                  <a:lnTo>
                    <a:pt x="0" y="0"/>
                  </a:lnTo>
                  <a:close/>
                </a:path>
              </a:pathLst>
            </a:custGeom>
            <a:gradFill rotWithShape="0">
              <a:gsLst>
                <a:gs pos="0">
                  <a:schemeClr val="bg2"/>
                </a:gs>
                <a:gs pos="100000">
                  <a:schemeClr val="bg1"/>
                </a:gs>
              </a:gsLst>
              <a:lin ang="54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800"/>
            </a:p>
          </p:txBody>
        </p:sp>
      </p:grpSp>
      <p:sp>
        <p:nvSpPr>
          <p:cNvPr id="13" name="Text Box 16">
            <a:extLst>
              <a:ext uri="{FF2B5EF4-FFF2-40B4-BE49-F238E27FC236}">
                <a16:creationId xmlns:a16="http://schemas.microsoft.com/office/drawing/2014/main" id="{217039C5-011E-43FE-929D-0CE735F69183}"/>
              </a:ext>
            </a:extLst>
          </p:cNvPr>
          <p:cNvSpPr txBox="1">
            <a:spLocks noChangeArrowheads="1"/>
          </p:cNvSpPr>
          <p:nvPr/>
        </p:nvSpPr>
        <p:spPr bwMode="auto">
          <a:xfrm>
            <a:off x="11074400" y="304801"/>
            <a:ext cx="711200"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pPr eaLnBrk="0" hangingPunct="0">
              <a:spcBef>
                <a:spcPct val="50000"/>
              </a:spcBef>
              <a:defRPr/>
            </a:pPr>
            <a:endParaRPr lang="en-US" altLang="en-US" sz="1800">
              <a:solidFill>
                <a:srgbClr val="FFFFFF"/>
              </a:solidFill>
              <a:latin typeface="Garamond" pitchFamily="18" charset="0"/>
            </a:endParaRPr>
          </a:p>
        </p:txBody>
      </p:sp>
      <p:sp>
        <p:nvSpPr>
          <p:cNvPr id="14" name="Text Box 17">
            <a:extLst>
              <a:ext uri="{FF2B5EF4-FFF2-40B4-BE49-F238E27FC236}">
                <a16:creationId xmlns:a16="http://schemas.microsoft.com/office/drawing/2014/main" id="{89133C55-519D-4A56-BED5-F1E968DC100C}"/>
              </a:ext>
            </a:extLst>
          </p:cNvPr>
          <p:cNvSpPr txBox="1">
            <a:spLocks noChangeArrowheads="1"/>
          </p:cNvSpPr>
          <p:nvPr/>
        </p:nvSpPr>
        <p:spPr bwMode="auto">
          <a:xfrm>
            <a:off x="11582400" y="228601"/>
            <a:ext cx="609600"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Calibri" panose="020F0502020204030204" pitchFamily="34" charset="0"/>
                <a:cs typeface="Arial" panose="020B0604020202020204" pitchFamily="34" charset="0"/>
              </a:defRPr>
            </a:lvl1pPr>
            <a:lvl2pPr marL="742950" indent="-285750" eaLnBrk="0" hangingPunct="0">
              <a:defRPr>
                <a:solidFill>
                  <a:schemeClr val="tx1"/>
                </a:solidFill>
                <a:latin typeface="Calibri" panose="020F0502020204030204" pitchFamily="34" charset="0"/>
                <a:cs typeface="Arial" panose="020B0604020202020204" pitchFamily="34" charset="0"/>
              </a:defRPr>
            </a:lvl2pPr>
            <a:lvl3pPr marL="1143000" indent="-228600" eaLnBrk="0" hangingPunct="0">
              <a:defRPr>
                <a:solidFill>
                  <a:schemeClr val="tx1"/>
                </a:solidFill>
                <a:latin typeface="Calibri" panose="020F0502020204030204" pitchFamily="34" charset="0"/>
                <a:cs typeface="Arial" panose="020B0604020202020204" pitchFamily="34" charset="0"/>
              </a:defRPr>
            </a:lvl3pPr>
            <a:lvl4pPr marL="1600200" indent="-228600" eaLnBrk="0" hangingPunct="0">
              <a:defRPr>
                <a:solidFill>
                  <a:schemeClr val="tx1"/>
                </a:solidFill>
                <a:latin typeface="Calibri" panose="020F0502020204030204" pitchFamily="34" charset="0"/>
                <a:cs typeface="Arial" panose="020B0604020202020204" pitchFamily="34" charset="0"/>
              </a:defRPr>
            </a:lvl4pPr>
            <a:lvl5pPr marL="2057400" indent="-228600" eaLnBrk="0" hangingPunct="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spcBef>
                <a:spcPct val="50000"/>
              </a:spcBef>
            </a:pPr>
            <a:fld id="{6F2F7BE3-3624-4BFB-A2FF-316BCF250481}" type="slidenum">
              <a:rPr lang="en-US" altLang="en-US" sz="1800">
                <a:solidFill>
                  <a:srgbClr val="FFFFFF"/>
                </a:solidFill>
                <a:latin typeface="Garamond" panose="02020404030301010803" pitchFamily="18" charset="0"/>
              </a:rPr>
              <a:pPr>
                <a:spcBef>
                  <a:spcPct val="50000"/>
                </a:spcBef>
              </a:pPr>
              <a:t>‹#›</a:t>
            </a:fld>
            <a:endParaRPr lang="en-US" altLang="en-US" sz="1800">
              <a:solidFill>
                <a:srgbClr val="FFFFFF"/>
              </a:solidFill>
              <a:latin typeface="Garamond" panose="02020404030301010803" pitchFamily="18" charset="0"/>
            </a:endParaRPr>
          </a:p>
        </p:txBody>
      </p:sp>
      <p:graphicFrame>
        <p:nvGraphicFramePr>
          <p:cNvPr id="15" name="Object 18">
            <a:extLst>
              <a:ext uri="{FF2B5EF4-FFF2-40B4-BE49-F238E27FC236}">
                <a16:creationId xmlns:a16="http://schemas.microsoft.com/office/drawing/2014/main" id="{3174F964-637C-46A0-B5B9-EBD20DEBBBFE}"/>
              </a:ext>
            </a:extLst>
          </p:cNvPr>
          <p:cNvGraphicFramePr>
            <a:graphicFrameLocks noChangeAspect="1"/>
          </p:cNvGraphicFramePr>
          <p:nvPr/>
        </p:nvGraphicFramePr>
        <p:xfrm>
          <a:off x="9652000" y="5918200"/>
          <a:ext cx="2540000" cy="939800"/>
        </p:xfrm>
        <a:graphic>
          <a:graphicData uri="http://schemas.openxmlformats.org/presentationml/2006/ole">
            <mc:AlternateContent xmlns:mc="http://schemas.openxmlformats.org/markup-compatibility/2006">
              <mc:Choice xmlns:v="urn:schemas-microsoft-com:vml" Requires="v">
                <p:oleObj spid="_x0000_s14339" name="Bitmap Image" r:id="rId3" imgW="2142857" imgH="1057423" progId="Paint.Picture">
                  <p:embed/>
                </p:oleObj>
              </mc:Choice>
              <mc:Fallback>
                <p:oleObj name="Bitmap Image" r:id="rId3" imgW="2142857" imgH="1057423" progId="Paint.Picture">
                  <p:embed/>
                  <p:pic>
                    <p:nvPicPr>
                      <p:cNvPr id="15" name="Object 18">
                        <a:extLst>
                          <a:ext uri="{FF2B5EF4-FFF2-40B4-BE49-F238E27FC236}">
                            <a16:creationId xmlns:a16="http://schemas.microsoft.com/office/drawing/2014/main" id="{3174F964-637C-46A0-B5B9-EBD20DEBBBF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652000" y="5918200"/>
                        <a:ext cx="2540000" cy="939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2" name="Vertical Title 1"/>
          <p:cNvSpPr>
            <a:spLocks noGrp="1"/>
          </p:cNvSpPr>
          <p:nvPr>
            <p:ph type="title" orient="vert"/>
          </p:nvPr>
        </p:nvSpPr>
        <p:spPr>
          <a:xfrm>
            <a:off x="8839200" y="274639"/>
            <a:ext cx="27432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9600" y="274639"/>
            <a:ext cx="80264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Rectangle 2">
            <a:extLst>
              <a:ext uri="{FF2B5EF4-FFF2-40B4-BE49-F238E27FC236}">
                <a16:creationId xmlns:a16="http://schemas.microsoft.com/office/drawing/2014/main" id="{F35EFF2F-9DB5-4028-AB00-DCE147A3169C}"/>
              </a:ext>
            </a:extLst>
          </p:cNvPr>
          <p:cNvSpPr>
            <a:spLocks noGrp="1" noChangeArrowheads="1"/>
          </p:cNvSpPr>
          <p:nvPr>
            <p:ph type="dt" sz="half" idx="10"/>
          </p:nvPr>
        </p:nvSpPr>
        <p:spPr/>
        <p:txBody>
          <a:bodyPr/>
          <a:lstStyle>
            <a:lvl1pPr fontAlgn="auto">
              <a:spcBef>
                <a:spcPts val="0"/>
              </a:spcBef>
              <a:spcAft>
                <a:spcPts val="0"/>
              </a:spcAft>
              <a:defRPr/>
            </a:lvl1pPr>
          </a:lstStyle>
          <a:p>
            <a:pPr>
              <a:defRPr/>
            </a:pPr>
            <a:endParaRPr lang="en-US"/>
          </a:p>
        </p:txBody>
      </p:sp>
      <p:sp>
        <p:nvSpPr>
          <p:cNvPr id="17" name="Rectangle 3">
            <a:extLst>
              <a:ext uri="{FF2B5EF4-FFF2-40B4-BE49-F238E27FC236}">
                <a16:creationId xmlns:a16="http://schemas.microsoft.com/office/drawing/2014/main" id="{3D25E335-F36B-4AA7-ADD4-B8727C99E342}"/>
              </a:ext>
            </a:extLst>
          </p:cNvPr>
          <p:cNvSpPr>
            <a:spLocks noGrp="1" noChangeArrowheads="1"/>
          </p:cNvSpPr>
          <p:nvPr>
            <p:ph type="sldNum" sz="quarter" idx="11"/>
          </p:nvPr>
        </p:nvSpPr>
        <p:spPr/>
        <p:txBody>
          <a:bodyPr/>
          <a:lstStyle>
            <a:lvl1pPr>
              <a:defRPr/>
            </a:lvl1pPr>
          </a:lstStyle>
          <a:p>
            <a:fld id="{1C6952F1-D791-4646-8B13-01ABF892D47D}" type="slidenum">
              <a:rPr lang="en-US" altLang="en-US"/>
              <a:pPr/>
              <a:t>‹#›</a:t>
            </a:fld>
            <a:endParaRPr lang="en-US" altLang="en-US"/>
          </a:p>
        </p:txBody>
      </p:sp>
      <p:sp>
        <p:nvSpPr>
          <p:cNvPr id="18" name="Rectangle 14">
            <a:extLst>
              <a:ext uri="{FF2B5EF4-FFF2-40B4-BE49-F238E27FC236}">
                <a16:creationId xmlns:a16="http://schemas.microsoft.com/office/drawing/2014/main" id="{DB83FCB2-304F-4D89-B0DD-2914DE00F521}"/>
              </a:ext>
            </a:extLst>
          </p:cNvPr>
          <p:cNvSpPr>
            <a:spLocks noGrp="1" noChangeArrowheads="1"/>
          </p:cNvSpPr>
          <p:nvPr>
            <p:ph type="ftr" sz="quarter" idx="12"/>
          </p:nvPr>
        </p:nvSpPr>
        <p:spPr/>
        <p:txBody>
          <a:bodyPr/>
          <a:lstStyle>
            <a:lvl1pPr fontAlgn="auto">
              <a:spcBef>
                <a:spcPts val="0"/>
              </a:spcBef>
              <a:spcAft>
                <a:spcPts val="0"/>
              </a:spcAft>
              <a:defRPr/>
            </a:lvl1pPr>
          </a:lstStyle>
          <a:p>
            <a:pPr>
              <a:defRPr/>
            </a:pPr>
            <a:endParaRPr lang="en-US"/>
          </a:p>
        </p:txBody>
      </p:sp>
    </p:spTree>
    <p:extLst>
      <p:ext uri="{BB962C8B-B14F-4D97-AF65-F5344CB8AC3E}">
        <p14:creationId xmlns:p14="http://schemas.microsoft.com/office/powerpoint/2010/main" val="1713702789"/>
      </p:ext>
    </p:extLst>
  </p:cSld>
  <p:clrMapOvr>
    <a:masterClrMapping/>
  </p:clrMapOvr>
  <p:transition>
    <p:random/>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type="chart" preserve="1">
  <p:cSld name="Title and Chart">
    <p:spTree>
      <p:nvGrpSpPr>
        <p:cNvPr id="1" name=""/>
        <p:cNvGrpSpPr/>
        <p:nvPr/>
      </p:nvGrpSpPr>
      <p:grpSpPr>
        <a:xfrm>
          <a:off x="0" y="0"/>
          <a:ext cx="0" cy="0"/>
          <a:chOff x="0" y="0"/>
          <a:chExt cx="0" cy="0"/>
        </a:xfrm>
      </p:grpSpPr>
      <p:grpSp>
        <p:nvGrpSpPr>
          <p:cNvPr id="4" name="Group 4">
            <a:extLst>
              <a:ext uri="{FF2B5EF4-FFF2-40B4-BE49-F238E27FC236}">
                <a16:creationId xmlns:a16="http://schemas.microsoft.com/office/drawing/2014/main" id="{ED7A15CD-7AF9-42B4-AAFE-898F39B96097}"/>
              </a:ext>
            </a:extLst>
          </p:cNvPr>
          <p:cNvGrpSpPr>
            <a:grpSpLocks/>
          </p:cNvGrpSpPr>
          <p:nvPr/>
        </p:nvGrpSpPr>
        <p:grpSpPr bwMode="auto">
          <a:xfrm>
            <a:off x="1" y="1"/>
            <a:ext cx="12187767" cy="6850063"/>
            <a:chOff x="0" y="0"/>
            <a:chExt cx="5758" cy="4315"/>
          </a:xfrm>
        </p:grpSpPr>
        <p:grpSp>
          <p:nvGrpSpPr>
            <p:cNvPr id="5" name="Group 5">
              <a:extLst>
                <a:ext uri="{FF2B5EF4-FFF2-40B4-BE49-F238E27FC236}">
                  <a16:creationId xmlns:a16="http://schemas.microsoft.com/office/drawing/2014/main" id="{104DD0D2-A016-4F40-B861-A63762AAD340}"/>
                </a:ext>
              </a:extLst>
            </p:cNvPr>
            <p:cNvGrpSpPr>
              <a:grpSpLocks/>
            </p:cNvGrpSpPr>
            <p:nvPr userDrawn="1"/>
          </p:nvGrpSpPr>
          <p:grpSpPr bwMode="auto">
            <a:xfrm>
              <a:off x="1728" y="2230"/>
              <a:ext cx="4027" cy="2085"/>
              <a:chOff x="1728" y="2230"/>
              <a:chExt cx="4027" cy="2085"/>
            </a:xfrm>
          </p:grpSpPr>
          <p:sp>
            <p:nvSpPr>
              <p:cNvPr id="8" name="Freeform 6">
                <a:extLst>
                  <a:ext uri="{FF2B5EF4-FFF2-40B4-BE49-F238E27FC236}">
                    <a16:creationId xmlns:a16="http://schemas.microsoft.com/office/drawing/2014/main" id="{29270F5F-3E73-4C52-B2E8-E04CD6BB4AA1}"/>
                  </a:ext>
                </a:extLst>
              </p:cNvPr>
              <p:cNvSpPr>
                <a:spLocks/>
              </p:cNvSpPr>
              <p:nvPr/>
            </p:nvSpPr>
            <p:spPr bwMode="hidden">
              <a:xfrm>
                <a:off x="1728" y="2644"/>
                <a:ext cx="2882" cy="1671"/>
              </a:xfrm>
              <a:custGeom>
                <a:avLst/>
                <a:gdLst/>
                <a:ahLst/>
                <a:cxnLst>
                  <a:cxn ang="0">
                    <a:pos x="2740" y="528"/>
                  </a:cxn>
                  <a:cxn ang="0">
                    <a:pos x="2632" y="484"/>
                  </a:cxn>
                  <a:cxn ang="0">
                    <a:pos x="2480" y="424"/>
                  </a:cxn>
                  <a:cxn ang="0">
                    <a:pos x="2203" y="343"/>
                  </a:cxn>
                  <a:cxn ang="0">
                    <a:pos x="1970" y="277"/>
                  </a:cxn>
                  <a:cxn ang="0">
                    <a:pos x="1807" y="212"/>
                  </a:cxn>
                  <a:cxn ang="0">
                    <a:pos x="1693" y="152"/>
                  </a:cxn>
                  <a:cxn ang="0">
                    <a:pos x="1628" y="103"/>
                  </a:cxn>
                  <a:cxn ang="0">
                    <a:pos x="1590" y="60"/>
                  </a:cxn>
                  <a:cxn ang="0">
                    <a:pos x="1579" y="27"/>
                  </a:cxn>
                  <a:cxn ang="0">
                    <a:pos x="1585" y="0"/>
                  </a:cxn>
                  <a:cxn ang="0">
                    <a:pos x="1557" y="49"/>
                  </a:cxn>
                  <a:cxn ang="0">
                    <a:pos x="1568" y="98"/>
                  </a:cxn>
                  <a:cxn ang="0">
                    <a:pos x="1617" y="141"/>
                  </a:cxn>
                  <a:cxn ang="0">
                    <a:pos x="1688" y="185"/>
                  </a:cxn>
                  <a:cxn ang="0">
                    <a:pos x="1791" y="228"/>
                  </a:cxn>
                  <a:cxn ang="0">
                    <a:pos x="2040" y="310"/>
                  </a:cxn>
                  <a:cxn ang="0">
                    <a:pos x="2285" y="381"/>
                  </a:cxn>
                  <a:cxn ang="0">
                    <a:pos x="2464" y="435"/>
                  </a:cxn>
                  <a:cxn ang="0">
                    <a:pos x="2605" y="484"/>
                  </a:cxn>
                  <a:cxn ang="0">
                    <a:pos x="2708" y="528"/>
                  </a:cxn>
                  <a:cxn ang="0">
                    <a:pos x="2768" y="560"/>
                  </a:cxn>
                  <a:cxn ang="0">
                    <a:pos x="2795" y="593"/>
                  </a:cxn>
                  <a:cxn ang="0">
                    <a:pos x="2795" y="642"/>
                  </a:cxn>
                  <a:cxn ang="0">
                    <a:pos x="2762" y="691"/>
                  </a:cxn>
                  <a:cxn ang="0">
                    <a:pos x="2692" y="735"/>
                  </a:cxn>
                  <a:cxn ang="0">
                    <a:pos x="2589" y="778"/>
                  </a:cxn>
                  <a:cxn ang="0">
                    <a:pos x="2458" y="822"/>
                  </a:cxn>
                  <a:cxn ang="0">
                    <a:pos x="2301" y="865"/>
                  </a:cxn>
                  <a:cxn ang="0">
                    <a:pos x="2030" y="930"/>
                  </a:cxn>
                  <a:cxn ang="0">
                    <a:pos x="1606" y="1034"/>
                  </a:cxn>
                  <a:cxn ang="0">
                    <a:pos x="1145" y="1164"/>
                  </a:cxn>
                  <a:cxn ang="0">
                    <a:pos x="673" y="1328"/>
                  </a:cxn>
                  <a:cxn ang="0">
                    <a:pos x="217" y="1545"/>
                  </a:cxn>
                  <a:cxn ang="0">
                    <a:pos x="353" y="1671"/>
                  </a:cxn>
                  <a:cxn ang="0">
                    <a:pos x="754" y="1469"/>
                  </a:cxn>
                  <a:cxn ang="0">
                    <a:pos x="1145" y="1311"/>
                  </a:cxn>
                  <a:cxn ang="0">
                    <a:pos x="1519" y="1186"/>
                  </a:cxn>
                  <a:cxn ang="0">
                    <a:pos x="1861" y="1083"/>
                  </a:cxn>
                  <a:cxn ang="0">
                    <a:pos x="2165" y="1007"/>
                  </a:cxn>
                  <a:cxn ang="0">
                    <a:pos x="2426" y="947"/>
                  </a:cxn>
                  <a:cxn ang="0">
                    <a:pos x="2626" y="892"/>
                  </a:cxn>
                  <a:cxn ang="0">
                    <a:pos x="2762" y="838"/>
                  </a:cxn>
                  <a:cxn ang="0">
                    <a:pos x="2827" y="794"/>
                  </a:cxn>
                  <a:cxn ang="0">
                    <a:pos x="2865" y="745"/>
                  </a:cxn>
                  <a:cxn ang="0">
                    <a:pos x="2882" y="702"/>
                  </a:cxn>
                  <a:cxn ang="0">
                    <a:pos x="2854" y="620"/>
                  </a:cxn>
                  <a:cxn ang="0">
                    <a:pos x="2800" y="560"/>
                  </a:cxn>
                  <a:cxn ang="0">
                    <a:pos x="2773" y="544"/>
                  </a:cxn>
                </a:cxnLst>
                <a:rect l="0" t="0" r="r" b="b"/>
                <a:pathLst>
                  <a:path w="2882" h="1671">
                    <a:moveTo>
                      <a:pt x="2773" y="544"/>
                    </a:moveTo>
                    <a:lnTo>
                      <a:pt x="2740" y="528"/>
                    </a:lnTo>
                    <a:lnTo>
                      <a:pt x="2692" y="506"/>
                    </a:lnTo>
                    <a:lnTo>
                      <a:pt x="2632" y="484"/>
                    </a:lnTo>
                    <a:lnTo>
                      <a:pt x="2561" y="457"/>
                    </a:lnTo>
                    <a:lnTo>
                      <a:pt x="2480" y="424"/>
                    </a:lnTo>
                    <a:lnTo>
                      <a:pt x="2388" y="397"/>
                    </a:lnTo>
                    <a:lnTo>
                      <a:pt x="2203" y="343"/>
                    </a:lnTo>
                    <a:lnTo>
                      <a:pt x="2078" y="310"/>
                    </a:lnTo>
                    <a:lnTo>
                      <a:pt x="1970" y="277"/>
                    </a:lnTo>
                    <a:lnTo>
                      <a:pt x="1878" y="245"/>
                    </a:lnTo>
                    <a:lnTo>
                      <a:pt x="1807" y="212"/>
                    </a:lnTo>
                    <a:lnTo>
                      <a:pt x="1742" y="179"/>
                    </a:lnTo>
                    <a:lnTo>
                      <a:pt x="1693" y="152"/>
                    </a:lnTo>
                    <a:lnTo>
                      <a:pt x="1655" y="125"/>
                    </a:lnTo>
                    <a:lnTo>
                      <a:pt x="1628" y="103"/>
                    </a:lnTo>
                    <a:lnTo>
                      <a:pt x="1606" y="81"/>
                    </a:lnTo>
                    <a:lnTo>
                      <a:pt x="1590" y="60"/>
                    </a:lnTo>
                    <a:lnTo>
                      <a:pt x="1585" y="43"/>
                    </a:lnTo>
                    <a:lnTo>
                      <a:pt x="1579" y="27"/>
                    </a:lnTo>
                    <a:lnTo>
                      <a:pt x="1585" y="5"/>
                    </a:lnTo>
                    <a:lnTo>
                      <a:pt x="1585" y="0"/>
                    </a:lnTo>
                    <a:lnTo>
                      <a:pt x="1568" y="27"/>
                    </a:lnTo>
                    <a:lnTo>
                      <a:pt x="1557" y="49"/>
                    </a:lnTo>
                    <a:lnTo>
                      <a:pt x="1557" y="76"/>
                    </a:lnTo>
                    <a:lnTo>
                      <a:pt x="1568" y="98"/>
                    </a:lnTo>
                    <a:lnTo>
                      <a:pt x="1590" y="120"/>
                    </a:lnTo>
                    <a:lnTo>
                      <a:pt x="1617" y="141"/>
                    </a:lnTo>
                    <a:lnTo>
                      <a:pt x="1650" y="163"/>
                    </a:lnTo>
                    <a:lnTo>
                      <a:pt x="1688" y="185"/>
                    </a:lnTo>
                    <a:lnTo>
                      <a:pt x="1737" y="207"/>
                    </a:lnTo>
                    <a:lnTo>
                      <a:pt x="1791" y="228"/>
                    </a:lnTo>
                    <a:lnTo>
                      <a:pt x="1905" y="267"/>
                    </a:lnTo>
                    <a:lnTo>
                      <a:pt x="2040" y="310"/>
                    </a:lnTo>
                    <a:lnTo>
                      <a:pt x="2182" y="348"/>
                    </a:lnTo>
                    <a:lnTo>
                      <a:pt x="2285" y="381"/>
                    </a:lnTo>
                    <a:lnTo>
                      <a:pt x="2382" y="408"/>
                    </a:lnTo>
                    <a:lnTo>
                      <a:pt x="2464" y="435"/>
                    </a:lnTo>
                    <a:lnTo>
                      <a:pt x="2540" y="462"/>
                    </a:lnTo>
                    <a:lnTo>
                      <a:pt x="2605" y="484"/>
                    </a:lnTo>
                    <a:lnTo>
                      <a:pt x="2659" y="506"/>
                    </a:lnTo>
                    <a:lnTo>
                      <a:pt x="2708" y="528"/>
                    </a:lnTo>
                    <a:lnTo>
                      <a:pt x="2740" y="544"/>
                    </a:lnTo>
                    <a:lnTo>
                      <a:pt x="2768" y="560"/>
                    </a:lnTo>
                    <a:lnTo>
                      <a:pt x="2784" y="577"/>
                    </a:lnTo>
                    <a:lnTo>
                      <a:pt x="2795" y="593"/>
                    </a:lnTo>
                    <a:lnTo>
                      <a:pt x="2800" y="615"/>
                    </a:lnTo>
                    <a:lnTo>
                      <a:pt x="2795" y="642"/>
                    </a:lnTo>
                    <a:lnTo>
                      <a:pt x="2784" y="664"/>
                    </a:lnTo>
                    <a:lnTo>
                      <a:pt x="2762" y="691"/>
                    </a:lnTo>
                    <a:lnTo>
                      <a:pt x="2730" y="713"/>
                    </a:lnTo>
                    <a:lnTo>
                      <a:pt x="2692" y="735"/>
                    </a:lnTo>
                    <a:lnTo>
                      <a:pt x="2643" y="756"/>
                    </a:lnTo>
                    <a:lnTo>
                      <a:pt x="2589" y="778"/>
                    </a:lnTo>
                    <a:lnTo>
                      <a:pt x="2529" y="800"/>
                    </a:lnTo>
                    <a:lnTo>
                      <a:pt x="2458" y="822"/>
                    </a:lnTo>
                    <a:lnTo>
                      <a:pt x="2382" y="843"/>
                    </a:lnTo>
                    <a:lnTo>
                      <a:pt x="2301" y="865"/>
                    </a:lnTo>
                    <a:lnTo>
                      <a:pt x="2214" y="887"/>
                    </a:lnTo>
                    <a:lnTo>
                      <a:pt x="2030" y="930"/>
                    </a:lnTo>
                    <a:lnTo>
                      <a:pt x="1823" y="979"/>
                    </a:lnTo>
                    <a:lnTo>
                      <a:pt x="1606" y="1034"/>
                    </a:lnTo>
                    <a:lnTo>
                      <a:pt x="1378" y="1094"/>
                    </a:lnTo>
                    <a:lnTo>
                      <a:pt x="1145" y="1164"/>
                    </a:lnTo>
                    <a:lnTo>
                      <a:pt x="912" y="1241"/>
                    </a:lnTo>
                    <a:lnTo>
                      <a:pt x="673" y="1328"/>
                    </a:lnTo>
                    <a:lnTo>
                      <a:pt x="440" y="1431"/>
                    </a:lnTo>
                    <a:lnTo>
                      <a:pt x="217" y="1545"/>
                    </a:lnTo>
                    <a:lnTo>
                      <a:pt x="0" y="1671"/>
                    </a:lnTo>
                    <a:lnTo>
                      <a:pt x="353" y="1671"/>
                    </a:lnTo>
                    <a:lnTo>
                      <a:pt x="554" y="1567"/>
                    </a:lnTo>
                    <a:lnTo>
                      <a:pt x="754" y="1469"/>
                    </a:lnTo>
                    <a:lnTo>
                      <a:pt x="955" y="1388"/>
                    </a:lnTo>
                    <a:lnTo>
                      <a:pt x="1145" y="1311"/>
                    </a:lnTo>
                    <a:lnTo>
                      <a:pt x="1335" y="1241"/>
                    </a:lnTo>
                    <a:lnTo>
                      <a:pt x="1519" y="1186"/>
                    </a:lnTo>
                    <a:lnTo>
                      <a:pt x="1693" y="1132"/>
                    </a:lnTo>
                    <a:lnTo>
                      <a:pt x="1861" y="1083"/>
                    </a:lnTo>
                    <a:lnTo>
                      <a:pt x="2019" y="1045"/>
                    </a:lnTo>
                    <a:lnTo>
                      <a:pt x="2165" y="1007"/>
                    </a:lnTo>
                    <a:lnTo>
                      <a:pt x="2301" y="974"/>
                    </a:lnTo>
                    <a:lnTo>
                      <a:pt x="2426" y="947"/>
                    </a:lnTo>
                    <a:lnTo>
                      <a:pt x="2534" y="914"/>
                    </a:lnTo>
                    <a:lnTo>
                      <a:pt x="2626" y="892"/>
                    </a:lnTo>
                    <a:lnTo>
                      <a:pt x="2702" y="865"/>
                    </a:lnTo>
                    <a:lnTo>
                      <a:pt x="2762" y="838"/>
                    </a:lnTo>
                    <a:lnTo>
                      <a:pt x="2800" y="816"/>
                    </a:lnTo>
                    <a:lnTo>
                      <a:pt x="2827" y="794"/>
                    </a:lnTo>
                    <a:lnTo>
                      <a:pt x="2849" y="767"/>
                    </a:lnTo>
                    <a:lnTo>
                      <a:pt x="2865" y="745"/>
                    </a:lnTo>
                    <a:lnTo>
                      <a:pt x="2876" y="724"/>
                    </a:lnTo>
                    <a:lnTo>
                      <a:pt x="2882" y="702"/>
                    </a:lnTo>
                    <a:lnTo>
                      <a:pt x="2876" y="658"/>
                    </a:lnTo>
                    <a:lnTo>
                      <a:pt x="2854" y="620"/>
                    </a:lnTo>
                    <a:lnTo>
                      <a:pt x="2833" y="588"/>
                    </a:lnTo>
                    <a:lnTo>
                      <a:pt x="2800" y="560"/>
                    </a:lnTo>
                    <a:lnTo>
                      <a:pt x="2773" y="544"/>
                    </a:lnTo>
                    <a:lnTo>
                      <a:pt x="2773" y="544"/>
                    </a:lnTo>
                    <a:close/>
                  </a:path>
                </a:pathLst>
              </a:custGeom>
              <a:gradFill rotWithShape="0">
                <a:gsLst>
                  <a:gs pos="0">
                    <a:schemeClr val="bg1"/>
                  </a:gs>
                  <a:gs pos="100000">
                    <a:schemeClr val="bg1">
                      <a:gamma/>
                      <a:shade val="90980"/>
                      <a:invGamma/>
                    </a:schemeClr>
                  </a:gs>
                </a:gsLst>
                <a:lin ang="0" scaled="1"/>
              </a:gradFill>
              <a:ln w="9525">
                <a:noFill/>
                <a:round/>
                <a:headEnd/>
                <a:tailEnd/>
              </a:ln>
            </p:spPr>
            <p:txBody>
              <a:bodyPr/>
              <a:lstStyle/>
              <a:p>
                <a:pPr eaLnBrk="0" hangingPunct="0">
                  <a:defRPr/>
                </a:pPr>
                <a:endParaRPr lang="en-US" sz="1800">
                  <a:solidFill>
                    <a:srgbClr val="FFFFFF"/>
                  </a:solidFill>
                  <a:latin typeface="+mn-lt"/>
                  <a:cs typeface="+mn-cs"/>
                </a:endParaRPr>
              </a:p>
            </p:txBody>
          </p:sp>
          <p:sp>
            <p:nvSpPr>
              <p:cNvPr id="9" name="Freeform 7">
                <a:extLst>
                  <a:ext uri="{FF2B5EF4-FFF2-40B4-BE49-F238E27FC236}">
                    <a16:creationId xmlns:a16="http://schemas.microsoft.com/office/drawing/2014/main" id="{62DB7585-1E00-4374-AC3D-F34237760C09}"/>
                  </a:ext>
                </a:extLst>
              </p:cNvPr>
              <p:cNvSpPr>
                <a:spLocks/>
              </p:cNvSpPr>
              <p:nvPr/>
            </p:nvSpPr>
            <p:spPr bwMode="hidden">
              <a:xfrm>
                <a:off x="4170" y="2671"/>
                <a:ext cx="1259" cy="811"/>
              </a:xfrm>
              <a:custGeom>
                <a:avLst/>
                <a:gdLst/>
                <a:ahLst/>
                <a:cxnLst>
                  <a:cxn ang="0">
                    <a:pos x="1259" y="615"/>
                  </a:cxn>
                  <a:cxn ang="0">
                    <a:pos x="1248" y="588"/>
                  </a:cxn>
                  <a:cxn ang="0">
                    <a:pos x="1237" y="566"/>
                  </a:cxn>
                  <a:cxn ang="0">
                    <a:pos x="1216" y="539"/>
                  </a:cxn>
                  <a:cxn ang="0">
                    <a:pos x="1188" y="517"/>
                  </a:cxn>
                  <a:cxn ang="0">
                    <a:pos x="1123" y="479"/>
                  </a:cxn>
                  <a:cxn ang="0">
                    <a:pos x="1042" y="441"/>
                  </a:cxn>
                  <a:cxn ang="0">
                    <a:pos x="944" y="408"/>
                  </a:cxn>
                  <a:cxn ang="0">
                    <a:pos x="841" y="381"/>
                  </a:cxn>
                  <a:cxn ang="0">
                    <a:pos x="727" y="348"/>
                  </a:cxn>
                  <a:cxn ang="0">
                    <a:pos x="613" y="321"/>
                  </a:cxn>
                  <a:cxn ang="0">
                    <a:pos x="499" y="294"/>
                  </a:cxn>
                  <a:cxn ang="0">
                    <a:pos x="391" y="261"/>
                  </a:cxn>
                  <a:cxn ang="0">
                    <a:pos x="288" y="229"/>
                  </a:cxn>
                  <a:cxn ang="0">
                    <a:pos x="195" y="196"/>
                  </a:cxn>
                  <a:cxn ang="0">
                    <a:pos x="119" y="152"/>
                  </a:cxn>
                  <a:cxn ang="0">
                    <a:pos x="54" y="109"/>
                  </a:cxn>
                  <a:cxn ang="0">
                    <a:pos x="33" y="87"/>
                  </a:cxn>
                  <a:cxn ang="0">
                    <a:pos x="16" y="60"/>
                  </a:cxn>
                  <a:cxn ang="0">
                    <a:pos x="5" y="33"/>
                  </a:cxn>
                  <a:cxn ang="0">
                    <a:pos x="0" y="0"/>
                  </a:cxn>
                  <a:cxn ang="0">
                    <a:pos x="0" y="6"/>
                  </a:cxn>
                  <a:cxn ang="0">
                    <a:pos x="0" y="11"/>
                  </a:cxn>
                  <a:cxn ang="0">
                    <a:pos x="0" y="38"/>
                  </a:cxn>
                  <a:cxn ang="0">
                    <a:pos x="5" y="60"/>
                  </a:cxn>
                  <a:cxn ang="0">
                    <a:pos x="16" y="87"/>
                  </a:cxn>
                  <a:cxn ang="0">
                    <a:pos x="33" y="114"/>
                  </a:cxn>
                  <a:cxn ang="0">
                    <a:pos x="54" y="142"/>
                  </a:cxn>
                  <a:cxn ang="0">
                    <a:pos x="87" y="174"/>
                  </a:cxn>
                  <a:cxn ang="0">
                    <a:pos x="125" y="207"/>
                  </a:cxn>
                  <a:cxn ang="0">
                    <a:pos x="179" y="240"/>
                  </a:cxn>
                  <a:cxn ang="0">
                    <a:pos x="244" y="278"/>
                  </a:cxn>
                  <a:cxn ang="0">
                    <a:pos x="326" y="310"/>
                  </a:cxn>
                  <a:cxn ang="0">
                    <a:pos x="418" y="348"/>
                  </a:cxn>
                  <a:cxn ang="0">
                    <a:pos x="526" y="381"/>
                  </a:cxn>
                  <a:cxn ang="0">
                    <a:pos x="657" y="414"/>
                  </a:cxn>
                  <a:cxn ang="0">
                    <a:pos x="749" y="435"/>
                  </a:cxn>
                  <a:cxn ang="0">
                    <a:pos x="830" y="463"/>
                  </a:cxn>
                  <a:cxn ang="0">
                    <a:pos x="901" y="490"/>
                  </a:cxn>
                  <a:cxn ang="0">
                    <a:pos x="966" y="512"/>
                  </a:cxn>
                  <a:cxn ang="0">
                    <a:pos x="1015" y="539"/>
                  </a:cxn>
                  <a:cxn ang="0">
                    <a:pos x="1053" y="566"/>
                  </a:cxn>
                  <a:cxn ang="0">
                    <a:pos x="1080" y="593"/>
                  </a:cxn>
                  <a:cxn ang="0">
                    <a:pos x="1102" y="620"/>
                  </a:cxn>
                  <a:cxn ang="0">
                    <a:pos x="1112" y="648"/>
                  </a:cxn>
                  <a:cxn ang="0">
                    <a:pos x="1118" y="675"/>
                  </a:cxn>
                  <a:cxn ang="0">
                    <a:pos x="1112" y="697"/>
                  </a:cxn>
                  <a:cxn ang="0">
                    <a:pos x="1096" y="724"/>
                  </a:cxn>
                  <a:cxn ang="0">
                    <a:pos x="1080" y="746"/>
                  </a:cxn>
                  <a:cxn ang="0">
                    <a:pos x="1053" y="767"/>
                  </a:cxn>
                  <a:cxn ang="0">
                    <a:pos x="1015" y="789"/>
                  </a:cxn>
                  <a:cxn ang="0">
                    <a:pos x="977" y="811"/>
                  </a:cxn>
                  <a:cxn ang="0">
                    <a:pos x="1047" y="789"/>
                  </a:cxn>
                  <a:cxn ang="0">
                    <a:pos x="1107" y="767"/>
                  </a:cxn>
                  <a:cxn ang="0">
                    <a:pos x="1156" y="746"/>
                  </a:cxn>
                  <a:cxn ang="0">
                    <a:pos x="1199" y="724"/>
                  </a:cxn>
                  <a:cxn ang="0">
                    <a:pos x="1226" y="702"/>
                  </a:cxn>
                  <a:cxn ang="0">
                    <a:pos x="1248" y="675"/>
                  </a:cxn>
                  <a:cxn ang="0">
                    <a:pos x="1259" y="648"/>
                  </a:cxn>
                  <a:cxn ang="0">
                    <a:pos x="1259" y="615"/>
                  </a:cxn>
                  <a:cxn ang="0">
                    <a:pos x="1259" y="615"/>
                  </a:cxn>
                </a:cxnLst>
                <a:rect l="0" t="0" r="r" b="b"/>
                <a:pathLst>
                  <a:path w="1259" h="811">
                    <a:moveTo>
                      <a:pt x="1259" y="615"/>
                    </a:moveTo>
                    <a:lnTo>
                      <a:pt x="1248" y="588"/>
                    </a:lnTo>
                    <a:lnTo>
                      <a:pt x="1237" y="566"/>
                    </a:lnTo>
                    <a:lnTo>
                      <a:pt x="1216" y="539"/>
                    </a:lnTo>
                    <a:lnTo>
                      <a:pt x="1188" y="517"/>
                    </a:lnTo>
                    <a:lnTo>
                      <a:pt x="1123" y="479"/>
                    </a:lnTo>
                    <a:lnTo>
                      <a:pt x="1042" y="441"/>
                    </a:lnTo>
                    <a:lnTo>
                      <a:pt x="944" y="408"/>
                    </a:lnTo>
                    <a:lnTo>
                      <a:pt x="841" y="381"/>
                    </a:lnTo>
                    <a:lnTo>
                      <a:pt x="727" y="348"/>
                    </a:lnTo>
                    <a:lnTo>
                      <a:pt x="613" y="321"/>
                    </a:lnTo>
                    <a:lnTo>
                      <a:pt x="499" y="294"/>
                    </a:lnTo>
                    <a:lnTo>
                      <a:pt x="391" y="261"/>
                    </a:lnTo>
                    <a:lnTo>
                      <a:pt x="288" y="229"/>
                    </a:lnTo>
                    <a:lnTo>
                      <a:pt x="195" y="196"/>
                    </a:lnTo>
                    <a:lnTo>
                      <a:pt x="119" y="152"/>
                    </a:lnTo>
                    <a:lnTo>
                      <a:pt x="54" y="109"/>
                    </a:lnTo>
                    <a:lnTo>
                      <a:pt x="33" y="87"/>
                    </a:lnTo>
                    <a:lnTo>
                      <a:pt x="16" y="60"/>
                    </a:lnTo>
                    <a:lnTo>
                      <a:pt x="5" y="33"/>
                    </a:lnTo>
                    <a:lnTo>
                      <a:pt x="0" y="0"/>
                    </a:lnTo>
                    <a:lnTo>
                      <a:pt x="0" y="6"/>
                    </a:lnTo>
                    <a:lnTo>
                      <a:pt x="0" y="11"/>
                    </a:lnTo>
                    <a:lnTo>
                      <a:pt x="0" y="38"/>
                    </a:lnTo>
                    <a:lnTo>
                      <a:pt x="5" y="60"/>
                    </a:lnTo>
                    <a:lnTo>
                      <a:pt x="16" y="87"/>
                    </a:lnTo>
                    <a:lnTo>
                      <a:pt x="33" y="114"/>
                    </a:lnTo>
                    <a:lnTo>
                      <a:pt x="54" y="142"/>
                    </a:lnTo>
                    <a:lnTo>
                      <a:pt x="87" y="174"/>
                    </a:lnTo>
                    <a:lnTo>
                      <a:pt x="125" y="207"/>
                    </a:lnTo>
                    <a:lnTo>
                      <a:pt x="179" y="240"/>
                    </a:lnTo>
                    <a:lnTo>
                      <a:pt x="244" y="278"/>
                    </a:lnTo>
                    <a:lnTo>
                      <a:pt x="326" y="310"/>
                    </a:lnTo>
                    <a:lnTo>
                      <a:pt x="418" y="348"/>
                    </a:lnTo>
                    <a:lnTo>
                      <a:pt x="526" y="381"/>
                    </a:lnTo>
                    <a:lnTo>
                      <a:pt x="657" y="414"/>
                    </a:lnTo>
                    <a:lnTo>
                      <a:pt x="749" y="435"/>
                    </a:lnTo>
                    <a:lnTo>
                      <a:pt x="830" y="463"/>
                    </a:lnTo>
                    <a:lnTo>
                      <a:pt x="901" y="490"/>
                    </a:lnTo>
                    <a:lnTo>
                      <a:pt x="966" y="512"/>
                    </a:lnTo>
                    <a:lnTo>
                      <a:pt x="1015" y="539"/>
                    </a:lnTo>
                    <a:lnTo>
                      <a:pt x="1053" y="566"/>
                    </a:lnTo>
                    <a:lnTo>
                      <a:pt x="1080" y="593"/>
                    </a:lnTo>
                    <a:lnTo>
                      <a:pt x="1102" y="620"/>
                    </a:lnTo>
                    <a:lnTo>
                      <a:pt x="1112" y="648"/>
                    </a:lnTo>
                    <a:lnTo>
                      <a:pt x="1118" y="675"/>
                    </a:lnTo>
                    <a:lnTo>
                      <a:pt x="1112" y="697"/>
                    </a:lnTo>
                    <a:lnTo>
                      <a:pt x="1096" y="724"/>
                    </a:lnTo>
                    <a:lnTo>
                      <a:pt x="1080" y="746"/>
                    </a:lnTo>
                    <a:lnTo>
                      <a:pt x="1053" y="767"/>
                    </a:lnTo>
                    <a:lnTo>
                      <a:pt x="1015" y="789"/>
                    </a:lnTo>
                    <a:lnTo>
                      <a:pt x="977" y="811"/>
                    </a:lnTo>
                    <a:lnTo>
                      <a:pt x="1047" y="789"/>
                    </a:lnTo>
                    <a:lnTo>
                      <a:pt x="1107" y="767"/>
                    </a:lnTo>
                    <a:lnTo>
                      <a:pt x="1156" y="746"/>
                    </a:lnTo>
                    <a:lnTo>
                      <a:pt x="1199" y="724"/>
                    </a:lnTo>
                    <a:lnTo>
                      <a:pt x="1226" y="702"/>
                    </a:lnTo>
                    <a:lnTo>
                      <a:pt x="1248" y="675"/>
                    </a:lnTo>
                    <a:lnTo>
                      <a:pt x="1259" y="648"/>
                    </a:lnTo>
                    <a:lnTo>
                      <a:pt x="1259" y="615"/>
                    </a:lnTo>
                    <a:lnTo>
                      <a:pt x="1259" y="615"/>
                    </a:lnTo>
                    <a:close/>
                  </a:path>
                </a:pathLst>
              </a:custGeom>
              <a:gradFill rotWithShape="0">
                <a:gsLst>
                  <a:gs pos="0">
                    <a:schemeClr val="bg1"/>
                  </a:gs>
                  <a:gs pos="100000">
                    <a:schemeClr val="bg1">
                      <a:gamma/>
                      <a:shade val="90980"/>
                      <a:invGamma/>
                    </a:schemeClr>
                  </a:gs>
                </a:gsLst>
                <a:lin ang="2700000" scaled="1"/>
              </a:gradFill>
              <a:ln w="9525">
                <a:noFill/>
                <a:round/>
                <a:headEnd/>
                <a:tailEnd/>
              </a:ln>
            </p:spPr>
            <p:txBody>
              <a:bodyPr/>
              <a:lstStyle/>
              <a:p>
                <a:pPr eaLnBrk="0" hangingPunct="0">
                  <a:defRPr/>
                </a:pPr>
                <a:endParaRPr lang="en-US" sz="1800">
                  <a:solidFill>
                    <a:srgbClr val="FFFFFF"/>
                  </a:solidFill>
                  <a:latin typeface="+mn-lt"/>
                  <a:cs typeface="+mn-cs"/>
                </a:endParaRPr>
              </a:p>
            </p:txBody>
          </p:sp>
          <p:sp>
            <p:nvSpPr>
              <p:cNvPr id="10" name="Freeform 8">
                <a:extLst>
                  <a:ext uri="{FF2B5EF4-FFF2-40B4-BE49-F238E27FC236}">
                    <a16:creationId xmlns:a16="http://schemas.microsoft.com/office/drawing/2014/main" id="{25343881-4697-42DA-A5C8-2D0520B9B0C7}"/>
                  </a:ext>
                </a:extLst>
              </p:cNvPr>
              <p:cNvSpPr>
                <a:spLocks/>
              </p:cNvSpPr>
              <p:nvPr/>
            </p:nvSpPr>
            <p:spPr bwMode="hidden">
              <a:xfrm>
                <a:off x="2900" y="3346"/>
                <a:ext cx="2849" cy="969"/>
              </a:xfrm>
              <a:custGeom>
                <a:avLst/>
                <a:gdLst/>
                <a:ahLst/>
                <a:cxnLst>
                  <a:cxn ang="0">
                    <a:pos x="92" y="958"/>
                  </a:cxn>
                  <a:cxn ang="0">
                    <a:pos x="0" y="969"/>
                  </a:cxn>
                  <a:cxn ang="0">
                    <a:pos x="391" y="969"/>
                  </a:cxn>
                  <a:cxn ang="0">
                    <a:pos x="434" y="947"/>
                  </a:cxn>
                  <a:cxn ang="0">
                    <a:pos x="483" y="914"/>
                  </a:cxn>
                  <a:cxn ang="0">
                    <a:pos x="554" y="876"/>
                  </a:cxn>
                  <a:cxn ang="0">
                    <a:pos x="635" y="838"/>
                  </a:cxn>
                  <a:cxn ang="0">
                    <a:pos x="727" y="794"/>
                  </a:cxn>
                  <a:cxn ang="0">
                    <a:pos x="836" y="745"/>
                  </a:cxn>
                  <a:cxn ang="0">
                    <a:pos x="961" y="696"/>
                  </a:cxn>
                  <a:cxn ang="0">
                    <a:pos x="1102" y="642"/>
                  </a:cxn>
                  <a:cxn ang="0">
                    <a:pos x="1259" y="582"/>
                  </a:cxn>
                  <a:cxn ang="0">
                    <a:pos x="1433" y="522"/>
                  </a:cxn>
                  <a:cxn ang="0">
                    <a:pos x="1623" y="462"/>
                  </a:cxn>
                  <a:cxn ang="0">
                    <a:pos x="1829" y="403"/>
                  </a:cxn>
                  <a:cxn ang="0">
                    <a:pos x="2057" y="343"/>
                  </a:cxn>
                  <a:cxn ang="0">
                    <a:pos x="2301" y="283"/>
                  </a:cxn>
                  <a:cxn ang="0">
                    <a:pos x="2567" y="223"/>
                  </a:cxn>
                  <a:cxn ang="0">
                    <a:pos x="2849" y="163"/>
                  </a:cxn>
                  <a:cxn ang="0">
                    <a:pos x="2849" y="0"/>
                  </a:cxn>
                  <a:cxn ang="0">
                    <a:pos x="2817" y="16"/>
                  </a:cxn>
                  <a:cxn ang="0">
                    <a:pos x="2773" y="33"/>
                  </a:cxn>
                  <a:cxn ang="0">
                    <a:pos x="2719" y="54"/>
                  </a:cxn>
                  <a:cxn ang="0">
                    <a:pos x="2648" y="76"/>
                  </a:cxn>
                  <a:cxn ang="0">
                    <a:pos x="2572" y="98"/>
                  </a:cxn>
                  <a:cxn ang="0">
                    <a:pos x="2491" y="120"/>
                  </a:cxn>
                  <a:cxn ang="0">
                    <a:pos x="2399" y="147"/>
                  </a:cxn>
                  <a:cxn ang="0">
                    <a:pos x="2301" y="169"/>
                  </a:cxn>
                  <a:cxn ang="0">
                    <a:pos x="2095" y="223"/>
                  </a:cxn>
                  <a:cxn ang="0">
                    <a:pos x="1889" y="277"/>
                  </a:cxn>
                  <a:cxn ang="0">
                    <a:pos x="1688" y="326"/>
                  </a:cxn>
                  <a:cxn ang="0">
                    <a:pos x="1590" y="354"/>
                  </a:cxn>
                  <a:cxn ang="0">
                    <a:pos x="1503" y="381"/>
                  </a:cxn>
                  <a:cxn ang="0">
                    <a:pos x="1107" y="506"/>
                  </a:cxn>
                  <a:cxn ang="0">
                    <a:pos x="912" y="577"/>
                  </a:cxn>
                  <a:cxn ang="0">
                    <a:pos x="727" y="647"/>
                  </a:cxn>
                  <a:cxn ang="0">
                    <a:pos x="548" y="718"/>
                  </a:cxn>
                  <a:cxn ang="0">
                    <a:pos x="380" y="794"/>
                  </a:cxn>
                  <a:cxn ang="0">
                    <a:pos x="228" y="876"/>
                  </a:cxn>
                  <a:cxn ang="0">
                    <a:pos x="92" y="958"/>
                  </a:cxn>
                  <a:cxn ang="0">
                    <a:pos x="92" y="958"/>
                  </a:cxn>
                </a:cxnLst>
                <a:rect l="0" t="0" r="r" b="b"/>
                <a:pathLst>
                  <a:path w="2849" h="969">
                    <a:moveTo>
                      <a:pt x="92" y="958"/>
                    </a:moveTo>
                    <a:lnTo>
                      <a:pt x="0" y="969"/>
                    </a:lnTo>
                    <a:lnTo>
                      <a:pt x="391" y="969"/>
                    </a:lnTo>
                    <a:lnTo>
                      <a:pt x="434" y="947"/>
                    </a:lnTo>
                    <a:lnTo>
                      <a:pt x="483" y="914"/>
                    </a:lnTo>
                    <a:lnTo>
                      <a:pt x="554" y="876"/>
                    </a:lnTo>
                    <a:lnTo>
                      <a:pt x="635" y="838"/>
                    </a:lnTo>
                    <a:lnTo>
                      <a:pt x="727" y="794"/>
                    </a:lnTo>
                    <a:lnTo>
                      <a:pt x="836" y="745"/>
                    </a:lnTo>
                    <a:lnTo>
                      <a:pt x="961" y="696"/>
                    </a:lnTo>
                    <a:lnTo>
                      <a:pt x="1102" y="642"/>
                    </a:lnTo>
                    <a:lnTo>
                      <a:pt x="1259" y="582"/>
                    </a:lnTo>
                    <a:lnTo>
                      <a:pt x="1433" y="522"/>
                    </a:lnTo>
                    <a:lnTo>
                      <a:pt x="1623" y="462"/>
                    </a:lnTo>
                    <a:lnTo>
                      <a:pt x="1829" y="403"/>
                    </a:lnTo>
                    <a:lnTo>
                      <a:pt x="2057" y="343"/>
                    </a:lnTo>
                    <a:lnTo>
                      <a:pt x="2301" y="283"/>
                    </a:lnTo>
                    <a:lnTo>
                      <a:pt x="2567" y="223"/>
                    </a:lnTo>
                    <a:lnTo>
                      <a:pt x="2849" y="163"/>
                    </a:lnTo>
                    <a:lnTo>
                      <a:pt x="2849" y="0"/>
                    </a:lnTo>
                    <a:lnTo>
                      <a:pt x="2817" y="16"/>
                    </a:lnTo>
                    <a:lnTo>
                      <a:pt x="2773" y="33"/>
                    </a:lnTo>
                    <a:lnTo>
                      <a:pt x="2719" y="54"/>
                    </a:lnTo>
                    <a:lnTo>
                      <a:pt x="2648" y="76"/>
                    </a:lnTo>
                    <a:lnTo>
                      <a:pt x="2572" y="98"/>
                    </a:lnTo>
                    <a:lnTo>
                      <a:pt x="2491" y="120"/>
                    </a:lnTo>
                    <a:lnTo>
                      <a:pt x="2399" y="147"/>
                    </a:lnTo>
                    <a:lnTo>
                      <a:pt x="2301" y="169"/>
                    </a:lnTo>
                    <a:lnTo>
                      <a:pt x="2095" y="223"/>
                    </a:lnTo>
                    <a:lnTo>
                      <a:pt x="1889" y="277"/>
                    </a:lnTo>
                    <a:lnTo>
                      <a:pt x="1688" y="326"/>
                    </a:lnTo>
                    <a:lnTo>
                      <a:pt x="1590" y="354"/>
                    </a:lnTo>
                    <a:lnTo>
                      <a:pt x="1503" y="381"/>
                    </a:lnTo>
                    <a:lnTo>
                      <a:pt x="1107" y="506"/>
                    </a:lnTo>
                    <a:lnTo>
                      <a:pt x="912" y="577"/>
                    </a:lnTo>
                    <a:lnTo>
                      <a:pt x="727" y="647"/>
                    </a:lnTo>
                    <a:lnTo>
                      <a:pt x="548" y="718"/>
                    </a:lnTo>
                    <a:lnTo>
                      <a:pt x="380" y="794"/>
                    </a:lnTo>
                    <a:lnTo>
                      <a:pt x="228" y="876"/>
                    </a:lnTo>
                    <a:lnTo>
                      <a:pt x="92" y="958"/>
                    </a:lnTo>
                    <a:lnTo>
                      <a:pt x="92" y="958"/>
                    </a:lnTo>
                    <a:close/>
                  </a:path>
                </a:pathLst>
              </a:custGeom>
              <a:gradFill rotWithShape="0">
                <a:gsLst>
                  <a:gs pos="0">
                    <a:schemeClr val="bg1">
                      <a:gamma/>
                      <a:shade val="81961"/>
                      <a:invGamma/>
                    </a:schemeClr>
                  </a:gs>
                  <a:gs pos="100000">
                    <a:schemeClr val="bg1"/>
                  </a:gs>
                </a:gsLst>
                <a:lin ang="5400000" scaled="1"/>
              </a:gradFill>
              <a:ln w="9525">
                <a:noFill/>
                <a:round/>
                <a:headEnd/>
                <a:tailEnd/>
              </a:ln>
            </p:spPr>
            <p:txBody>
              <a:bodyPr/>
              <a:lstStyle/>
              <a:p>
                <a:pPr eaLnBrk="0" hangingPunct="0">
                  <a:defRPr/>
                </a:pPr>
                <a:endParaRPr lang="en-US" sz="1800">
                  <a:solidFill>
                    <a:srgbClr val="FFFFFF"/>
                  </a:solidFill>
                  <a:latin typeface="+mn-lt"/>
                  <a:cs typeface="+mn-cs"/>
                </a:endParaRPr>
              </a:p>
            </p:txBody>
          </p:sp>
          <p:sp>
            <p:nvSpPr>
              <p:cNvPr id="11" name="Freeform 9">
                <a:extLst>
                  <a:ext uri="{FF2B5EF4-FFF2-40B4-BE49-F238E27FC236}">
                    <a16:creationId xmlns:a16="http://schemas.microsoft.com/office/drawing/2014/main" id="{DC299F51-82BD-476E-8E35-192FCC20C33E}"/>
                  </a:ext>
                </a:extLst>
              </p:cNvPr>
              <p:cNvSpPr>
                <a:spLocks/>
              </p:cNvSpPr>
              <p:nvPr/>
            </p:nvSpPr>
            <p:spPr bwMode="hidden">
              <a:xfrm>
                <a:off x="2748" y="2230"/>
                <a:ext cx="3007" cy="2085"/>
              </a:xfrm>
              <a:custGeom>
                <a:avLst/>
                <a:gdLst>
                  <a:gd name="T0" fmla="*/ 1433 w 3007"/>
                  <a:gd name="T1" fmla="*/ 474 h 2085"/>
                  <a:gd name="T2" fmla="*/ 1460 w 3007"/>
                  <a:gd name="T3" fmla="*/ 528 h 2085"/>
                  <a:gd name="T4" fmla="*/ 1541 w 3007"/>
                  <a:gd name="T5" fmla="*/ 593 h 2085"/>
                  <a:gd name="T6" fmla="*/ 1715 w 3007"/>
                  <a:gd name="T7" fmla="*/ 670 h 2085"/>
                  <a:gd name="T8" fmla="*/ 1927 w 3007"/>
                  <a:gd name="T9" fmla="*/ 735 h 2085"/>
                  <a:gd name="T10" fmla="*/ 2155 w 3007"/>
                  <a:gd name="T11" fmla="*/ 789 h 2085"/>
                  <a:gd name="T12" fmla="*/ 2372 w 3007"/>
                  <a:gd name="T13" fmla="*/ 849 h 2085"/>
                  <a:gd name="T14" fmla="*/ 2551 w 3007"/>
                  <a:gd name="T15" fmla="*/ 920 h 2085"/>
                  <a:gd name="T16" fmla="*/ 2638 w 3007"/>
                  <a:gd name="T17" fmla="*/ 980 h 2085"/>
                  <a:gd name="T18" fmla="*/ 2676 w 3007"/>
                  <a:gd name="T19" fmla="*/ 1029 h 2085"/>
                  <a:gd name="T20" fmla="*/ 2681 w 3007"/>
                  <a:gd name="T21" fmla="*/ 1083 h 2085"/>
                  <a:gd name="T22" fmla="*/ 2665 w 3007"/>
                  <a:gd name="T23" fmla="*/ 1127 h 2085"/>
                  <a:gd name="T24" fmla="*/ 2616 w 3007"/>
                  <a:gd name="T25" fmla="*/ 1170 h 2085"/>
                  <a:gd name="T26" fmla="*/ 2545 w 3007"/>
                  <a:gd name="T27" fmla="*/ 1208 h 2085"/>
                  <a:gd name="T28" fmla="*/ 2448 w 3007"/>
                  <a:gd name="T29" fmla="*/ 1241 h 2085"/>
                  <a:gd name="T30" fmla="*/ 2328 w 3007"/>
                  <a:gd name="T31" fmla="*/ 1274 h 2085"/>
                  <a:gd name="T32" fmla="*/ 2106 w 3007"/>
                  <a:gd name="T33" fmla="*/ 1328 h 2085"/>
                  <a:gd name="T34" fmla="*/ 1742 w 3007"/>
                  <a:gd name="T35" fmla="*/ 1421 h 2085"/>
                  <a:gd name="T36" fmla="*/ 1308 w 3007"/>
                  <a:gd name="T37" fmla="*/ 1540 h 2085"/>
                  <a:gd name="T38" fmla="*/ 820 w 3007"/>
                  <a:gd name="T39" fmla="*/ 1709 h 2085"/>
                  <a:gd name="T40" fmla="*/ 282 w 3007"/>
                  <a:gd name="T41" fmla="*/ 1943 h 2085"/>
                  <a:gd name="T42" fmla="*/ 152 w 3007"/>
                  <a:gd name="T43" fmla="*/ 2085 h 2085"/>
                  <a:gd name="T44" fmla="*/ 386 w 3007"/>
                  <a:gd name="T45" fmla="*/ 1992 h 2085"/>
                  <a:gd name="T46" fmla="*/ 700 w 3007"/>
                  <a:gd name="T47" fmla="*/ 1834 h 2085"/>
                  <a:gd name="T48" fmla="*/ 1064 w 3007"/>
                  <a:gd name="T49" fmla="*/ 1693 h 2085"/>
                  <a:gd name="T50" fmla="*/ 1661 w 3007"/>
                  <a:gd name="T51" fmla="*/ 1497 h 2085"/>
                  <a:gd name="T52" fmla="*/ 1845 w 3007"/>
                  <a:gd name="T53" fmla="*/ 1442 h 2085"/>
                  <a:gd name="T54" fmla="*/ 2252 w 3007"/>
                  <a:gd name="T55" fmla="*/ 1339 h 2085"/>
                  <a:gd name="T56" fmla="*/ 2551 w 3007"/>
                  <a:gd name="T57" fmla="*/ 1263 h 2085"/>
                  <a:gd name="T58" fmla="*/ 2730 w 3007"/>
                  <a:gd name="T59" fmla="*/ 1214 h 2085"/>
                  <a:gd name="T60" fmla="*/ 2876 w 3007"/>
                  <a:gd name="T61" fmla="*/ 1170 h 2085"/>
                  <a:gd name="T62" fmla="*/ 2974 w 3007"/>
                  <a:gd name="T63" fmla="*/ 1132 h 2085"/>
                  <a:gd name="T64" fmla="*/ 3007 w 3007"/>
                  <a:gd name="T65" fmla="*/ 871 h 2085"/>
                  <a:gd name="T66" fmla="*/ 2860 w 3007"/>
                  <a:gd name="T67" fmla="*/ 844 h 2085"/>
                  <a:gd name="T68" fmla="*/ 2670 w 3007"/>
                  <a:gd name="T69" fmla="*/ 806 h 2085"/>
                  <a:gd name="T70" fmla="*/ 2458 w 3007"/>
                  <a:gd name="T71" fmla="*/ 757 h 2085"/>
                  <a:gd name="T72" fmla="*/ 2138 w 3007"/>
                  <a:gd name="T73" fmla="*/ 670 h 2085"/>
                  <a:gd name="T74" fmla="*/ 1959 w 3007"/>
                  <a:gd name="T75" fmla="*/ 604 h 2085"/>
                  <a:gd name="T76" fmla="*/ 1824 w 3007"/>
                  <a:gd name="T77" fmla="*/ 534 h 2085"/>
                  <a:gd name="T78" fmla="*/ 1769 w 3007"/>
                  <a:gd name="T79" fmla="*/ 474 h 2085"/>
                  <a:gd name="T80" fmla="*/ 1753 w 3007"/>
                  <a:gd name="T81" fmla="*/ 436 h 2085"/>
                  <a:gd name="T82" fmla="*/ 1780 w 3007"/>
                  <a:gd name="T83" fmla="*/ 381 h 2085"/>
                  <a:gd name="T84" fmla="*/ 1862 w 3007"/>
                  <a:gd name="T85" fmla="*/ 316 h 2085"/>
                  <a:gd name="T86" fmla="*/ 1986 w 3007"/>
                  <a:gd name="T87" fmla="*/ 267 h 2085"/>
                  <a:gd name="T88" fmla="*/ 2149 w 3007"/>
                  <a:gd name="T89" fmla="*/ 229 h 2085"/>
                  <a:gd name="T90" fmla="*/ 2431 w 3007"/>
                  <a:gd name="T91" fmla="*/ 180 h 2085"/>
                  <a:gd name="T92" fmla="*/ 2827 w 3007"/>
                  <a:gd name="T93" fmla="*/ 125 h 2085"/>
                  <a:gd name="T94" fmla="*/ 3007 w 3007"/>
                  <a:gd name="T95" fmla="*/ 87 h 2085"/>
                  <a:gd name="T96" fmla="*/ 2909 w 3007"/>
                  <a:gd name="T97" fmla="*/ 22 h 2085"/>
                  <a:gd name="T98" fmla="*/ 2676 w 3007"/>
                  <a:gd name="T99" fmla="*/ 66 h 2085"/>
                  <a:gd name="T100" fmla="*/ 2285 w 3007"/>
                  <a:gd name="T101" fmla="*/ 120 h 2085"/>
                  <a:gd name="T102" fmla="*/ 2030 w 3007"/>
                  <a:gd name="T103" fmla="*/ 158 h 2085"/>
                  <a:gd name="T104" fmla="*/ 1791 w 3007"/>
                  <a:gd name="T105" fmla="*/ 202 h 2085"/>
                  <a:gd name="T106" fmla="*/ 1601 w 3007"/>
                  <a:gd name="T107" fmla="*/ 261 h 2085"/>
                  <a:gd name="T108" fmla="*/ 1471 w 3007"/>
                  <a:gd name="T109" fmla="*/ 338 h 2085"/>
                  <a:gd name="T110" fmla="*/ 1438 w 3007"/>
                  <a:gd name="T111" fmla="*/ 387 h 2085"/>
                  <a:gd name="T112" fmla="*/ 1427 w 3007"/>
                  <a:gd name="T113" fmla="*/ 441 h 2085"/>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3007" h="2085">
                    <a:moveTo>
                      <a:pt x="1427" y="441"/>
                    </a:moveTo>
                    <a:lnTo>
                      <a:pt x="1433" y="474"/>
                    </a:lnTo>
                    <a:lnTo>
                      <a:pt x="1444" y="501"/>
                    </a:lnTo>
                    <a:lnTo>
                      <a:pt x="1460" y="528"/>
                    </a:lnTo>
                    <a:lnTo>
                      <a:pt x="1482" y="550"/>
                    </a:lnTo>
                    <a:lnTo>
                      <a:pt x="1541" y="593"/>
                    </a:lnTo>
                    <a:lnTo>
                      <a:pt x="1623" y="637"/>
                    </a:lnTo>
                    <a:lnTo>
                      <a:pt x="1715" y="670"/>
                    </a:lnTo>
                    <a:lnTo>
                      <a:pt x="1818" y="702"/>
                    </a:lnTo>
                    <a:lnTo>
                      <a:pt x="1927" y="735"/>
                    </a:lnTo>
                    <a:lnTo>
                      <a:pt x="2041" y="762"/>
                    </a:lnTo>
                    <a:lnTo>
                      <a:pt x="2155" y="789"/>
                    </a:lnTo>
                    <a:lnTo>
                      <a:pt x="2269" y="822"/>
                    </a:lnTo>
                    <a:lnTo>
                      <a:pt x="2372" y="849"/>
                    </a:lnTo>
                    <a:lnTo>
                      <a:pt x="2464" y="882"/>
                    </a:lnTo>
                    <a:lnTo>
                      <a:pt x="2551" y="920"/>
                    </a:lnTo>
                    <a:lnTo>
                      <a:pt x="2616" y="958"/>
                    </a:lnTo>
                    <a:lnTo>
                      <a:pt x="2638" y="980"/>
                    </a:lnTo>
                    <a:lnTo>
                      <a:pt x="2659" y="1007"/>
                    </a:lnTo>
                    <a:lnTo>
                      <a:pt x="2676" y="1029"/>
                    </a:lnTo>
                    <a:lnTo>
                      <a:pt x="2681" y="1056"/>
                    </a:lnTo>
                    <a:lnTo>
                      <a:pt x="2681" y="1083"/>
                    </a:lnTo>
                    <a:lnTo>
                      <a:pt x="2676" y="1105"/>
                    </a:lnTo>
                    <a:lnTo>
                      <a:pt x="2665" y="1127"/>
                    </a:lnTo>
                    <a:lnTo>
                      <a:pt x="2643" y="1149"/>
                    </a:lnTo>
                    <a:lnTo>
                      <a:pt x="2616" y="1170"/>
                    </a:lnTo>
                    <a:lnTo>
                      <a:pt x="2583" y="1187"/>
                    </a:lnTo>
                    <a:lnTo>
                      <a:pt x="2545" y="1208"/>
                    </a:lnTo>
                    <a:lnTo>
                      <a:pt x="2502" y="1225"/>
                    </a:lnTo>
                    <a:lnTo>
                      <a:pt x="2448" y="1241"/>
                    </a:lnTo>
                    <a:lnTo>
                      <a:pt x="2388" y="1257"/>
                    </a:lnTo>
                    <a:lnTo>
                      <a:pt x="2328" y="1274"/>
                    </a:lnTo>
                    <a:lnTo>
                      <a:pt x="2258" y="1290"/>
                    </a:lnTo>
                    <a:lnTo>
                      <a:pt x="2106" y="1328"/>
                    </a:lnTo>
                    <a:lnTo>
                      <a:pt x="1932" y="1372"/>
                    </a:lnTo>
                    <a:lnTo>
                      <a:pt x="1742" y="1421"/>
                    </a:lnTo>
                    <a:lnTo>
                      <a:pt x="1531" y="1475"/>
                    </a:lnTo>
                    <a:lnTo>
                      <a:pt x="1308" y="1540"/>
                    </a:lnTo>
                    <a:lnTo>
                      <a:pt x="1069" y="1617"/>
                    </a:lnTo>
                    <a:lnTo>
                      <a:pt x="820" y="1709"/>
                    </a:lnTo>
                    <a:lnTo>
                      <a:pt x="554" y="1818"/>
                    </a:lnTo>
                    <a:lnTo>
                      <a:pt x="282" y="1943"/>
                    </a:lnTo>
                    <a:lnTo>
                      <a:pt x="0" y="2085"/>
                    </a:lnTo>
                    <a:lnTo>
                      <a:pt x="152" y="2085"/>
                    </a:lnTo>
                    <a:lnTo>
                      <a:pt x="244" y="2074"/>
                    </a:lnTo>
                    <a:lnTo>
                      <a:pt x="386" y="1992"/>
                    </a:lnTo>
                    <a:lnTo>
                      <a:pt x="537" y="1910"/>
                    </a:lnTo>
                    <a:lnTo>
                      <a:pt x="700" y="1834"/>
                    </a:lnTo>
                    <a:lnTo>
                      <a:pt x="879" y="1763"/>
                    </a:lnTo>
                    <a:lnTo>
                      <a:pt x="1064" y="1693"/>
                    </a:lnTo>
                    <a:lnTo>
                      <a:pt x="1259" y="1622"/>
                    </a:lnTo>
                    <a:lnTo>
                      <a:pt x="1661" y="1497"/>
                    </a:lnTo>
                    <a:lnTo>
                      <a:pt x="1748" y="1470"/>
                    </a:lnTo>
                    <a:lnTo>
                      <a:pt x="1845" y="1442"/>
                    </a:lnTo>
                    <a:lnTo>
                      <a:pt x="2046" y="1393"/>
                    </a:lnTo>
                    <a:lnTo>
                      <a:pt x="2252" y="1339"/>
                    </a:lnTo>
                    <a:lnTo>
                      <a:pt x="2458" y="1285"/>
                    </a:lnTo>
                    <a:lnTo>
                      <a:pt x="2551" y="1263"/>
                    </a:lnTo>
                    <a:lnTo>
                      <a:pt x="2643" y="1236"/>
                    </a:lnTo>
                    <a:lnTo>
                      <a:pt x="2730" y="1214"/>
                    </a:lnTo>
                    <a:lnTo>
                      <a:pt x="2806" y="1192"/>
                    </a:lnTo>
                    <a:lnTo>
                      <a:pt x="2876" y="1170"/>
                    </a:lnTo>
                    <a:lnTo>
                      <a:pt x="2931" y="1149"/>
                    </a:lnTo>
                    <a:lnTo>
                      <a:pt x="2974" y="1132"/>
                    </a:lnTo>
                    <a:lnTo>
                      <a:pt x="3007" y="1116"/>
                    </a:lnTo>
                    <a:lnTo>
                      <a:pt x="3007" y="871"/>
                    </a:lnTo>
                    <a:lnTo>
                      <a:pt x="2941" y="860"/>
                    </a:lnTo>
                    <a:lnTo>
                      <a:pt x="2860" y="844"/>
                    </a:lnTo>
                    <a:lnTo>
                      <a:pt x="2773" y="827"/>
                    </a:lnTo>
                    <a:lnTo>
                      <a:pt x="2670" y="806"/>
                    </a:lnTo>
                    <a:lnTo>
                      <a:pt x="2567" y="784"/>
                    </a:lnTo>
                    <a:lnTo>
                      <a:pt x="2458" y="757"/>
                    </a:lnTo>
                    <a:lnTo>
                      <a:pt x="2241" y="702"/>
                    </a:lnTo>
                    <a:lnTo>
                      <a:pt x="2138" y="670"/>
                    </a:lnTo>
                    <a:lnTo>
                      <a:pt x="2046" y="637"/>
                    </a:lnTo>
                    <a:lnTo>
                      <a:pt x="1959" y="604"/>
                    </a:lnTo>
                    <a:lnTo>
                      <a:pt x="1883" y="566"/>
                    </a:lnTo>
                    <a:lnTo>
                      <a:pt x="1824" y="534"/>
                    </a:lnTo>
                    <a:lnTo>
                      <a:pt x="1780" y="495"/>
                    </a:lnTo>
                    <a:lnTo>
                      <a:pt x="1769" y="474"/>
                    </a:lnTo>
                    <a:lnTo>
                      <a:pt x="1758" y="457"/>
                    </a:lnTo>
                    <a:lnTo>
                      <a:pt x="1753" y="436"/>
                    </a:lnTo>
                    <a:lnTo>
                      <a:pt x="1758" y="419"/>
                    </a:lnTo>
                    <a:lnTo>
                      <a:pt x="1780" y="381"/>
                    </a:lnTo>
                    <a:lnTo>
                      <a:pt x="1813" y="343"/>
                    </a:lnTo>
                    <a:lnTo>
                      <a:pt x="1862" y="316"/>
                    </a:lnTo>
                    <a:lnTo>
                      <a:pt x="1921" y="289"/>
                    </a:lnTo>
                    <a:lnTo>
                      <a:pt x="1986" y="267"/>
                    </a:lnTo>
                    <a:lnTo>
                      <a:pt x="2062" y="245"/>
                    </a:lnTo>
                    <a:lnTo>
                      <a:pt x="2149" y="229"/>
                    </a:lnTo>
                    <a:lnTo>
                      <a:pt x="2236" y="213"/>
                    </a:lnTo>
                    <a:lnTo>
                      <a:pt x="2431" y="180"/>
                    </a:lnTo>
                    <a:lnTo>
                      <a:pt x="2627" y="158"/>
                    </a:lnTo>
                    <a:lnTo>
                      <a:pt x="2827" y="125"/>
                    </a:lnTo>
                    <a:lnTo>
                      <a:pt x="2920" y="109"/>
                    </a:lnTo>
                    <a:lnTo>
                      <a:pt x="3007" y="87"/>
                    </a:lnTo>
                    <a:lnTo>
                      <a:pt x="3007" y="0"/>
                    </a:lnTo>
                    <a:lnTo>
                      <a:pt x="2909" y="22"/>
                    </a:lnTo>
                    <a:lnTo>
                      <a:pt x="2795" y="44"/>
                    </a:lnTo>
                    <a:lnTo>
                      <a:pt x="2676" y="66"/>
                    </a:lnTo>
                    <a:lnTo>
                      <a:pt x="2551" y="82"/>
                    </a:lnTo>
                    <a:lnTo>
                      <a:pt x="2285" y="120"/>
                    </a:lnTo>
                    <a:lnTo>
                      <a:pt x="2155" y="136"/>
                    </a:lnTo>
                    <a:lnTo>
                      <a:pt x="2030" y="158"/>
                    </a:lnTo>
                    <a:lnTo>
                      <a:pt x="1905" y="174"/>
                    </a:lnTo>
                    <a:lnTo>
                      <a:pt x="1791" y="202"/>
                    </a:lnTo>
                    <a:lnTo>
                      <a:pt x="1688" y="229"/>
                    </a:lnTo>
                    <a:lnTo>
                      <a:pt x="1601" y="261"/>
                    </a:lnTo>
                    <a:lnTo>
                      <a:pt x="1525" y="300"/>
                    </a:lnTo>
                    <a:lnTo>
                      <a:pt x="1471" y="338"/>
                    </a:lnTo>
                    <a:lnTo>
                      <a:pt x="1455" y="359"/>
                    </a:lnTo>
                    <a:lnTo>
                      <a:pt x="1438" y="387"/>
                    </a:lnTo>
                    <a:lnTo>
                      <a:pt x="1427" y="414"/>
                    </a:lnTo>
                    <a:lnTo>
                      <a:pt x="1427" y="44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800"/>
              </a:p>
            </p:txBody>
          </p:sp>
          <p:sp>
            <p:nvSpPr>
              <p:cNvPr id="12" name="Freeform 10">
                <a:extLst>
                  <a:ext uri="{FF2B5EF4-FFF2-40B4-BE49-F238E27FC236}">
                    <a16:creationId xmlns:a16="http://schemas.microsoft.com/office/drawing/2014/main" id="{A0D3D1E3-7EC4-4C83-8961-03E280A4D4DA}"/>
                  </a:ext>
                </a:extLst>
              </p:cNvPr>
              <p:cNvSpPr>
                <a:spLocks/>
              </p:cNvSpPr>
              <p:nvPr/>
            </p:nvSpPr>
            <p:spPr bwMode="hidden">
              <a:xfrm>
                <a:off x="4501" y="2317"/>
                <a:ext cx="1248" cy="539"/>
              </a:xfrm>
              <a:custGeom>
                <a:avLst/>
                <a:gdLst/>
                <a:ahLst/>
                <a:cxnLst>
                  <a:cxn ang="0">
                    <a:pos x="0" y="332"/>
                  </a:cxn>
                  <a:cxn ang="0">
                    <a:pos x="0" y="360"/>
                  </a:cxn>
                  <a:cxn ang="0">
                    <a:pos x="5" y="387"/>
                  </a:cxn>
                  <a:cxn ang="0">
                    <a:pos x="27" y="414"/>
                  </a:cxn>
                  <a:cxn ang="0">
                    <a:pos x="54" y="436"/>
                  </a:cxn>
                  <a:cxn ang="0">
                    <a:pos x="92" y="463"/>
                  </a:cxn>
                  <a:cxn ang="0">
                    <a:pos x="141" y="490"/>
                  </a:cxn>
                  <a:cxn ang="0">
                    <a:pos x="195" y="512"/>
                  </a:cxn>
                  <a:cxn ang="0">
                    <a:pos x="255" y="539"/>
                  </a:cxn>
                  <a:cxn ang="0">
                    <a:pos x="212" y="517"/>
                  </a:cxn>
                  <a:cxn ang="0">
                    <a:pos x="179" y="490"/>
                  </a:cxn>
                  <a:cxn ang="0">
                    <a:pos x="157" y="468"/>
                  </a:cxn>
                  <a:cxn ang="0">
                    <a:pos x="141" y="447"/>
                  </a:cxn>
                  <a:cxn ang="0">
                    <a:pos x="136" y="425"/>
                  </a:cxn>
                  <a:cxn ang="0">
                    <a:pos x="136" y="403"/>
                  </a:cxn>
                  <a:cxn ang="0">
                    <a:pos x="141" y="381"/>
                  </a:cxn>
                  <a:cxn ang="0">
                    <a:pos x="157" y="365"/>
                  </a:cxn>
                  <a:cxn ang="0">
                    <a:pos x="179" y="343"/>
                  </a:cxn>
                  <a:cxn ang="0">
                    <a:pos x="201" y="327"/>
                  </a:cxn>
                  <a:cxn ang="0">
                    <a:pos x="266" y="294"/>
                  </a:cxn>
                  <a:cxn ang="0">
                    <a:pos x="353" y="262"/>
                  </a:cxn>
                  <a:cxn ang="0">
                    <a:pos x="445" y="234"/>
                  </a:cxn>
                  <a:cxn ang="0">
                    <a:pos x="554" y="213"/>
                  </a:cxn>
                  <a:cxn ang="0">
                    <a:pos x="662" y="191"/>
                  </a:cxn>
                  <a:cxn ang="0">
                    <a:pos x="890" y="153"/>
                  </a:cxn>
                  <a:cxn ang="0">
                    <a:pos x="993" y="136"/>
                  </a:cxn>
                  <a:cxn ang="0">
                    <a:pos x="1091" y="120"/>
                  </a:cxn>
                  <a:cxn ang="0">
                    <a:pos x="1178" y="115"/>
                  </a:cxn>
                  <a:cxn ang="0">
                    <a:pos x="1248" y="104"/>
                  </a:cxn>
                  <a:cxn ang="0">
                    <a:pos x="1248" y="0"/>
                  </a:cxn>
                  <a:cxn ang="0">
                    <a:pos x="1161" y="22"/>
                  </a:cxn>
                  <a:cxn ang="0">
                    <a:pos x="1069" y="38"/>
                  </a:cxn>
                  <a:cxn ang="0">
                    <a:pos x="874" y="71"/>
                  </a:cxn>
                  <a:cxn ang="0">
                    <a:pos x="673" y="93"/>
                  </a:cxn>
                  <a:cxn ang="0">
                    <a:pos x="483" y="126"/>
                  </a:cxn>
                  <a:cxn ang="0">
                    <a:pos x="391" y="142"/>
                  </a:cxn>
                  <a:cxn ang="0">
                    <a:pos x="309" y="158"/>
                  </a:cxn>
                  <a:cxn ang="0">
                    <a:pos x="228" y="180"/>
                  </a:cxn>
                  <a:cxn ang="0">
                    <a:pos x="163" y="202"/>
                  </a:cxn>
                  <a:cxn ang="0">
                    <a:pos x="103" y="229"/>
                  </a:cxn>
                  <a:cxn ang="0">
                    <a:pos x="54" y="256"/>
                  </a:cxn>
                  <a:cxn ang="0">
                    <a:pos x="22" y="294"/>
                  </a:cxn>
                  <a:cxn ang="0">
                    <a:pos x="0" y="332"/>
                  </a:cxn>
                  <a:cxn ang="0">
                    <a:pos x="0" y="332"/>
                  </a:cxn>
                </a:cxnLst>
                <a:rect l="0" t="0" r="r" b="b"/>
                <a:pathLst>
                  <a:path w="1248" h="539">
                    <a:moveTo>
                      <a:pt x="0" y="332"/>
                    </a:moveTo>
                    <a:lnTo>
                      <a:pt x="0" y="360"/>
                    </a:lnTo>
                    <a:lnTo>
                      <a:pt x="5" y="387"/>
                    </a:lnTo>
                    <a:lnTo>
                      <a:pt x="27" y="414"/>
                    </a:lnTo>
                    <a:lnTo>
                      <a:pt x="54" y="436"/>
                    </a:lnTo>
                    <a:lnTo>
                      <a:pt x="92" y="463"/>
                    </a:lnTo>
                    <a:lnTo>
                      <a:pt x="141" y="490"/>
                    </a:lnTo>
                    <a:lnTo>
                      <a:pt x="195" y="512"/>
                    </a:lnTo>
                    <a:lnTo>
                      <a:pt x="255" y="539"/>
                    </a:lnTo>
                    <a:lnTo>
                      <a:pt x="212" y="517"/>
                    </a:lnTo>
                    <a:lnTo>
                      <a:pt x="179" y="490"/>
                    </a:lnTo>
                    <a:lnTo>
                      <a:pt x="157" y="468"/>
                    </a:lnTo>
                    <a:lnTo>
                      <a:pt x="141" y="447"/>
                    </a:lnTo>
                    <a:lnTo>
                      <a:pt x="136" y="425"/>
                    </a:lnTo>
                    <a:lnTo>
                      <a:pt x="136" y="403"/>
                    </a:lnTo>
                    <a:lnTo>
                      <a:pt x="141" y="381"/>
                    </a:lnTo>
                    <a:lnTo>
                      <a:pt x="157" y="365"/>
                    </a:lnTo>
                    <a:lnTo>
                      <a:pt x="179" y="343"/>
                    </a:lnTo>
                    <a:lnTo>
                      <a:pt x="201" y="327"/>
                    </a:lnTo>
                    <a:lnTo>
                      <a:pt x="266" y="294"/>
                    </a:lnTo>
                    <a:lnTo>
                      <a:pt x="353" y="262"/>
                    </a:lnTo>
                    <a:lnTo>
                      <a:pt x="445" y="234"/>
                    </a:lnTo>
                    <a:lnTo>
                      <a:pt x="554" y="213"/>
                    </a:lnTo>
                    <a:lnTo>
                      <a:pt x="662" y="191"/>
                    </a:lnTo>
                    <a:lnTo>
                      <a:pt x="890" y="153"/>
                    </a:lnTo>
                    <a:lnTo>
                      <a:pt x="993" y="136"/>
                    </a:lnTo>
                    <a:lnTo>
                      <a:pt x="1091" y="120"/>
                    </a:lnTo>
                    <a:lnTo>
                      <a:pt x="1178" y="115"/>
                    </a:lnTo>
                    <a:lnTo>
                      <a:pt x="1248" y="104"/>
                    </a:lnTo>
                    <a:lnTo>
                      <a:pt x="1248" y="0"/>
                    </a:lnTo>
                    <a:lnTo>
                      <a:pt x="1161" y="22"/>
                    </a:lnTo>
                    <a:lnTo>
                      <a:pt x="1069" y="38"/>
                    </a:lnTo>
                    <a:lnTo>
                      <a:pt x="874" y="71"/>
                    </a:lnTo>
                    <a:lnTo>
                      <a:pt x="673" y="93"/>
                    </a:lnTo>
                    <a:lnTo>
                      <a:pt x="483" y="126"/>
                    </a:lnTo>
                    <a:lnTo>
                      <a:pt x="391" y="142"/>
                    </a:lnTo>
                    <a:lnTo>
                      <a:pt x="309" y="158"/>
                    </a:lnTo>
                    <a:lnTo>
                      <a:pt x="228" y="180"/>
                    </a:lnTo>
                    <a:lnTo>
                      <a:pt x="163" y="202"/>
                    </a:lnTo>
                    <a:lnTo>
                      <a:pt x="103" y="229"/>
                    </a:lnTo>
                    <a:lnTo>
                      <a:pt x="54" y="256"/>
                    </a:lnTo>
                    <a:lnTo>
                      <a:pt x="22" y="294"/>
                    </a:lnTo>
                    <a:lnTo>
                      <a:pt x="0" y="332"/>
                    </a:lnTo>
                    <a:lnTo>
                      <a:pt x="0" y="332"/>
                    </a:lnTo>
                    <a:close/>
                  </a:path>
                </a:pathLst>
              </a:custGeom>
              <a:gradFill rotWithShape="0">
                <a:gsLst>
                  <a:gs pos="0">
                    <a:schemeClr val="bg1">
                      <a:gamma/>
                      <a:shade val="87843"/>
                      <a:invGamma/>
                    </a:schemeClr>
                  </a:gs>
                  <a:gs pos="100000">
                    <a:schemeClr val="bg1"/>
                  </a:gs>
                </a:gsLst>
                <a:lin ang="2700000" scaled="1"/>
              </a:gradFill>
              <a:ln w="9525">
                <a:noFill/>
                <a:round/>
                <a:headEnd/>
                <a:tailEnd/>
              </a:ln>
            </p:spPr>
            <p:txBody>
              <a:bodyPr/>
              <a:lstStyle/>
              <a:p>
                <a:pPr eaLnBrk="0" hangingPunct="0">
                  <a:defRPr/>
                </a:pPr>
                <a:endParaRPr lang="en-US" sz="1800">
                  <a:solidFill>
                    <a:srgbClr val="FFFFFF"/>
                  </a:solidFill>
                  <a:latin typeface="+mn-lt"/>
                  <a:cs typeface="+mn-cs"/>
                </a:endParaRPr>
              </a:p>
            </p:txBody>
          </p:sp>
        </p:grpSp>
        <p:sp>
          <p:nvSpPr>
            <p:cNvPr id="6" name="Freeform 11">
              <a:extLst>
                <a:ext uri="{FF2B5EF4-FFF2-40B4-BE49-F238E27FC236}">
                  <a16:creationId xmlns:a16="http://schemas.microsoft.com/office/drawing/2014/main" id="{3B72FD45-D62B-4252-9E43-1645C4B66ACA}"/>
                </a:ext>
              </a:extLst>
            </p:cNvPr>
            <p:cNvSpPr>
              <a:spLocks/>
            </p:cNvSpPr>
            <p:nvPr/>
          </p:nvSpPr>
          <p:spPr bwMode="hidden">
            <a:xfrm>
              <a:off x="3322" y="1341"/>
              <a:ext cx="1825" cy="1537"/>
            </a:xfrm>
            <a:custGeom>
              <a:avLst/>
              <a:gdLst/>
              <a:ahLst/>
              <a:cxnLst>
                <a:cxn ang="0">
                  <a:pos x="982" y="1061"/>
                </a:cxn>
                <a:cxn ang="0">
                  <a:pos x="1357" y="1012"/>
                </a:cxn>
                <a:cxn ang="0">
                  <a:pos x="1666" y="957"/>
                </a:cxn>
                <a:cxn ang="0">
                  <a:pos x="1916" y="897"/>
                </a:cxn>
                <a:cxn ang="0">
                  <a:pos x="2100" y="832"/>
                </a:cxn>
                <a:cxn ang="0">
                  <a:pos x="2220" y="756"/>
                </a:cxn>
                <a:cxn ang="0">
                  <a:pos x="2285" y="669"/>
                </a:cxn>
                <a:cxn ang="0">
                  <a:pos x="2290" y="560"/>
                </a:cxn>
                <a:cxn ang="0">
                  <a:pos x="2241" y="457"/>
                </a:cxn>
                <a:cxn ang="0">
                  <a:pos x="2144" y="364"/>
                </a:cxn>
                <a:cxn ang="0">
                  <a:pos x="2008" y="277"/>
                </a:cxn>
                <a:cxn ang="0">
                  <a:pos x="1769" y="157"/>
                </a:cxn>
                <a:cxn ang="0">
                  <a:pos x="1612" y="92"/>
                </a:cxn>
                <a:cxn ang="0">
                  <a:pos x="1476" y="43"/>
                </a:cxn>
                <a:cxn ang="0">
                  <a:pos x="1384" y="10"/>
                </a:cxn>
                <a:cxn ang="0">
                  <a:pos x="1346" y="0"/>
                </a:cxn>
                <a:cxn ang="0">
                  <a:pos x="1655" y="119"/>
                </a:cxn>
                <a:cxn ang="0">
                  <a:pos x="1948" y="255"/>
                </a:cxn>
                <a:cxn ang="0">
                  <a:pos x="2068" y="326"/>
                </a:cxn>
                <a:cxn ang="0">
                  <a:pos x="2171" y="402"/>
                </a:cxn>
                <a:cxn ang="0">
                  <a:pos x="2236" y="478"/>
                </a:cxn>
                <a:cxn ang="0">
                  <a:pos x="2263" y="560"/>
                </a:cxn>
                <a:cxn ang="0">
                  <a:pos x="2241" y="636"/>
                </a:cxn>
                <a:cxn ang="0">
                  <a:pos x="2171" y="702"/>
                </a:cxn>
                <a:cxn ang="0">
                  <a:pos x="2062" y="756"/>
                </a:cxn>
                <a:cxn ang="0">
                  <a:pos x="1921" y="800"/>
                </a:cxn>
                <a:cxn ang="0">
                  <a:pos x="1748" y="843"/>
                </a:cxn>
                <a:cxn ang="0">
                  <a:pos x="1351" y="908"/>
                </a:cxn>
                <a:cxn ang="0">
                  <a:pos x="923" y="968"/>
                </a:cxn>
                <a:cxn ang="0">
                  <a:pos x="521" y="1028"/>
                </a:cxn>
                <a:cxn ang="0">
                  <a:pos x="353" y="1066"/>
                </a:cxn>
                <a:cxn ang="0">
                  <a:pos x="206" y="1104"/>
                </a:cxn>
                <a:cxn ang="0">
                  <a:pos x="92" y="1148"/>
                </a:cxn>
                <a:cxn ang="0">
                  <a:pos x="22" y="1202"/>
                </a:cxn>
                <a:cxn ang="0">
                  <a:pos x="0" y="1262"/>
                </a:cxn>
                <a:cxn ang="0">
                  <a:pos x="27" y="1327"/>
                </a:cxn>
                <a:cxn ang="0">
                  <a:pos x="98" y="1382"/>
                </a:cxn>
                <a:cxn ang="0">
                  <a:pos x="196" y="1425"/>
                </a:cxn>
                <a:cxn ang="0">
                  <a:pos x="326" y="1469"/>
                </a:cxn>
                <a:cxn ang="0">
                  <a:pos x="217" y="1414"/>
                </a:cxn>
                <a:cxn ang="0">
                  <a:pos x="147" y="1360"/>
                </a:cxn>
                <a:cxn ang="0">
                  <a:pos x="120" y="1306"/>
                </a:cxn>
                <a:cxn ang="0">
                  <a:pos x="141" y="1257"/>
                </a:cxn>
                <a:cxn ang="0">
                  <a:pos x="212" y="1208"/>
                </a:cxn>
                <a:cxn ang="0">
                  <a:pos x="342" y="1164"/>
                </a:cxn>
                <a:cxn ang="0">
                  <a:pos x="527" y="1121"/>
                </a:cxn>
                <a:cxn ang="0">
                  <a:pos x="771" y="1088"/>
                </a:cxn>
              </a:cxnLst>
              <a:rect l="0" t="0" r="r" b="b"/>
              <a:pathLst>
                <a:path w="2296" h="1469">
                  <a:moveTo>
                    <a:pt x="771" y="1088"/>
                  </a:moveTo>
                  <a:lnTo>
                    <a:pt x="982" y="1061"/>
                  </a:lnTo>
                  <a:lnTo>
                    <a:pt x="1178" y="1034"/>
                  </a:lnTo>
                  <a:lnTo>
                    <a:pt x="1357" y="1012"/>
                  </a:lnTo>
                  <a:lnTo>
                    <a:pt x="1520" y="985"/>
                  </a:lnTo>
                  <a:lnTo>
                    <a:pt x="1666" y="957"/>
                  </a:lnTo>
                  <a:lnTo>
                    <a:pt x="1796" y="930"/>
                  </a:lnTo>
                  <a:lnTo>
                    <a:pt x="1916" y="897"/>
                  </a:lnTo>
                  <a:lnTo>
                    <a:pt x="2013" y="870"/>
                  </a:lnTo>
                  <a:lnTo>
                    <a:pt x="2100" y="832"/>
                  </a:lnTo>
                  <a:lnTo>
                    <a:pt x="2171" y="800"/>
                  </a:lnTo>
                  <a:lnTo>
                    <a:pt x="2220" y="756"/>
                  </a:lnTo>
                  <a:lnTo>
                    <a:pt x="2263" y="712"/>
                  </a:lnTo>
                  <a:lnTo>
                    <a:pt x="2285" y="669"/>
                  </a:lnTo>
                  <a:lnTo>
                    <a:pt x="2296" y="614"/>
                  </a:lnTo>
                  <a:lnTo>
                    <a:pt x="2290" y="560"/>
                  </a:lnTo>
                  <a:lnTo>
                    <a:pt x="2269" y="500"/>
                  </a:lnTo>
                  <a:lnTo>
                    <a:pt x="2241" y="457"/>
                  </a:lnTo>
                  <a:lnTo>
                    <a:pt x="2198" y="408"/>
                  </a:lnTo>
                  <a:lnTo>
                    <a:pt x="2144" y="364"/>
                  </a:lnTo>
                  <a:lnTo>
                    <a:pt x="2079" y="321"/>
                  </a:lnTo>
                  <a:lnTo>
                    <a:pt x="2008" y="277"/>
                  </a:lnTo>
                  <a:lnTo>
                    <a:pt x="1927" y="234"/>
                  </a:lnTo>
                  <a:lnTo>
                    <a:pt x="1769" y="157"/>
                  </a:lnTo>
                  <a:lnTo>
                    <a:pt x="1688" y="125"/>
                  </a:lnTo>
                  <a:lnTo>
                    <a:pt x="1612" y="92"/>
                  </a:lnTo>
                  <a:lnTo>
                    <a:pt x="1536" y="65"/>
                  </a:lnTo>
                  <a:lnTo>
                    <a:pt x="1476" y="43"/>
                  </a:lnTo>
                  <a:lnTo>
                    <a:pt x="1422" y="27"/>
                  </a:lnTo>
                  <a:lnTo>
                    <a:pt x="1384" y="10"/>
                  </a:lnTo>
                  <a:lnTo>
                    <a:pt x="1357" y="5"/>
                  </a:lnTo>
                  <a:lnTo>
                    <a:pt x="1346" y="0"/>
                  </a:lnTo>
                  <a:lnTo>
                    <a:pt x="1498" y="54"/>
                  </a:lnTo>
                  <a:lnTo>
                    <a:pt x="1655" y="119"/>
                  </a:lnTo>
                  <a:lnTo>
                    <a:pt x="1807" y="185"/>
                  </a:lnTo>
                  <a:lnTo>
                    <a:pt x="1948" y="255"/>
                  </a:lnTo>
                  <a:lnTo>
                    <a:pt x="2013" y="288"/>
                  </a:lnTo>
                  <a:lnTo>
                    <a:pt x="2068" y="326"/>
                  </a:lnTo>
                  <a:lnTo>
                    <a:pt x="2122" y="364"/>
                  </a:lnTo>
                  <a:lnTo>
                    <a:pt x="2171" y="402"/>
                  </a:lnTo>
                  <a:lnTo>
                    <a:pt x="2209" y="440"/>
                  </a:lnTo>
                  <a:lnTo>
                    <a:pt x="2236" y="478"/>
                  </a:lnTo>
                  <a:lnTo>
                    <a:pt x="2252" y="522"/>
                  </a:lnTo>
                  <a:lnTo>
                    <a:pt x="2263" y="560"/>
                  </a:lnTo>
                  <a:lnTo>
                    <a:pt x="2258" y="598"/>
                  </a:lnTo>
                  <a:lnTo>
                    <a:pt x="2241" y="636"/>
                  </a:lnTo>
                  <a:lnTo>
                    <a:pt x="2214" y="669"/>
                  </a:lnTo>
                  <a:lnTo>
                    <a:pt x="2171" y="702"/>
                  </a:lnTo>
                  <a:lnTo>
                    <a:pt x="2122" y="729"/>
                  </a:lnTo>
                  <a:lnTo>
                    <a:pt x="2062" y="756"/>
                  </a:lnTo>
                  <a:lnTo>
                    <a:pt x="1997" y="778"/>
                  </a:lnTo>
                  <a:lnTo>
                    <a:pt x="1921" y="800"/>
                  </a:lnTo>
                  <a:lnTo>
                    <a:pt x="1834" y="821"/>
                  </a:lnTo>
                  <a:lnTo>
                    <a:pt x="1748" y="843"/>
                  </a:lnTo>
                  <a:lnTo>
                    <a:pt x="1552" y="876"/>
                  </a:lnTo>
                  <a:lnTo>
                    <a:pt x="1351" y="908"/>
                  </a:lnTo>
                  <a:lnTo>
                    <a:pt x="1134" y="941"/>
                  </a:lnTo>
                  <a:lnTo>
                    <a:pt x="923" y="968"/>
                  </a:lnTo>
                  <a:lnTo>
                    <a:pt x="716" y="995"/>
                  </a:lnTo>
                  <a:lnTo>
                    <a:pt x="521" y="1028"/>
                  </a:lnTo>
                  <a:lnTo>
                    <a:pt x="434" y="1044"/>
                  </a:lnTo>
                  <a:lnTo>
                    <a:pt x="353" y="1066"/>
                  </a:lnTo>
                  <a:lnTo>
                    <a:pt x="277" y="1082"/>
                  </a:lnTo>
                  <a:lnTo>
                    <a:pt x="206" y="1104"/>
                  </a:lnTo>
                  <a:lnTo>
                    <a:pt x="147" y="1126"/>
                  </a:lnTo>
                  <a:lnTo>
                    <a:pt x="92" y="1148"/>
                  </a:lnTo>
                  <a:lnTo>
                    <a:pt x="54" y="1175"/>
                  </a:lnTo>
                  <a:lnTo>
                    <a:pt x="22" y="1202"/>
                  </a:lnTo>
                  <a:lnTo>
                    <a:pt x="6" y="1229"/>
                  </a:lnTo>
                  <a:lnTo>
                    <a:pt x="0" y="1262"/>
                  </a:lnTo>
                  <a:lnTo>
                    <a:pt x="11" y="1295"/>
                  </a:lnTo>
                  <a:lnTo>
                    <a:pt x="27" y="1327"/>
                  </a:lnTo>
                  <a:lnTo>
                    <a:pt x="54" y="1355"/>
                  </a:lnTo>
                  <a:lnTo>
                    <a:pt x="98" y="1382"/>
                  </a:lnTo>
                  <a:lnTo>
                    <a:pt x="141" y="1404"/>
                  </a:lnTo>
                  <a:lnTo>
                    <a:pt x="196" y="1425"/>
                  </a:lnTo>
                  <a:lnTo>
                    <a:pt x="261" y="1447"/>
                  </a:lnTo>
                  <a:lnTo>
                    <a:pt x="326" y="1469"/>
                  </a:lnTo>
                  <a:lnTo>
                    <a:pt x="266" y="1442"/>
                  </a:lnTo>
                  <a:lnTo>
                    <a:pt x="217" y="1414"/>
                  </a:lnTo>
                  <a:lnTo>
                    <a:pt x="174" y="1387"/>
                  </a:lnTo>
                  <a:lnTo>
                    <a:pt x="147" y="1360"/>
                  </a:lnTo>
                  <a:lnTo>
                    <a:pt x="125" y="1333"/>
                  </a:lnTo>
                  <a:lnTo>
                    <a:pt x="120" y="1306"/>
                  </a:lnTo>
                  <a:lnTo>
                    <a:pt x="125" y="1278"/>
                  </a:lnTo>
                  <a:lnTo>
                    <a:pt x="141" y="1257"/>
                  </a:lnTo>
                  <a:lnTo>
                    <a:pt x="174" y="1229"/>
                  </a:lnTo>
                  <a:lnTo>
                    <a:pt x="212" y="1208"/>
                  </a:lnTo>
                  <a:lnTo>
                    <a:pt x="272" y="1186"/>
                  </a:lnTo>
                  <a:lnTo>
                    <a:pt x="342" y="1164"/>
                  </a:lnTo>
                  <a:lnTo>
                    <a:pt x="423" y="1142"/>
                  </a:lnTo>
                  <a:lnTo>
                    <a:pt x="527" y="1121"/>
                  </a:lnTo>
                  <a:lnTo>
                    <a:pt x="641" y="1104"/>
                  </a:lnTo>
                  <a:lnTo>
                    <a:pt x="771" y="1088"/>
                  </a:lnTo>
                  <a:lnTo>
                    <a:pt x="771" y="1088"/>
                  </a:lnTo>
                  <a:close/>
                </a:path>
              </a:pathLst>
            </a:custGeom>
            <a:gradFill rotWithShape="0">
              <a:gsLst>
                <a:gs pos="0">
                  <a:schemeClr val="bg1">
                    <a:gamma/>
                    <a:shade val="84706"/>
                    <a:invGamma/>
                  </a:schemeClr>
                </a:gs>
                <a:gs pos="100000">
                  <a:schemeClr val="bg1"/>
                </a:gs>
              </a:gsLst>
              <a:lin ang="2700000" scaled="1"/>
            </a:gradFill>
            <a:ln w="9525">
              <a:noFill/>
              <a:round/>
              <a:headEnd/>
              <a:tailEnd/>
            </a:ln>
          </p:spPr>
          <p:txBody>
            <a:bodyPr/>
            <a:lstStyle/>
            <a:p>
              <a:pPr eaLnBrk="0" hangingPunct="0">
                <a:defRPr/>
              </a:pPr>
              <a:endParaRPr lang="en-US" sz="1800">
                <a:solidFill>
                  <a:srgbClr val="FFFFFF"/>
                </a:solidFill>
                <a:latin typeface="+mn-lt"/>
                <a:cs typeface="+mn-cs"/>
              </a:endParaRPr>
            </a:p>
          </p:txBody>
        </p:sp>
        <p:sp>
          <p:nvSpPr>
            <p:cNvPr id="7" name="Freeform 12">
              <a:extLst>
                <a:ext uri="{FF2B5EF4-FFF2-40B4-BE49-F238E27FC236}">
                  <a16:creationId xmlns:a16="http://schemas.microsoft.com/office/drawing/2014/main" id="{C5A0702B-CFC1-4A53-A204-BF068D9B3B15}"/>
                </a:ext>
              </a:extLst>
            </p:cNvPr>
            <p:cNvSpPr>
              <a:spLocks/>
            </p:cNvSpPr>
            <p:nvPr/>
          </p:nvSpPr>
          <p:spPr bwMode="hidden">
            <a:xfrm>
              <a:off x="0" y="0"/>
              <a:ext cx="5758" cy="1776"/>
            </a:xfrm>
            <a:custGeom>
              <a:avLst/>
              <a:gdLst>
                <a:gd name="T0" fmla="*/ 0 w 5740"/>
                <a:gd name="T1" fmla="*/ 0 h 1906"/>
                <a:gd name="T2" fmla="*/ 0 w 5740"/>
                <a:gd name="T3" fmla="*/ 1776 h 1906"/>
                <a:gd name="T4" fmla="*/ 5758 w 5740"/>
                <a:gd name="T5" fmla="*/ 1776 h 1906"/>
                <a:gd name="T6" fmla="*/ 5758 w 5740"/>
                <a:gd name="T7" fmla="*/ 0 h 1906"/>
                <a:gd name="T8" fmla="*/ 0 w 5740"/>
                <a:gd name="T9" fmla="*/ 0 h 1906"/>
                <a:gd name="T10" fmla="*/ 0 w 5740"/>
                <a:gd name="T11" fmla="*/ 0 h 190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5740" h="1906">
                  <a:moveTo>
                    <a:pt x="0" y="0"/>
                  </a:moveTo>
                  <a:lnTo>
                    <a:pt x="0" y="1906"/>
                  </a:lnTo>
                  <a:lnTo>
                    <a:pt x="5740" y="1906"/>
                  </a:lnTo>
                  <a:lnTo>
                    <a:pt x="5740" y="0"/>
                  </a:lnTo>
                  <a:lnTo>
                    <a:pt x="0" y="0"/>
                  </a:lnTo>
                  <a:close/>
                </a:path>
              </a:pathLst>
            </a:custGeom>
            <a:gradFill rotWithShape="0">
              <a:gsLst>
                <a:gs pos="0">
                  <a:schemeClr val="bg2"/>
                </a:gs>
                <a:gs pos="100000">
                  <a:schemeClr val="bg1"/>
                </a:gs>
              </a:gsLst>
              <a:lin ang="54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800"/>
            </a:p>
          </p:txBody>
        </p:sp>
      </p:grpSp>
      <p:sp>
        <p:nvSpPr>
          <p:cNvPr id="13" name="Text Box 16">
            <a:extLst>
              <a:ext uri="{FF2B5EF4-FFF2-40B4-BE49-F238E27FC236}">
                <a16:creationId xmlns:a16="http://schemas.microsoft.com/office/drawing/2014/main" id="{6872C4AE-0BE3-417C-B597-5775B2FC2450}"/>
              </a:ext>
            </a:extLst>
          </p:cNvPr>
          <p:cNvSpPr txBox="1">
            <a:spLocks noChangeArrowheads="1"/>
          </p:cNvSpPr>
          <p:nvPr/>
        </p:nvSpPr>
        <p:spPr bwMode="auto">
          <a:xfrm>
            <a:off x="11074400" y="304801"/>
            <a:ext cx="711200"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pPr eaLnBrk="0" hangingPunct="0">
              <a:spcBef>
                <a:spcPct val="50000"/>
              </a:spcBef>
              <a:defRPr/>
            </a:pPr>
            <a:endParaRPr lang="en-US" altLang="en-US" sz="1800">
              <a:solidFill>
                <a:srgbClr val="FFFFFF"/>
              </a:solidFill>
              <a:latin typeface="Garamond" pitchFamily="18" charset="0"/>
            </a:endParaRPr>
          </a:p>
        </p:txBody>
      </p:sp>
      <p:sp>
        <p:nvSpPr>
          <p:cNvPr id="14" name="Text Box 17">
            <a:extLst>
              <a:ext uri="{FF2B5EF4-FFF2-40B4-BE49-F238E27FC236}">
                <a16:creationId xmlns:a16="http://schemas.microsoft.com/office/drawing/2014/main" id="{A532C464-43B0-488E-82D4-402C686A795A}"/>
              </a:ext>
            </a:extLst>
          </p:cNvPr>
          <p:cNvSpPr txBox="1">
            <a:spLocks noChangeArrowheads="1"/>
          </p:cNvSpPr>
          <p:nvPr/>
        </p:nvSpPr>
        <p:spPr bwMode="auto">
          <a:xfrm>
            <a:off x="11582400" y="228601"/>
            <a:ext cx="609600"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Calibri" panose="020F0502020204030204" pitchFamily="34" charset="0"/>
                <a:cs typeface="Arial" panose="020B0604020202020204" pitchFamily="34" charset="0"/>
              </a:defRPr>
            </a:lvl1pPr>
            <a:lvl2pPr marL="742950" indent="-285750" eaLnBrk="0" hangingPunct="0">
              <a:defRPr>
                <a:solidFill>
                  <a:schemeClr val="tx1"/>
                </a:solidFill>
                <a:latin typeface="Calibri" panose="020F0502020204030204" pitchFamily="34" charset="0"/>
                <a:cs typeface="Arial" panose="020B0604020202020204" pitchFamily="34" charset="0"/>
              </a:defRPr>
            </a:lvl2pPr>
            <a:lvl3pPr marL="1143000" indent="-228600" eaLnBrk="0" hangingPunct="0">
              <a:defRPr>
                <a:solidFill>
                  <a:schemeClr val="tx1"/>
                </a:solidFill>
                <a:latin typeface="Calibri" panose="020F0502020204030204" pitchFamily="34" charset="0"/>
                <a:cs typeface="Arial" panose="020B0604020202020204" pitchFamily="34" charset="0"/>
              </a:defRPr>
            </a:lvl3pPr>
            <a:lvl4pPr marL="1600200" indent="-228600" eaLnBrk="0" hangingPunct="0">
              <a:defRPr>
                <a:solidFill>
                  <a:schemeClr val="tx1"/>
                </a:solidFill>
                <a:latin typeface="Calibri" panose="020F0502020204030204" pitchFamily="34" charset="0"/>
                <a:cs typeface="Arial" panose="020B0604020202020204" pitchFamily="34" charset="0"/>
              </a:defRPr>
            </a:lvl4pPr>
            <a:lvl5pPr marL="2057400" indent="-228600" eaLnBrk="0" hangingPunct="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spcBef>
                <a:spcPct val="50000"/>
              </a:spcBef>
            </a:pPr>
            <a:fld id="{EDE8A447-D5C0-44AC-96FB-A1D99BD8C8C7}" type="slidenum">
              <a:rPr lang="en-US" altLang="en-US" sz="1800">
                <a:solidFill>
                  <a:srgbClr val="FFFFFF"/>
                </a:solidFill>
                <a:latin typeface="Garamond" panose="02020404030301010803" pitchFamily="18" charset="0"/>
              </a:rPr>
              <a:pPr>
                <a:spcBef>
                  <a:spcPct val="50000"/>
                </a:spcBef>
              </a:pPr>
              <a:t>‹#›</a:t>
            </a:fld>
            <a:endParaRPr lang="en-US" altLang="en-US" sz="1800">
              <a:solidFill>
                <a:srgbClr val="FFFFFF"/>
              </a:solidFill>
              <a:latin typeface="Garamond" panose="02020404030301010803" pitchFamily="18" charset="0"/>
            </a:endParaRPr>
          </a:p>
        </p:txBody>
      </p:sp>
      <p:graphicFrame>
        <p:nvGraphicFramePr>
          <p:cNvPr id="15" name="Object 18">
            <a:extLst>
              <a:ext uri="{FF2B5EF4-FFF2-40B4-BE49-F238E27FC236}">
                <a16:creationId xmlns:a16="http://schemas.microsoft.com/office/drawing/2014/main" id="{C6186B8B-C02A-4B38-BEA6-E0A06C34C4FE}"/>
              </a:ext>
            </a:extLst>
          </p:cNvPr>
          <p:cNvGraphicFramePr>
            <a:graphicFrameLocks noChangeAspect="1"/>
          </p:cNvGraphicFramePr>
          <p:nvPr/>
        </p:nvGraphicFramePr>
        <p:xfrm>
          <a:off x="9652000" y="5918200"/>
          <a:ext cx="2540000" cy="939800"/>
        </p:xfrm>
        <a:graphic>
          <a:graphicData uri="http://schemas.openxmlformats.org/presentationml/2006/ole">
            <mc:AlternateContent xmlns:mc="http://schemas.openxmlformats.org/markup-compatibility/2006">
              <mc:Choice xmlns:v="urn:schemas-microsoft-com:vml" Requires="v">
                <p:oleObj spid="_x0000_s15363" name="Bitmap Image" r:id="rId3" imgW="2142857" imgH="1057423" progId="Paint.Picture">
                  <p:embed/>
                </p:oleObj>
              </mc:Choice>
              <mc:Fallback>
                <p:oleObj name="Bitmap Image" r:id="rId3" imgW="2142857" imgH="1057423" progId="Paint.Picture">
                  <p:embed/>
                  <p:pic>
                    <p:nvPicPr>
                      <p:cNvPr id="15" name="Object 18">
                        <a:extLst>
                          <a:ext uri="{FF2B5EF4-FFF2-40B4-BE49-F238E27FC236}">
                            <a16:creationId xmlns:a16="http://schemas.microsoft.com/office/drawing/2014/main" id="{C6186B8B-C02A-4B38-BEA6-E0A06C34C4F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652000" y="5918200"/>
                        <a:ext cx="2540000" cy="939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2" name="Title 1"/>
          <p:cNvSpPr>
            <a:spLocks noGrp="1"/>
          </p:cNvSpPr>
          <p:nvPr>
            <p:ph type="title"/>
          </p:nvPr>
        </p:nvSpPr>
        <p:spPr>
          <a:xfrm>
            <a:off x="609600" y="274638"/>
            <a:ext cx="10972800" cy="1143000"/>
          </a:xfrm>
        </p:spPr>
        <p:txBody>
          <a:bodyPr/>
          <a:lstStyle/>
          <a:p>
            <a:r>
              <a:rPr lang="en-US"/>
              <a:t>Click to edit Master title style</a:t>
            </a:r>
          </a:p>
        </p:txBody>
      </p:sp>
      <p:sp>
        <p:nvSpPr>
          <p:cNvPr id="3" name="Chart Placeholder 2"/>
          <p:cNvSpPr>
            <a:spLocks noGrp="1"/>
          </p:cNvSpPr>
          <p:nvPr>
            <p:ph type="chart" idx="1"/>
          </p:nvPr>
        </p:nvSpPr>
        <p:spPr>
          <a:xfrm>
            <a:off x="609600" y="1600201"/>
            <a:ext cx="10972800" cy="4525963"/>
          </a:xfrm>
        </p:spPr>
        <p:txBody>
          <a:bodyPr/>
          <a:lstStyle/>
          <a:p>
            <a:pPr lvl="0"/>
            <a:r>
              <a:rPr lang="en-US" noProof="0"/>
              <a:t>Click icon to add chart</a:t>
            </a:r>
          </a:p>
        </p:txBody>
      </p:sp>
      <p:sp>
        <p:nvSpPr>
          <p:cNvPr id="16" name="Rectangle 2">
            <a:extLst>
              <a:ext uri="{FF2B5EF4-FFF2-40B4-BE49-F238E27FC236}">
                <a16:creationId xmlns:a16="http://schemas.microsoft.com/office/drawing/2014/main" id="{5D14D9C0-B119-426F-A4DC-0FBAB37D41EC}"/>
              </a:ext>
            </a:extLst>
          </p:cNvPr>
          <p:cNvSpPr>
            <a:spLocks noGrp="1" noChangeArrowheads="1"/>
          </p:cNvSpPr>
          <p:nvPr>
            <p:ph type="dt" sz="half" idx="10"/>
          </p:nvPr>
        </p:nvSpPr>
        <p:spPr/>
        <p:txBody>
          <a:bodyPr/>
          <a:lstStyle>
            <a:lvl1pPr fontAlgn="auto">
              <a:spcBef>
                <a:spcPts val="0"/>
              </a:spcBef>
              <a:spcAft>
                <a:spcPts val="0"/>
              </a:spcAft>
              <a:defRPr/>
            </a:lvl1pPr>
          </a:lstStyle>
          <a:p>
            <a:pPr>
              <a:defRPr/>
            </a:pPr>
            <a:endParaRPr lang="en-US"/>
          </a:p>
        </p:txBody>
      </p:sp>
      <p:sp>
        <p:nvSpPr>
          <p:cNvPr id="17" name="Rectangle 3">
            <a:extLst>
              <a:ext uri="{FF2B5EF4-FFF2-40B4-BE49-F238E27FC236}">
                <a16:creationId xmlns:a16="http://schemas.microsoft.com/office/drawing/2014/main" id="{DBD2B8C1-CBD8-49F9-8BD1-AE5A8BBD5EEC}"/>
              </a:ext>
            </a:extLst>
          </p:cNvPr>
          <p:cNvSpPr>
            <a:spLocks noGrp="1" noChangeArrowheads="1"/>
          </p:cNvSpPr>
          <p:nvPr>
            <p:ph type="sldNum" sz="quarter" idx="11"/>
          </p:nvPr>
        </p:nvSpPr>
        <p:spPr/>
        <p:txBody>
          <a:bodyPr/>
          <a:lstStyle>
            <a:lvl1pPr>
              <a:defRPr/>
            </a:lvl1pPr>
          </a:lstStyle>
          <a:p>
            <a:fld id="{2CFBFDDC-1A96-44D6-9227-F1599D71B329}" type="slidenum">
              <a:rPr lang="en-US" altLang="en-US"/>
              <a:pPr/>
              <a:t>‹#›</a:t>
            </a:fld>
            <a:endParaRPr lang="en-US" altLang="en-US"/>
          </a:p>
        </p:txBody>
      </p:sp>
      <p:sp>
        <p:nvSpPr>
          <p:cNvPr id="18" name="Rectangle 14">
            <a:extLst>
              <a:ext uri="{FF2B5EF4-FFF2-40B4-BE49-F238E27FC236}">
                <a16:creationId xmlns:a16="http://schemas.microsoft.com/office/drawing/2014/main" id="{219B221A-EF04-491A-A2DB-99A48824B2B9}"/>
              </a:ext>
            </a:extLst>
          </p:cNvPr>
          <p:cNvSpPr>
            <a:spLocks noGrp="1" noChangeArrowheads="1"/>
          </p:cNvSpPr>
          <p:nvPr>
            <p:ph type="ftr" sz="quarter" idx="12"/>
          </p:nvPr>
        </p:nvSpPr>
        <p:spPr/>
        <p:txBody>
          <a:bodyPr/>
          <a:lstStyle>
            <a:lvl1pPr fontAlgn="auto">
              <a:spcBef>
                <a:spcPts val="0"/>
              </a:spcBef>
              <a:spcAft>
                <a:spcPts val="0"/>
              </a:spcAft>
              <a:defRPr/>
            </a:lvl1pPr>
          </a:lstStyle>
          <a:p>
            <a:pPr>
              <a:defRPr/>
            </a:pPr>
            <a:endParaRPr lang="en-US"/>
          </a:p>
        </p:txBody>
      </p:sp>
    </p:spTree>
    <p:extLst>
      <p:ext uri="{BB962C8B-B14F-4D97-AF65-F5344CB8AC3E}">
        <p14:creationId xmlns:p14="http://schemas.microsoft.com/office/powerpoint/2010/main" val="4138815210"/>
      </p:ext>
    </p:extLst>
  </p:cSld>
  <p:clrMapOvr>
    <a:masterClrMapping/>
  </p:clrMapOvr>
  <p:transition>
    <p:random/>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type="tbl" preserve="1">
  <p:cSld name="Title and Table">
    <p:spTree>
      <p:nvGrpSpPr>
        <p:cNvPr id="1" name=""/>
        <p:cNvGrpSpPr/>
        <p:nvPr/>
      </p:nvGrpSpPr>
      <p:grpSpPr>
        <a:xfrm>
          <a:off x="0" y="0"/>
          <a:ext cx="0" cy="0"/>
          <a:chOff x="0" y="0"/>
          <a:chExt cx="0" cy="0"/>
        </a:xfrm>
      </p:grpSpPr>
      <p:grpSp>
        <p:nvGrpSpPr>
          <p:cNvPr id="4" name="Group 4">
            <a:extLst>
              <a:ext uri="{FF2B5EF4-FFF2-40B4-BE49-F238E27FC236}">
                <a16:creationId xmlns:a16="http://schemas.microsoft.com/office/drawing/2014/main" id="{E843930E-60F8-4A1D-BD68-C16EAC046123}"/>
              </a:ext>
            </a:extLst>
          </p:cNvPr>
          <p:cNvGrpSpPr>
            <a:grpSpLocks/>
          </p:cNvGrpSpPr>
          <p:nvPr/>
        </p:nvGrpSpPr>
        <p:grpSpPr bwMode="auto">
          <a:xfrm>
            <a:off x="1" y="1"/>
            <a:ext cx="12187767" cy="6850063"/>
            <a:chOff x="0" y="0"/>
            <a:chExt cx="5758" cy="4315"/>
          </a:xfrm>
        </p:grpSpPr>
        <p:grpSp>
          <p:nvGrpSpPr>
            <p:cNvPr id="5" name="Group 5">
              <a:extLst>
                <a:ext uri="{FF2B5EF4-FFF2-40B4-BE49-F238E27FC236}">
                  <a16:creationId xmlns:a16="http://schemas.microsoft.com/office/drawing/2014/main" id="{290F99BB-5A4B-43A3-A0BA-63A951B142AA}"/>
                </a:ext>
              </a:extLst>
            </p:cNvPr>
            <p:cNvGrpSpPr>
              <a:grpSpLocks/>
            </p:cNvGrpSpPr>
            <p:nvPr userDrawn="1"/>
          </p:nvGrpSpPr>
          <p:grpSpPr bwMode="auto">
            <a:xfrm>
              <a:off x="1728" y="2230"/>
              <a:ext cx="4027" cy="2085"/>
              <a:chOff x="1728" y="2230"/>
              <a:chExt cx="4027" cy="2085"/>
            </a:xfrm>
          </p:grpSpPr>
          <p:sp>
            <p:nvSpPr>
              <p:cNvPr id="8" name="Freeform 6">
                <a:extLst>
                  <a:ext uri="{FF2B5EF4-FFF2-40B4-BE49-F238E27FC236}">
                    <a16:creationId xmlns:a16="http://schemas.microsoft.com/office/drawing/2014/main" id="{6A0B8CB5-E342-4CE4-BAB3-3F0FC018D844}"/>
                  </a:ext>
                </a:extLst>
              </p:cNvPr>
              <p:cNvSpPr>
                <a:spLocks/>
              </p:cNvSpPr>
              <p:nvPr/>
            </p:nvSpPr>
            <p:spPr bwMode="hidden">
              <a:xfrm>
                <a:off x="1728" y="2644"/>
                <a:ext cx="2882" cy="1671"/>
              </a:xfrm>
              <a:custGeom>
                <a:avLst/>
                <a:gdLst/>
                <a:ahLst/>
                <a:cxnLst>
                  <a:cxn ang="0">
                    <a:pos x="2740" y="528"/>
                  </a:cxn>
                  <a:cxn ang="0">
                    <a:pos x="2632" y="484"/>
                  </a:cxn>
                  <a:cxn ang="0">
                    <a:pos x="2480" y="424"/>
                  </a:cxn>
                  <a:cxn ang="0">
                    <a:pos x="2203" y="343"/>
                  </a:cxn>
                  <a:cxn ang="0">
                    <a:pos x="1970" y="277"/>
                  </a:cxn>
                  <a:cxn ang="0">
                    <a:pos x="1807" y="212"/>
                  </a:cxn>
                  <a:cxn ang="0">
                    <a:pos x="1693" y="152"/>
                  </a:cxn>
                  <a:cxn ang="0">
                    <a:pos x="1628" y="103"/>
                  </a:cxn>
                  <a:cxn ang="0">
                    <a:pos x="1590" y="60"/>
                  </a:cxn>
                  <a:cxn ang="0">
                    <a:pos x="1579" y="27"/>
                  </a:cxn>
                  <a:cxn ang="0">
                    <a:pos x="1585" y="0"/>
                  </a:cxn>
                  <a:cxn ang="0">
                    <a:pos x="1557" y="49"/>
                  </a:cxn>
                  <a:cxn ang="0">
                    <a:pos x="1568" y="98"/>
                  </a:cxn>
                  <a:cxn ang="0">
                    <a:pos x="1617" y="141"/>
                  </a:cxn>
                  <a:cxn ang="0">
                    <a:pos x="1688" y="185"/>
                  </a:cxn>
                  <a:cxn ang="0">
                    <a:pos x="1791" y="228"/>
                  </a:cxn>
                  <a:cxn ang="0">
                    <a:pos x="2040" y="310"/>
                  </a:cxn>
                  <a:cxn ang="0">
                    <a:pos x="2285" y="381"/>
                  </a:cxn>
                  <a:cxn ang="0">
                    <a:pos x="2464" y="435"/>
                  </a:cxn>
                  <a:cxn ang="0">
                    <a:pos x="2605" y="484"/>
                  </a:cxn>
                  <a:cxn ang="0">
                    <a:pos x="2708" y="528"/>
                  </a:cxn>
                  <a:cxn ang="0">
                    <a:pos x="2768" y="560"/>
                  </a:cxn>
                  <a:cxn ang="0">
                    <a:pos x="2795" y="593"/>
                  </a:cxn>
                  <a:cxn ang="0">
                    <a:pos x="2795" y="642"/>
                  </a:cxn>
                  <a:cxn ang="0">
                    <a:pos x="2762" y="691"/>
                  </a:cxn>
                  <a:cxn ang="0">
                    <a:pos x="2692" y="735"/>
                  </a:cxn>
                  <a:cxn ang="0">
                    <a:pos x="2589" y="778"/>
                  </a:cxn>
                  <a:cxn ang="0">
                    <a:pos x="2458" y="822"/>
                  </a:cxn>
                  <a:cxn ang="0">
                    <a:pos x="2301" y="865"/>
                  </a:cxn>
                  <a:cxn ang="0">
                    <a:pos x="2030" y="930"/>
                  </a:cxn>
                  <a:cxn ang="0">
                    <a:pos x="1606" y="1034"/>
                  </a:cxn>
                  <a:cxn ang="0">
                    <a:pos x="1145" y="1164"/>
                  </a:cxn>
                  <a:cxn ang="0">
                    <a:pos x="673" y="1328"/>
                  </a:cxn>
                  <a:cxn ang="0">
                    <a:pos x="217" y="1545"/>
                  </a:cxn>
                  <a:cxn ang="0">
                    <a:pos x="353" y="1671"/>
                  </a:cxn>
                  <a:cxn ang="0">
                    <a:pos x="754" y="1469"/>
                  </a:cxn>
                  <a:cxn ang="0">
                    <a:pos x="1145" y="1311"/>
                  </a:cxn>
                  <a:cxn ang="0">
                    <a:pos x="1519" y="1186"/>
                  </a:cxn>
                  <a:cxn ang="0">
                    <a:pos x="1861" y="1083"/>
                  </a:cxn>
                  <a:cxn ang="0">
                    <a:pos x="2165" y="1007"/>
                  </a:cxn>
                  <a:cxn ang="0">
                    <a:pos x="2426" y="947"/>
                  </a:cxn>
                  <a:cxn ang="0">
                    <a:pos x="2626" y="892"/>
                  </a:cxn>
                  <a:cxn ang="0">
                    <a:pos x="2762" y="838"/>
                  </a:cxn>
                  <a:cxn ang="0">
                    <a:pos x="2827" y="794"/>
                  </a:cxn>
                  <a:cxn ang="0">
                    <a:pos x="2865" y="745"/>
                  </a:cxn>
                  <a:cxn ang="0">
                    <a:pos x="2882" y="702"/>
                  </a:cxn>
                  <a:cxn ang="0">
                    <a:pos x="2854" y="620"/>
                  </a:cxn>
                  <a:cxn ang="0">
                    <a:pos x="2800" y="560"/>
                  </a:cxn>
                  <a:cxn ang="0">
                    <a:pos x="2773" y="544"/>
                  </a:cxn>
                </a:cxnLst>
                <a:rect l="0" t="0" r="r" b="b"/>
                <a:pathLst>
                  <a:path w="2882" h="1671">
                    <a:moveTo>
                      <a:pt x="2773" y="544"/>
                    </a:moveTo>
                    <a:lnTo>
                      <a:pt x="2740" y="528"/>
                    </a:lnTo>
                    <a:lnTo>
                      <a:pt x="2692" y="506"/>
                    </a:lnTo>
                    <a:lnTo>
                      <a:pt x="2632" y="484"/>
                    </a:lnTo>
                    <a:lnTo>
                      <a:pt x="2561" y="457"/>
                    </a:lnTo>
                    <a:lnTo>
                      <a:pt x="2480" y="424"/>
                    </a:lnTo>
                    <a:lnTo>
                      <a:pt x="2388" y="397"/>
                    </a:lnTo>
                    <a:lnTo>
                      <a:pt x="2203" y="343"/>
                    </a:lnTo>
                    <a:lnTo>
                      <a:pt x="2078" y="310"/>
                    </a:lnTo>
                    <a:lnTo>
                      <a:pt x="1970" y="277"/>
                    </a:lnTo>
                    <a:lnTo>
                      <a:pt x="1878" y="245"/>
                    </a:lnTo>
                    <a:lnTo>
                      <a:pt x="1807" y="212"/>
                    </a:lnTo>
                    <a:lnTo>
                      <a:pt x="1742" y="179"/>
                    </a:lnTo>
                    <a:lnTo>
                      <a:pt x="1693" y="152"/>
                    </a:lnTo>
                    <a:lnTo>
                      <a:pt x="1655" y="125"/>
                    </a:lnTo>
                    <a:lnTo>
                      <a:pt x="1628" y="103"/>
                    </a:lnTo>
                    <a:lnTo>
                      <a:pt x="1606" y="81"/>
                    </a:lnTo>
                    <a:lnTo>
                      <a:pt x="1590" y="60"/>
                    </a:lnTo>
                    <a:lnTo>
                      <a:pt x="1585" y="43"/>
                    </a:lnTo>
                    <a:lnTo>
                      <a:pt x="1579" y="27"/>
                    </a:lnTo>
                    <a:lnTo>
                      <a:pt x="1585" y="5"/>
                    </a:lnTo>
                    <a:lnTo>
                      <a:pt x="1585" y="0"/>
                    </a:lnTo>
                    <a:lnTo>
                      <a:pt x="1568" y="27"/>
                    </a:lnTo>
                    <a:lnTo>
                      <a:pt x="1557" y="49"/>
                    </a:lnTo>
                    <a:lnTo>
                      <a:pt x="1557" y="76"/>
                    </a:lnTo>
                    <a:lnTo>
                      <a:pt x="1568" y="98"/>
                    </a:lnTo>
                    <a:lnTo>
                      <a:pt x="1590" y="120"/>
                    </a:lnTo>
                    <a:lnTo>
                      <a:pt x="1617" y="141"/>
                    </a:lnTo>
                    <a:lnTo>
                      <a:pt x="1650" y="163"/>
                    </a:lnTo>
                    <a:lnTo>
                      <a:pt x="1688" y="185"/>
                    </a:lnTo>
                    <a:lnTo>
                      <a:pt x="1737" y="207"/>
                    </a:lnTo>
                    <a:lnTo>
                      <a:pt x="1791" y="228"/>
                    </a:lnTo>
                    <a:lnTo>
                      <a:pt x="1905" y="267"/>
                    </a:lnTo>
                    <a:lnTo>
                      <a:pt x="2040" y="310"/>
                    </a:lnTo>
                    <a:lnTo>
                      <a:pt x="2182" y="348"/>
                    </a:lnTo>
                    <a:lnTo>
                      <a:pt x="2285" y="381"/>
                    </a:lnTo>
                    <a:lnTo>
                      <a:pt x="2382" y="408"/>
                    </a:lnTo>
                    <a:lnTo>
                      <a:pt x="2464" y="435"/>
                    </a:lnTo>
                    <a:lnTo>
                      <a:pt x="2540" y="462"/>
                    </a:lnTo>
                    <a:lnTo>
                      <a:pt x="2605" y="484"/>
                    </a:lnTo>
                    <a:lnTo>
                      <a:pt x="2659" y="506"/>
                    </a:lnTo>
                    <a:lnTo>
                      <a:pt x="2708" y="528"/>
                    </a:lnTo>
                    <a:lnTo>
                      <a:pt x="2740" y="544"/>
                    </a:lnTo>
                    <a:lnTo>
                      <a:pt x="2768" y="560"/>
                    </a:lnTo>
                    <a:lnTo>
                      <a:pt x="2784" y="577"/>
                    </a:lnTo>
                    <a:lnTo>
                      <a:pt x="2795" y="593"/>
                    </a:lnTo>
                    <a:lnTo>
                      <a:pt x="2800" y="615"/>
                    </a:lnTo>
                    <a:lnTo>
                      <a:pt x="2795" y="642"/>
                    </a:lnTo>
                    <a:lnTo>
                      <a:pt x="2784" y="664"/>
                    </a:lnTo>
                    <a:lnTo>
                      <a:pt x="2762" y="691"/>
                    </a:lnTo>
                    <a:lnTo>
                      <a:pt x="2730" y="713"/>
                    </a:lnTo>
                    <a:lnTo>
                      <a:pt x="2692" y="735"/>
                    </a:lnTo>
                    <a:lnTo>
                      <a:pt x="2643" y="756"/>
                    </a:lnTo>
                    <a:lnTo>
                      <a:pt x="2589" y="778"/>
                    </a:lnTo>
                    <a:lnTo>
                      <a:pt x="2529" y="800"/>
                    </a:lnTo>
                    <a:lnTo>
                      <a:pt x="2458" y="822"/>
                    </a:lnTo>
                    <a:lnTo>
                      <a:pt x="2382" y="843"/>
                    </a:lnTo>
                    <a:lnTo>
                      <a:pt x="2301" y="865"/>
                    </a:lnTo>
                    <a:lnTo>
                      <a:pt x="2214" y="887"/>
                    </a:lnTo>
                    <a:lnTo>
                      <a:pt x="2030" y="930"/>
                    </a:lnTo>
                    <a:lnTo>
                      <a:pt x="1823" y="979"/>
                    </a:lnTo>
                    <a:lnTo>
                      <a:pt x="1606" y="1034"/>
                    </a:lnTo>
                    <a:lnTo>
                      <a:pt x="1378" y="1094"/>
                    </a:lnTo>
                    <a:lnTo>
                      <a:pt x="1145" y="1164"/>
                    </a:lnTo>
                    <a:lnTo>
                      <a:pt x="912" y="1241"/>
                    </a:lnTo>
                    <a:lnTo>
                      <a:pt x="673" y="1328"/>
                    </a:lnTo>
                    <a:lnTo>
                      <a:pt x="440" y="1431"/>
                    </a:lnTo>
                    <a:lnTo>
                      <a:pt x="217" y="1545"/>
                    </a:lnTo>
                    <a:lnTo>
                      <a:pt x="0" y="1671"/>
                    </a:lnTo>
                    <a:lnTo>
                      <a:pt x="353" y="1671"/>
                    </a:lnTo>
                    <a:lnTo>
                      <a:pt x="554" y="1567"/>
                    </a:lnTo>
                    <a:lnTo>
                      <a:pt x="754" y="1469"/>
                    </a:lnTo>
                    <a:lnTo>
                      <a:pt x="955" y="1388"/>
                    </a:lnTo>
                    <a:lnTo>
                      <a:pt x="1145" y="1311"/>
                    </a:lnTo>
                    <a:lnTo>
                      <a:pt x="1335" y="1241"/>
                    </a:lnTo>
                    <a:lnTo>
                      <a:pt x="1519" y="1186"/>
                    </a:lnTo>
                    <a:lnTo>
                      <a:pt x="1693" y="1132"/>
                    </a:lnTo>
                    <a:lnTo>
                      <a:pt x="1861" y="1083"/>
                    </a:lnTo>
                    <a:lnTo>
                      <a:pt x="2019" y="1045"/>
                    </a:lnTo>
                    <a:lnTo>
                      <a:pt x="2165" y="1007"/>
                    </a:lnTo>
                    <a:lnTo>
                      <a:pt x="2301" y="974"/>
                    </a:lnTo>
                    <a:lnTo>
                      <a:pt x="2426" y="947"/>
                    </a:lnTo>
                    <a:lnTo>
                      <a:pt x="2534" y="914"/>
                    </a:lnTo>
                    <a:lnTo>
                      <a:pt x="2626" y="892"/>
                    </a:lnTo>
                    <a:lnTo>
                      <a:pt x="2702" y="865"/>
                    </a:lnTo>
                    <a:lnTo>
                      <a:pt x="2762" y="838"/>
                    </a:lnTo>
                    <a:lnTo>
                      <a:pt x="2800" y="816"/>
                    </a:lnTo>
                    <a:lnTo>
                      <a:pt x="2827" y="794"/>
                    </a:lnTo>
                    <a:lnTo>
                      <a:pt x="2849" y="767"/>
                    </a:lnTo>
                    <a:lnTo>
                      <a:pt x="2865" y="745"/>
                    </a:lnTo>
                    <a:lnTo>
                      <a:pt x="2876" y="724"/>
                    </a:lnTo>
                    <a:lnTo>
                      <a:pt x="2882" y="702"/>
                    </a:lnTo>
                    <a:lnTo>
                      <a:pt x="2876" y="658"/>
                    </a:lnTo>
                    <a:lnTo>
                      <a:pt x="2854" y="620"/>
                    </a:lnTo>
                    <a:lnTo>
                      <a:pt x="2833" y="588"/>
                    </a:lnTo>
                    <a:lnTo>
                      <a:pt x="2800" y="560"/>
                    </a:lnTo>
                    <a:lnTo>
                      <a:pt x="2773" y="544"/>
                    </a:lnTo>
                    <a:lnTo>
                      <a:pt x="2773" y="544"/>
                    </a:lnTo>
                    <a:close/>
                  </a:path>
                </a:pathLst>
              </a:custGeom>
              <a:gradFill rotWithShape="0">
                <a:gsLst>
                  <a:gs pos="0">
                    <a:schemeClr val="bg1"/>
                  </a:gs>
                  <a:gs pos="100000">
                    <a:schemeClr val="bg1">
                      <a:gamma/>
                      <a:shade val="90980"/>
                      <a:invGamma/>
                    </a:schemeClr>
                  </a:gs>
                </a:gsLst>
                <a:lin ang="0" scaled="1"/>
              </a:gradFill>
              <a:ln w="9525">
                <a:noFill/>
                <a:round/>
                <a:headEnd/>
                <a:tailEnd/>
              </a:ln>
            </p:spPr>
            <p:txBody>
              <a:bodyPr/>
              <a:lstStyle/>
              <a:p>
                <a:pPr eaLnBrk="0" hangingPunct="0">
                  <a:defRPr/>
                </a:pPr>
                <a:endParaRPr lang="en-US" sz="1800">
                  <a:solidFill>
                    <a:srgbClr val="FFFFFF"/>
                  </a:solidFill>
                  <a:latin typeface="+mn-lt"/>
                  <a:cs typeface="+mn-cs"/>
                </a:endParaRPr>
              </a:p>
            </p:txBody>
          </p:sp>
          <p:sp>
            <p:nvSpPr>
              <p:cNvPr id="9" name="Freeform 7">
                <a:extLst>
                  <a:ext uri="{FF2B5EF4-FFF2-40B4-BE49-F238E27FC236}">
                    <a16:creationId xmlns:a16="http://schemas.microsoft.com/office/drawing/2014/main" id="{DB0A236D-D843-4774-85C6-30A19038E9FA}"/>
                  </a:ext>
                </a:extLst>
              </p:cNvPr>
              <p:cNvSpPr>
                <a:spLocks/>
              </p:cNvSpPr>
              <p:nvPr/>
            </p:nvSpPr>
            <p:spPr bwMode="hidden">
              <a:xfrm>
                <a:off x="4170" y="2671"/>
                <a:ext cx="1259" cy="811"/>
              </a:xfrm>
              <a:custGeom>
                <a:avLst/>
                <a:gdLst/>
                <a:ahLst/>
                <a:cxnLst>
                  <a:cxn ang="0">
                    <a:pos x="1259" y="615"/>
                  </a:cxn>
                  <a:cxn ang="0">
                    <a:pos x="1248" y="588"/>
                  </a:cxn>
                  <a:cxn ang="0">
                    <a:pos x="1237" y="566"/>
                  </a:cxn>
                  <a:cxn ang="0">
                    <a:pos x="1216" y="539"/>
                  </a:cxn>
                  <a:cxn ang="0">
                    <a:pos x="1188" y="517"/>
                  </a:cxn>
                  <a:cxn ang="0">
                    <a:pos x="1123" y="479"/>
                  </a:cxn>
                  <a:cxn ang="0">
                    <a:pos x="1042" y="441"/>
                  </a:cxn>
                  <a:cxn ang="0">
                    <a:pos x="944" y="408"/>
                  </a:cxn>
                  <a:cxn ang="0">
                    <a:pos x="841" y="381"/>
                  </a:cxn>
                  <a:cxn ang="0">
                    <a:pos x="727" y="348"/>
                  </a:cxn>
                  <a:cxn ang="0">
                    <a:pos x="613" y="321"/>
                  </a:cxn>
                  <a:cxn ang="0">
                    <a:pos x="499" y="294"/>
                  </a:cxn>
                  <a:cxn ang="0">
                    <a:pos x="391" y="261"/>
                  </a:cxn>
                  <a:cxn ang="0">
                    <a:pos x="288" y="229"/>
                  </a:cxn>
                  <a:cxn ang="0">
                    <a:pos x="195" y="196"/>
                  </a:cxn>
                  <a:cxn ang="0">
                    <a:pos x="119" y="152"/>
                  </a:cxn>
                  <a:cxn ang="0">
                    <a:pos x="54" y="109"/>
                  </a:cxn>
                  <a:cxn ang="0">
                    <a:pos x="33" y="87"/>
                  </a:cxn>
                  <a:cxn ang="0">
                    <a:pos x="16" y="60"/>
                  </a:cxn>
                  <a:cxn ang="0">
                    <a:pos x="5" y="33"/>
                  </a:cxn>
                  <a:cxn ang="0">
                    <a:pos x="0" y="0"/>
                  </a:cxn>
                  <a:cxn ang="0">
                    <a:pos x="0" y="6"/>
                  </a:cxn>
                  <a:cxn ang="0">
                    <a:pos x="0" y="11"/>
                  </a:cxn>
                  <a:cxn ang="0">
                    <a:pos x="0" y="38"/>
                  </a:cxn>
                  <a:cxn ang="0">
                    <a:pos x="5" y="60"/>
                  </a:cxn>
                  <a:cxn ang="0">
                    <a:pos x="16" y="87"/>
                  </a:cxn>
                  <a:cxn ang="0">
                    <a:pos x="33" y="114"/>
                  </a:cxn>
                  <a:cxn ang="0">
                    <a:pos x="54" y="142"/>
                  </a:cxn>
                  <a:cxn ang="0">
                    <a:pos x="87" y="174"/>
                  </a:cxn>
                  <a:cxn ang="0">
                    <a:pos x="125" y="207"/>
                  </a:cxn>
                  <a:cxn ang="0">
                    <a:pos x="179" y="240"/>
                  </a:cxn>
                  <a:cxn ang="0">
                    <a:pos x="244" y="278"/>
                  </a:cxn>
                  <a:cxn ang="0">
                    <a:pos x="326" y="310"/>
                  </a:cxn>
                  <a:cxn ang="0">
                    <a:pos x="418" y="348"/>
                  </a:cxn>
                  <a:cxn ang="0">
                    <a:pos x="526" y="381"/>
                  </a:cxn>
                  <a:cxn ang="0">
                    <a:pos x="657" y="414"/>
                  </a:cxn>
                  <a:cxn ang="0">
                    <a:pos x="749" y="435"/>
                  </a:cxn>
                  <a:cxn ang="0">
                    <a:pos x="830" y="463"/>
                  </a:cxn>
                  <a:cxn ang="0">
                    <a:pos x="901" y="490"/>
                  </a:cxn>
                  <a:cxn ang="0">
                    <a:pos x="966" y="512"/>
                  </a:cxn>
                  <a:cxn ang="0">
                    <a:pos x="1015" y="539"/>
                  </a:cxn>
                  <a:cxn ang="0">
                    <a:pos x="1053" y="566"/>
                  </a:cxn>
                  <a:cxn ang="0">
                    <a:pos x="1080" y="593"/>
                  </a:cxn>
                  <a:cxn ang="0">
                    <a:pos x="1102" y="620"/>
                  </a:cxn>
                  <a:cxn ang="0">
                    <a:pos x="1112" y="648"/>
                  </a:cxn>
                  <a:cxn ang="0">
                    <a:pos x="1118" y="675"/>
                  </a:cxn>
                  <a:cxn ang="0">
                    <a:pos x="1112" y="697"/>
                  </a:cxn>
                  <a:cxn ang="0">
                    <a:pos x="1096" y="724"/>
                  </a:cxn>
                  <a:cxn ang="0">
                    <a:pos x="1080" y="746"/>
                  </a:cxn>
                  <a:cxn ang="0">
                    <a:pos x="1053" y="767"/>
                  </a:cxn>
                  <a:cxn ang="0">
                    <a:pos x="1015" y="789"/>
                  </a:cxn>
                  <a:cxn ang="0">
                    <a:pos x="977" y="811"/>
                  </a:cxn>
                  <a:cxn ang="0">
                    <a:pos x="1047" y="789"/>
                  </a:cxn>
                  <a:cxn ang="0">
                    <a:pos x="1107" y="767"/>
                  </a:cxn>
                  <a:cxn ang="0">
                    <a:pos x="1156" y="746"/>
                  </a:cxn>
                  <a:cxn ang="0">
                    <a:pos x="1199" y="724"/>
                  </a:cxn>
                  <a:cxn ang="0">
                    <a:pos x="1226" y="702"/>
                  </a:cxn>
                  <a:cxn ang="0">
                    <a:pos x="1248" y="675"/>
                  </a:cxn>
                  <a:cxn ang="0">
                    <a:pos x="1259" y="648"/>
                  </a:cxn>
                  <a:cxn ang="0">
                    <a:pos x="1259" y="615"/>
                  </a:cxn>
                  <a:cxn ang="0">
                    <a:pos x="1259" y="615"/>
                  </a:cxn>
                </a:cxnLst>
                <a:rect l="0" t="0" r="r" b="b"/>
                <a:pathLst>
                  <a:path w="1259" h="811">
                    <a:moveTo>
                      <a:pt x="1259" y="615"/>
                    </a:moveTo>
                    <a:lnTo>
                      <a:pt x="1248" y="588"/>
                    </a:lnTo>
                    <a:lnTo>
                      <a:pt x="1237" y="566"/>
                    </a:lnTo>
                    <a:lnTo>
                      <a:pt x="1216" y="539"/>
                    </a:lnTo>
                    <a:lnTo>
                      <a:pt x="1188" y="517"/>
                    </a:lnTo>
                    <a:lnTo>
                      <a:pt x="1123" y="479"/>
                    </a:lnTo>
                    <a:lnTo>
                      <a:pt x="1042" y="441"/>
                    </a:lnTo>
                    <a:lnTo>
                      <a:pt x="944" y="408"/>
                    </a:lnTo>
                    <a:lnTo>
                      <a:pt x="841" y="381"/>
                    </a:lnTo>
                    <a:lnTo>
                      <a:pt x="727" y="348"/>
                    </a:lnTo>
                    <a:lnTo>
                      <a:pt x="613" y="321"/>
                    </a:lnTo>
                    <a:lnTo>
                      <a:pt x="499" y="294"/>
                    </a:lnTo>
                    <a:lnTo>
                      <a:pt x="391" y="261"/>
                    </a:lnTo>
                    <a:lnTo>
                      <a:pt x="288" y="229"/>
                    </a:lnTo>
                    <a:lnTo>
                      <a:pt x="195" y="196"/>
                    </a:lnTo>
                    <a:lnTo>
                      <a:pt x="119" y="152"/>
                    </a:lnTo>
                    <a:lnTo>
                      <a:pt x="54" y="109"/>
                    </a:lnTo>
                    <a:lnTo>
                      <a:pt x="33" y="87"/>
                    </a:lnTo>
                    <a:lnTo>
                      <a:pt x="16" y="60"/>
                    </a:lnTo>
                    <a:lnTo>
                      <a:pt x="5" y="33"/>
                    </a:lnTo>
                    <a:lnTo>
                      <a:pt x="0" y="0"/>
                    </a:lnTo>
                    <a:lnTo>
                      <a:pt x="0" y="6"/>
                    </a:lnTo>
                    <a:lnTo>
                      <a:pt x="0" y="11"/>
                    </a:lnTo>
                    <a:lnTo>
                      <a:pt x="0" y="38"/>
                    </a:lnTo>
                    <a:lnTo>
                      <a:pt x="5" y="60"/>
                    </a:lnTo>
                    <a:lnTo>
                      <a:pt x="16" y="87"/>
                    </a:lnTo>
                    <a:lnTo>
                      <a:pt x="33" y="114"/>
                    </a:lnTo>
                    <a:lnTo>
                      <a:pt x="54" y="142"/>
                    </a:lnTo>
                    <a:lnTo>
                      <a:pt x="87" y="174"/>
                    </a:lnTo>
                    <a:lnTo>
                      <a:pt x="125" y="207"/>
                    </a:lnTo>
                    <a:lnTo>
                      <a:pt x="179" y="240"/>
                    </a:lnTo>
                    <a:lnTo>
                      <a:pt x="244" y="278"/>
                    </a:lnTo>
                    <a:lnTo>
                      <a:pt x="326" y="310"/>
                    </a:lnTo>
                    <a:lnTo>
                      <a:pt x="418" y="348"/>
                    </a:lnTo>
                    <a:lnTo>
                      <a:pt x="526" y="381"/>
                    </a:lnTo>
                    <a:lnTo>
                      <a:pt x="657" y="414"/>
                    </a:lnTo>
                    <a:lnTo>
                      <a:pt x="749" y="435"/>
                    </a:lnTo>
                    <a:lnTo>
                      <a:pt x="830" y="463"/>
                    </a:lnTo>
                    <a:lnTo>
                      <a:pt x="901" y="490"/>
                    </a:lnTo>
                    <a:lnTo>
                      <a:pt x="966" y="512"/>
                    </a:lnTo>
                    <a:lnTo>
                      <a:pt x="1015" y="539"/>
                    </a:lnTo>
                    <a:lnTo>
                      <a:pt x="1053" y="566"/>
                    </a:lnTo>
                    <a:lnTo>
                      <a:pt x="1080" y="593"/>
                    </a:lnTo>
                    <a:lnTo>
                      <a:pt x="1102" y="620"/>
                    </a:lnTo>
                    <a:lnTo>
                      <a:pt x="1112" y="648"/>
                    </a:lnTo>
                    <a:lnTo>
                      <a:pt x="1118" y="675"/>
                    </a:lnTo>
                    <a:lnTo>
                      <a:pt x="1112" y="697"/>
                    </a:lnTo>
                    <a:lnTo>
                      <a:pt x="1096" y="724"/>
                    </a:lnTo>
                    <a:lnTo>
                      <a:pt x="1080" y="746"/>
                    </a:lnTo>
                    <a:lnTo>
                      <a:pt x="1053" y="767"/>
                    </a:lnTo>
                    <a:lnTo>
                      <a:pt x="1015" y="789"/>
                    </a:lnTo>
                    <a:lnTo>
                      <a:pt x="977" y="811"/>
                    </a:lnTo>
                    <a:lnTo>
                      <a:pt x="1047" y="789"/>
                    </a:lnTo>
                    <a:lnTo>
                      <a:pt x="1107" y="767"/>
                    </a:lnTo>
                    <a:lnTo>
                      <a:pt x="1156" y="746"/>
                    </a:lnTo>
                    <a:lnTo>
                      <a:pt x="1199" y="724"/>
                    </a:lnTo>
                    <a:lnTo>
                      <a:pt x="1226" y="702"/>
                    </a:lnTo>
                    <a:lnTo>
                      <a:pt x="1248" y="675"/>
                    </a:lnTo>
                    <a:lnTo>
                      <a:pt x="1259" y="648"/>
                    </a:lnTo>
                    <a:lnTo>
                      <a:pt x="1259" y="615"/>
                    </a:lnTo>
                    <a:lnTo>
                      <a:pt x="1259" y="615"/>
                    </a:lnTo>
                    <a:close/>
                  </a:path>
                </a:pathLst>
              </a:custGeom>
              <a:gradFill rotWithShape="0">
                <a:gsLst>
                  <a:gs pos="0">
                    <a:schemeClr val="bg1"/>
                  </a:gs>
                  <a:gs pos="100000">
                    <a:schemeClr val="bg1">
                      <a:gamma/>
                      <a:shade val="90980"/>
                      <a:invGamma/>
                    </a:schemeClr>
                  </a:gs>
                </a:gsLst>
                <a:lin ang="2700000" scaled="1"/>
              </a:gradFill>
              <a:ln w="9525">
                <a:noFill/>
                <a:round/>
                <a:headEnd/>
                <a:tailEnd/>
              </a:ln>
            </p:spPr>
            <p:txBody>
              <a:bodyPr/>
              <a:lstStyle/>
              <a:p>
                <a:pPr eaLnBrk="0" hangingPunct="0">
                  <a:defRPr/>
                </a:pPr>
                <a:endParaRPr lang="en-US" sz="1800">
                  <a:solidFill>
                    <a:srgbClr val="FFFFFF"/>
                  </a:solidFill>
                  <a:latin typeface="+mn-lt"/>
                  <a:cs typeface="+mn-cs"/>
                </a:endParaRPr>
              </a:p>
            </p:txBody>
          </p:sp>
          <p:sp>
            <p:nvSpPr>
              <p:cNvPr id="10" name="Freeform 8">
                <a:extLst>
                  <a:ext uri="{FF2B5EF4-FFF2-40B4-BE49-F238E27FC236}">
                    <a16:creationId xmlns:a16="http://schemas.microsoft.com/office/drawing/2014/main" id="{1ECBCF91-6782-433B-9B3D-7534E1C033E9}"/>
                  </a:ext>
                </a:extLst>
              </p:cNvPr>
              <p:cNvSpPr>
                <a:spLocks/>
              </p:cNvSpPr>
              <p:nvPr/>
            </p:nvSpPr>
            <p:spPr bwMode="hidden">
              <a:xfrm>
                <a:off x="2900" y="3346"/>
                <a:ext cx="2849" cy="969"/>
              </a:xfrm>
              <a:custGeom>
                <a:avLst/>
                <a:gdLst/>
                <a:ahLst/>
                <a:cxnLst>
                  <a:cxn ang="0">
                    <a:pos x="92" y="958"/>
                  </a:cxn>
                  <a:cxn ang="0">
                    <a:pos x="0" y="969"/>
                  </a:cxn>
                  <a:cxn ang="0">
                    <a:pos x="391" y="969"/>
                  </a:cxn>
                  <a:cxn ang="0">
                    <a:pos x="434" y="947"/>
                  </a:cxn>
                  <a:cxn ang="0">
                    <a:pos x="483" y="914"/>
                  </a:cxn>
                  <a:cxn ang="0">
                    <a:pos x="554" y="876"/>
                  </a:cxn>
                  <a:cxn ang="0">
                    <a:pos x="635" y="838"/>
                  </a:cxn>
                  <a:cxn ang="0">
                    <a:pos x="727" y="794"/>
                  </a:cxn>
                  <a:cxn ang="0">
                    <a:pos x="836" y="745"/>
                  </a:cxn>
                  <a:cxn ang="0">
                    <a:pos x="961" y="696"/>
                  </a:cxn>
                  <a:cxn ang="0">
                    <a:pos x="1102" y="642"/>
                  </a:cxn>
                  <a:cxn ang="0">
                    <a:pos x="1259" y="582"/>
                  </a:cxn>
                  <a:cxn ang="0">
                    <a:pos x="1433" y="522"/>
                  </a:cxn>
                  <a:cxn ang="0">
                    <a:pos x="1623" y="462"/>
                  </a:cxn>
                  <a:cxn ang="0">
                    <a:pos x="1829" y="403"/>
                  </a:cxn>
                  <a:cxn ang="0">
                    <a:pos x="2057" y="343"/>
                  </a:cxn>
                  <a:cxn ang="0">
                    <a:pos x="2301" y="283"/>
                  </a:cxn>
                  <a:cxn ang="0">
                    <a:pos x="2567" y="223"/>
                  </a:cxn>
                  <a:cxn ang="0">
                    <a:pos x="2849" y="163"/>
                  </a:cxn>
                  <a:cxn ang="0">
                    <a:pos x="2849" y="0"/>
                  </a:cxn>
                  <a:cxn ang="0">
                    <a:pos x="2817" y="16"/>
                  </a:cxn>
                  <a:cxn ang="0">
                    <a:pos x="2773" y="33"/>
                  </a:cxn>
                  <a:cxn ang="0">
                    <a:pos x="2719" y="54"/>
                  </a:cxn>
                  <a:cxn ang="0">
                    <a:pos x="2648" y="76"/>
                  </a:cxn>
                  <a:cxn ang="0">
                    <a:pos x="2572" y="98"/>
                  </a:cxn>
                  <a:cxn ang="0">
                    <a:pos x="2491" y="120"/>
                  </a:cxn>
                  <a:cxn ang="0">
                    <a:pos x="2399" y="147"/>
                  </a:cxn>
                  <a:cxn ang="0">
                    <a:pos x="2301" y="169"/>
                  </a:cxn>
                  <a:cxn ang="0">
                    <a:pos x="2095" y="223"/>
                  </a:cxn>
                  <a:cxn ang="0">
                    <a:pos x="1889" y="277"/>
                  </a:cxn>
                  <a:cxn ang="0">
                    <a:pos x="1688" y="326"/>
                  </a:cxn>
                  <a:cxn ang="0">
                    <a:pos x="1590" y="354"/>
                  </a:cxn>
                  <a:cxn ang="0">
                    <a:pos x="1503" y="381"/>
                  </a:cxn>
                  <a:cxn ang="0">
                    <a:pos x="1107" y="506"/>
                  </a:cxn>
                  <a:cxn ang="0">
                    <a:pos x="912" y="577"/>
                  </a:cxn>
                  <a:cxn ang="0">
                    <a:pos x="727" y="647"/>
                  </a:cxn>
                  <a:cxn ang="0">
                    <a:pos x="548" y="718"/>
                  </a:cxn>
                  <a:cxn ang="0">
                    <a:pos x="380" y="794"/>
                  </a:cxn>
                  <a:cxn ang="0">
                    <a:pos x="228" y="876"/>
                  </a:cxn>
                  <a:cxn ang="0">
                    <a:pos x="92" y="958"/>
                  </a:cxn>
                  <a:cxn ang="0">
                    <a:pos x="92" y="958"/>
                  </a:cxn>
                </a:cxnLst>
                <a:rect l="0" t="0" r="r" b="b"/>
                <a:pathLst>
                  <a:path w="2849" h="969">
                    <a:moveTo>
                      <a:pt x="92" y="958"/>
                    </a:moveTo>
                    <a:lnTo>
                      <a:pt x="0" y="969"/>
                    </a:lnTo>
                    <a:lnTo>
                      <a:pt x="391" y="969"/>
                    </a:lnTo>
                    <a:lnTo>
                      <a:pt x="434" y="947"/>
                    </a:lnTo>
                    <a:lnTo>
                      <a:pt x="483" y="914"/>
                    </a:lnTo>
                    <a:lnTo>
                      <a:pt x="554" y="876"/>
                    </a:lnTo>
                    <a:lnTo>
                      <a:pt x="635" y="838"/>
                    </a:lnTo>
                    <a:lnTo>
                      <a:pt x="727" y="794"/>
                    </a:lnTo>
                    <a:lnTo>
                      <a:pt x="836" y="745"/>
                    </a:lnTo>
                    <a:lnTo>
                      <a:pt x="961" y="696"/>
                    </a:lnTo>
                    <a:lnTo>
                      <a:pt x="1102" y="642"/>
                    </a:lnTo>
                    <a:lnTo>
                      <a:pt x="1259" y="582"/>
                    </a:lnTo>
                    <a:lnTo>
                      <a:pt x="1433" y="522"/>
                    </a:lnTo>
                    <a:lnTo>
                      <a:pt x="1623" y="462"/>
                    </a:lnTo>
                    <a:lnTo>
                      <a:pt x="1829" y="403"/>
                    </a:lnTo>
                    <a:lnTo>
                      <a:pt x="2057" y="343"/>
                    </a:lnTo>
                    <a:lnTo>
                      <a:pt x="2301" y="283"/>
                    </a:lnTo>
                    <a:lnTo>
                      <a:pt x="2567" y="223"/>
                    </a:lnTo>
                    <a:lnTo>
                      <a:pt x="2849" y="163"/>
                    </a:lnTo>
                    <a:lnTo>
                      <a:pt x="2849" y="0"/>
                    </a:lnTo>
                    <a:lnTo>
                      <a:pt x="2817" y="16"/>
                    </a:lnTo>
                    <a:lnTo>
                      <a:pt x="2773" y="33"/>
                    </a:lnTo>
                    <a:lnTo>
                      <a:pt x="2719" y="54"/>
                    </a:lnTo>
                    <a:lnTo>
                      <a:pt x="2648" y="76"/>
                    </a:lnTo>
                    <a:lnTo>
                      <a:pt x="2572" y="98"/>
                    </a:lnTo>
                    <a:lnTo>
                      <a:pt x="2491" y="120"/>
                    </a:lnTo>
                    <a:lnTo>
                      <a:pt x="2399" y="147"/>
                    </a:lnTo>
                    <a:lnTo>
                      <a:pt x="2301" y="169"/>
                    </a:lnTo>
                    <a:lnTo>
                      <a:pt x="2095" y="223"/>
                    </a:lnTo>
                    <a:lnTo>
                      <a:pt x="1889" y="277"/>
                    </a:lnTo>
                    <a:lnTo>
                      <a:pt x="1688" y="326"/>
                    </a:lnTo>
                    <a:lnTo>
                      <a:pt x="1590" y="354"/>
                    </a:lnTo>
                    <a:lnTo>
                      <a:pt x="1503" y="381"/>
                    </a:lnTo>
                    <a:lnTo>
                      <a:pt x="1107" y="506"/>
                    </a:lnTo>
                    <a:lnTo>
                      <a:pt x="912" y="577"/>
                    </a:lnTo>
                    <a:lnTo>
                      <a:pt x="727" y="647"/>
                    </a:lnTo>
                    <a:lnTo>
                      <a:pt x="548" y="718"/>
                    </a:lnTo>
                    <a:lnTo>
                      <a:pt x="380" y="794"/>
                    </a:lnTo>
                    <a:lnTo>
                      <a:pt x="228" y="876"/>
                    </a:lnTo>
                    <a:lnTo>
                      <a:pt x="92" y="958"/>
                    </a:lnTo>
                    <a:lnTo>
                      <a:pt x="92" y="958"/>
                    </a:lnTo>
                    <a:close/>
                  </a:path>
                </a:pathLst>
              </a:custGeom>
              <a:gradFill rotWithShape="0">
                <a:gsLst>
                  <a:gs pos="0">
                    <a:schemeClr val="bg1">
                      <a:gamma/>
                      <a:shade val="81961"/>
                      <a:invGamma/>
                    </a:schemeClr>
                  </a:gs>
                  <a:gs pos="100000">
                    <a:schemeClr val="bg1"/>
                  </a:gs>
                </a:gsLst>
                <a:lin ang="5400000" scaled="1"/>
              </a:gradFill>
              <a:ln w="9525">
                <a:noFill/>
                <a:round/>
                <a:headEnd/>
                <a:tailEnd/>
              </a:ln>
            </p:spPr>
            <p:txBody>
              <a:bodyPr/>
              <a:lstStyle/>
              <a:p>
                <a:pPr eaLnBrk="0" hangingPunct="0">
                  <a:defRPr/>
                </a:pPr>
                <a:endParaRPr lang="en-US" sz="1800">
                  <a:solidFill>
                    <a:srgbClr val="FFFFFF"/>
                  </a:solidFill>
                  <a:latin typeface="+mn-lt"/>
                  <a:cs typeface="+mn-cs"/>
                </a:endParaRPr>
              </a:p>
            </p:txBody>
          </p:sp>
          <p:sp>
            <p:nvSpPr>
              <p:cNvPr id="11" name="Freeform 9">
                <a:extLst>
                  <a:ext uri="{FF2B5EF4-FFF2-40B4-BE49-F238E27FC236}">
                    <a16:creationId xmlns:a16="http://schemas.microsoft.com/office/drawing/2014/main" id="{8B454E3D-F3CE-4EBE-BF69-2FA5F82E590B}"/>
                  </a:ext>
                </a:extLst>
              </p:cNvPr>
              <p:cNvSpPr>
                <a:spLocks/>
              </p:cNvSpPr>
              <p:nvPr/>
            </p:nvSpPr>
            <p:spPr bwMode="hidden">
              <a:xfrm>
                <a:off x="2748" y="2230"/>
                <a:ext cx="3007" cy="2085"/>
              </a:xfrm>
              <a:custGeom>
                <a:avLst/>
                <a:gdLst>
                  <a:gd name="T0" fmla="*/ 1433 w 3007"/>
                  <a:gd name="T1" fmla="*/ 474 h 2085"/>
                  <a:gd name="T2" fmla="*/ 1460 w 3007"/>
                  <a:gd name="T3" fmla="*/ 528 h 2085"/>
                  <a:gd name="T4" fmla="*/ 1541 w 3007"/>
                  <a:gd name="T5" fmla="*/ 593 h 2085"/>
                  <a:gd name="T6" fmla="*/ 1715 w 3007"/>
                  <a:gd name="T7" fmla="*/ 670 h 2085"/>
                  <a:gd name="T8" fmla="*/ 1927 w 3007"/>
                  <a:gd name="T9" fmla="*/ 735 h 2085"/>
                  <a:gd name="T10" fmla="*/ 2155 w 3007"/>
                  <a:gd name="T11" fmla="*/ 789 h 2085"/>
                  <a:gd name="T12" fmla="*/ 2372 w 3007"/>
                  <a:gd name="T13" fmla="*/ 849 h 2085"/>
                  <a:gd name="T14" fmla="*/ 2551 w 3007"/>
                  <a:gd name="T15" fmla="*/ 920 h 2085"/>
                  <a:gd name="T16" fmla="*/ 2638 w 3007"/>
                  <a:gd name="T17" fmla="*/ 980 h 2085"/>
                  <a:gd name="T18" fmla="*/ 2676 w 3007"/>
                  <a:gd name="T19" fmla="*/ 1029 h 2085"/>
                  <a:gd name="T20" fmla="*/ 2681 w 3007"/>
                  <a:gd name="T21" fmla="*/ 1083 h 2085"/>
                  <a:gd name="T22" fmla="*/ 2665 w 3007"/>
                  <a:gd name="T23" fmla="*/ 1127 h 2085"/>
                  <a:gd name="T24" fmla="*/ 2616 w 3007"/>
                  <a:gd name="T25" fmla="*/ 1170 h 2085"/>
                  <a:gd name="T26" fmla="*/ 2545 w 3007"/>
                  <a:gd name="T27" fmla="*/ 1208 h 2085"/>
                  <a:gd name="T28" fmla="*/ 2448 w 3007"/>
                  <a:gd name="T29" fmla="*/ 1241 h 2085"/>
                  <a:gd name="T30" fmla="*/ 2328 w 3007"/>
                  <a:gd name="T31" fmla="*/ 1274 h 2085"/>
                  <a:gd name="T32" fmla="*/ 2106 w 3007"/>
                  <a:gd name="T33" fmla="*/ 1328 h 2085"/>
                  <a:gd name="T34" fmla="*/ 1742 w 3007"/>
                  <a:gd name="T35" fmla="*/ 1421 h 2085"/>
                  <a:gd name="T36" fmla="*/ 1308 w 3007"/>
                  <a:gd name="T37" fmla="*/ 1540 h 2085"/>
                  <a:gd name="T38" fmla="*/ 820 w 3007"/>
                  <a:gd name="T39" fmla="*/ 1709 h 2085"/>
                  <a:gd name="T40" fmla="*/ 282 w 3007"/>
                  <a:gd name="T41" fmla="*/ 1943 h 2085"/>
                  <a:gd name="T42" fmla="*/ 152 w 3007"/>
                  <a:gd name="T43" fmla="*/ 2085 h 2085"/>
                  <a:gd name="T44" fmla="*/ 386 w 3007"/>
                  <a:gd name="T45" fmla="*/ 1992 h 2085"/>
                  <a:gd name="T46" fmla="*/ 700 w 3007"/>
                  <a:gd name="T47" fmla="*/ 1834 h 2085"/>
                  <a:gd name="T48" fmla="*/ 1064 w 3007"/>
                  <a:gd name="T49" fmla="*/ 1693 h 2085"/>
                  <a:gd name="T50" fmla="*/ 1661 w 3007"/>
                  <a:gd name="T51" fmla="*/ 1497 h 2085"/>
                  <a:gd name="T52" fmla="*/ 1845 w 3007"/>
                  <a:gd name="T53" fmla="*/ 1442 h 2085"/>
                  <a:gd name="T54" fmla="*/ 2252 w 3007"/>
                  <a:gd name="T55" fmla="*/ 1339 h 2085"/>
                  <a:gd name="T56" fmla="*/ 2551 w 3007"/>
                  <a:gd name="T57" fmla="*/ 1263 h 2085"/>
                  <a:gd name="T58" fmla="*/ 2730 w 3007"/>
                  <a:gd name="T59" fmla="*/ 1214 h 2085"/>
                  <a:gd name="T60" fmla="*/ 2876 w 3007"/>
                  <a:gd name="T61" fmla="*/ 1170 h 2085"/>
                  <a:gd name="T62" fmla="*/ 2974 w 3007"/>
                  <a:gd name="T63" fmla="*/ 1132 h 2085"/>
                  <a:gd name="T64" fmla="*/ 3007 w 3007"/>
                  <a:gd name="T65" fmla="*/ 871 h 2085"/>
                  <a:gd name="T66" fmla="*/ 2860 w 3007"/>
                  <a:gd name="T67" fmla="*/ 844 h 2085"/>
                  <a:gd name="T68" fmla="*/ 2670 w 3007"/>
                  <a:gd name="T69" fmla="*/ 806 h 2085"/>
                  <a:gd name="T70" fmla="*/ 2458 w 3007"/>
                  <a:gd name="T71" fmla="*/ 757 h 2085"/>
                  <a:gd name="T72" fmla="*/ 2138 w 3007"/>
                  <a:gd name="T73" fmla="*/ 670 h 2085"/>
                  <a:gd name="T74" fmla="*/ 1959 w 3007"/>
                  <a:gd name="T75" fmla="*/ 604 h 2085"/>
                  <a:gd name="T76" fmla="*/ 1824 w 3007"/>
                  <a:gd name="T77" fmla="*/ 534 h 2085"/>
                  <a:gd name="T78" fmla="*/ 1769 w 3007"/>
                  <a:gd name="T79" fmla="*/ 474 h 2085"/>
                  <a:gd name="T80" fmla="*/ 1753 w 3007"/>
                  <a:gd name="T81" fmla="*/ 436 h 2085"/>
                  <a:gd name="T82" fmla="*/ 1780 w 3007"/>
                  <a:gd name="T83" fmla="*/ 381 h 2085"/>
                  <a:gd name="T84" fmla="*/ 1862 w 3007"/>
                  <a:gd name="T85" fmla="*/ 316 h 2085"/>
                  <a:gd name="T86" fmla="*/ 1986 w 3007"/>
                  <a:gd name="T87" fmla="*/ 267 h 2085"/>
                  <a:gd name="T88" fmla="*/ 2149 w 3007"/>
                  <a:gd name="T89" fmla="*/ 229 h 2085"/>
                  <a:gd name="T90" fmla="*/ 2431 w 3007"/>
                  <a:gd name="T91" fmla="*/ 180 h 2085"/>
                  <a:gd name="T92" fmla="*/ 2827 w 3007"/>
                  <a:gd name="T93" fmla="*/ 125 h 2085"/>
                  <a:gd name="T94" fmla="*/ 3007 w 3007"/>
                  <a:gd name="T95" fmla="*/ 87 h 2085"/>
                  <a:gd name="T96" fmla="*/ 2909 w 3007"/>
                  <a:gd name="T97" fmla="*/ 22 h 2085"/>
                  <a:gd name="T98" fmla="*/ 2676 w 3007"/>
                  <a:gd name="T99" fmla="*/ 66 h 2085"/>
                  <a:gd name="T100" fmla="*/ 2285 w 3007"/>
                  <a:gd name="T101" fmla="*/ 120 h 2085"/>
                  <a:gd name="T102" fmla="*/ 2030 w 3007"/>
                  <a:gd name="T103" fmla="*/ 158 h 2085"/>
                  <a:gd name="T104" fmla="*/ 1791 w 3007"/>
                  <a:gd name="T105" fmla="*/ 202 h 2085"/>
                  <a:gd name="T106" fmla="*/ 1601 w 3007"/>
                  <a:gd name="T107" fmla="*/ 261 h 2085"/>
                  <a:gd name="T108" fmla="*/ 1471 w 3007"/>
                  <a:gd name="T109" fmla="*/ 338 h 2085"/>
                  <a:gd name="T110" fmla="*/ 1438 w 3007"/>
                  <a:gd name="T111" fmla="*/ 387 h 2085"/>
                  <a:gd name="T112" fmla="*/ 1427 w 3007"/>
                  <a:gd name="T113" fmla="*/ 441 h 2085"/>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3007" h="2085">
                    <a:moveTo>
                      <a:pt x="1427" y="441"/>
                    </a:moveTo>
                    <a:lnTo>
                      <a:pt x="1433" y="474"/>
                    </a:lnTo>
                    <a:lnTo>
                      <a:pt x="1444" y="501"/>
                    </a:lnTo>
                    <a:lnTo>
                      <a:pt x="1460" y="528"/>
                    </a:lnTo>
                    <a:lnTo>
                      <a:pt x="1482" y="550"/>
                    </a:lnTo>
                    <a:lnTo>
                      <a:pt x="1541" y="593"/>
                    </a:lnTo>
                    <a:lnTo>
                      <a:pt x="1623" y="637"/>
                    </a:lnTo>
                    <a:lnTo>
                      <a:pt x="1715" y="670"/>
                    </a:lnTo>
                    <a:lnTo>
                      <a:pt x="1818" y="702"/>
                    </a:lnTo>
                    <a:lnTo>
                      <a:pt x="1927" y="735"/>
                    </a:lnTo>
                    <a:lnTo>
                      <a:pt x="2041" y="762"/>
                    </a:lnTo>
                    <a:lnTo>
                      <a:pt x="2155" y="789"/>
                    </a:lnTo>
                    <a:lnTo>
                      <a:pt x="2269" y="822"/>
                    </a:lnTo>
                    <a:lnTo>
                      <a:pt x="2372" y="849"/>
                    </a:lnTo>
                    <a:lnTo>
                      <a:pt x="2464" y="882"/>
                    </a:lnTo>
                    <a:lnTo>
                      <a:pt x="2551" y="920"/>
                    </a:lnTo>
                    <a:lnTo>
                      <a:pt x="2616" y="958"/>
                    </a:lnTo>
                    <a:lnTo>
                      <a:pt x="2638" y="980"/>
                    </a:lnTo>
                    <a:lnTo>
                      <a:pt x="2659" y="1007"/>
                    </a:lnTo>
                    <a:lnTo>
                      <a:pt x="2676" y="1029"/>
                    </a:lnTo>
                    <a:lnTo>
                      <a:pt x="2681" y="1056"/>
                    </a:lnTo>
                    <a:lnTo>
                      <a:pt x="2681" y="1083"/>
                    </a:lnTo>
                    <a:lnTo>
                      <a:pt x="2676" y="1105"/>
                    </a:lnTo>
                    <a:lnTo>
                      <a:pt x="2665" y="1127"/>
                    </a:lnTo>
                    <a:lnTo>
                      <a:pt x="2643" y="1149"/>
                    </a:lnTo>
                    <a:lnTo>
                      <a:pt x="2616" y="1170"/>
                    </a:lnTo>
                    <a:lnTo>
                      <a:pt x="2583" y="1187"/>
                    </a:lnTo>
                    <a:lnTo>
                      <a:pt x="2545" y="1208"/>
                    </a:lnTo>
                    <a:lnTo>
                      <a:pt x="2502" y="1225"/>
                    </a:lnTo>
                    <a:lnTo>
                      <a:pt x="2448" y="1241"/>
                    </a:lnTo>
                    <a:lnTo>
                      <a:pt x="2388" y="1257"/>
                    </a:lnTo>
                    <a:lnTo>
                      <a:pt x="2328" y="1274"/>
                    </a:lnTo>
                    <a:lnTo>
                      <a:pt x="2258" y="1290"/>
                    </a:lnTo>
                    <a:lnTo>
                      <a:pt x="2106" y="1328"/>
                    </a:lnTo>
                    <a:lnTo>
                      <a:pt x="1932" y="1372"/>
                    </a:lnTo>
                    <a:lnTo>
                      <a:pt x="1742" y="1421"/>
                    </a:lnTo>
                    <a:lnTo>
                      <a:pt x="1531" y="1475"/>
                    </a:lnTo>
                    <a:lnTo>
                      <a:pt x="1308" y="1540"/>
                    </a:lnTo>
                    <a:lnTo>
                      <a:pt x="1069" y="1617"/>
                    </a:lnTo>
                    <a:lnTo>
                      <a:pt x="820" y="1709"/>
                    </a:lnTo>
                    <a:lnTo>
                      <a:pt x="554" y="1818"/>
                    </a:lnTo>
                    <a:lnTo>
                      <a:pt x="282" y="1943"/>
                    </a:lnTo>
                    <a:lnTo>
                      <a:pt x="0" y="2085"/>
                    </a:lnTo>
                    <a:lnTo>
                      <a:pt x="152" y="2085"/>
                    </a:lnTo>
                    <a:lnTo>
                      <a:pt x="244" y="2074"/>
                    </a:lnTo>
                    <a:lnTo>
                      <a:pt x="386" y="1992"/>
                    </a:lnTo>
                    <a:lnTo>
                      <a:pt x="537" y="1910"/>
                    </a:lnTo>
                    <a:lnTo>
                      <a:pt x="700" y="1834"/>
                    </a:lnTo>
                    <a:lnTo>
                      <a:pt x="879" y="1763"/>
                    </a:lnTo>
                    <a:lnTo>
                      <a:pt x="1064" y="1693"/>
                    </a:lnTo>
                    <a:lnTo>
                      <a:pt x="1259" y="1622"/>
                    </a:lnTo>
                    <a:lnTo>
                      <a:pt x="1661" y="1497"/>
                    </a:lnTo>
                    <a:lnTo>
                      <a:pt x="1748" y="1470"/>
                    </a:lnTo>
                    <a:lnTo>
                      <a:pt x="1845" y="1442"/>
                    </a:lnTo>
                    <a:lnTo>
                      <a:pt x="2046" y="1393"/>
                    </a:lnTo>
                    <a:lnTo>
                      <a:pt x="2252" y="1339"/>
                    </a:lnTo>
                    <a:lnTo>
                      <a:pt x="2458" y="1285"/>
                    </a:lnTo>
                    <a:lnTo>
                      <a:pt x="2551" y="1263"/>
                    </a:lnTo>
                    <a:lnTo>
                      <a:pt x="2643" y="1236"/>
                    </a:lnTo>
                    <a:lnTo>
                      <a:pt x="2730" y="1214"/>
                    </a:lnTo>
                    <a:lnTo>
                      <a:pt x="2806" y="1192"/>
                    </a:lnTo>
                    <a:lnTo>
                      <a:pt x="2876" y="1170"/>
                    </a:lnTo>
                    <a:lnTo>
                      <a:pt x="2931" y="1149"/>
                    </a:lnTo>
                    <a:lnTo>
                      <a:pt x="2974" y="1132"/>
                    </a:lnTo>
                    <a:lnTo>
                      <a:pt x="3007" y="1116"/>
                    </a:lnTo>
                    <a:lnTo>
                      <a:pt x="3007" y="871"/>
                    </a:lnTo>
                    <a:lnTo>
                      <a:pt x="2941" y="860"/>
                    </a:lnTo>
                    <a:lnTo>
                      <a:pt x="2860" y="844"/>
                    </a:lnTo>
                    <a:lnTo>
                      <a:pt x="2773" y="827"/>
                    </a:lnTo>
                    <a:lnTo>
                      <a:pt x="2670" y="806"/>
                    </a:lnTo>
                    <a:lnTo>
                      <a:pt x="2567" y="784"/>
                    </a:lnTo>
                    <a:lnTo>
                      <a:pt x="2458" y="757"/>
                    </a:lnTo>
                    <a:lnTo>
                      <a:pt x="2241" y="702"/>
                    </a:lnTo>
                    <a:lnTo>
                      <a:pt x="2138" y="670"/>
                    </a:lnTo>
                    <a:lnTo>
                      <a:pt x="2046" y="637"/>
                    </a:lnTo>
                    <a:lnTo>
                      <a:pt x="1959" y="604"/>
                    </a:lnTo>
                    <a:lnTo>
                      <a:pt x="1883" y="566"/>
                    </a:lnTo>
                    <a:lnTo>
                      <a:pt x="1824" y="534"/>
                    </a:lnTo>
                    <a:lnTo>
                      <a:pt x="1780" y="495"/>
                    </a:lnTo>
                    <a:lnTo>
                      <a:pt x="1769" y="474"/>
                    </a:lnTo>
                    <a:lnTo>
                      <a:pt x="1758" y="457"/>
                    </a:lnTo>
                    <a:lnTo>
                      <a:pt x="1753" y="436"/>
                    </a:lnTo>
                    <a:lnTo>
                      <a:pt x="1758" y="419"/>
                    </a:lnTo>
                    <a:lnTo>
                      <a:pt x="1780" y="381"/>
                    </a:lnTo>
                    <a:lnTo>
                      <a:pt x="1813" y="343"/>
                    </a:lnTo>
                    <a:lnTo>
                      <a:pt x="1862" y="316"/>
                    </a:lnTo>
                    <a:lnTo>
                      <a:pt x="1921" y="289"/>
                    </a:lnTo>
                    <a:lnTo>
                      <a:pt x="1986" y="267"/>
                    </a:lnTo>
                    <a:lnTo>
                      <a:pt x="2062" y="245"/>
                    </a:lnTo>
                    <a:lnTo>
                      <a:pt x="2149" y="229"/>
                    </a:lnTo>
                    <a:lnTo>
                      <a:pt x="2236" y="213"/>
                    </a:lnTo>
                    <a:lnTo>
                      <a:pt x="2431" y="180"/>
                    </a:lnTo>
                    <a:lnTo>
                      <a:pt x="2627" y="158"/>
                    </a:lnTo>
                    <a:lnTo>
                      <a:pt x="2827" y="125"/>
                    </a:lnTo>
                    <a:lnTo>
                      <a:pt x="2920" y="109"/>
                    </a:lnTo>
                    <a:lnTo>
                      <a:pt x="3007" y="87"/>
                    </a:lnTo>
                    <a:lnTo>
                      <a:pt x="3007" y="0"/>
                    </a:lnTo>
                    <a:lnTo>
                      <a:pt x="2909" y="22"/>
                    </a:lnTo>
                    <a:lnTo>
                      <a:pt x="2795" y="44"/>
                    </a:lnTo>
                    <a:lnTo>
                      <a:pt x="2676" y="66"/>
                    </a:lnTo>
                    <a:lnTo>
                      <a:pt x="2551" y="82"/>
                    </a:lnTo>
                    <a:lnTo>
                      <a:pt x="2285" y="120"/>
                    </a:lnTo>
                    <a:lnTo>
                      <a:pt x="2155" y="136"/>
                    </a:lnTo>
                    <a:lnTo>
                      <a:pt x="2030" y="158"/>
                    </a:lnTo>
                    <a:lnTo>
                      <a:pt x="1905" y="174"/>
                    </a:lnTo>
                    <a:lnTo>
                      <a:pt x="1791" y="202"/>
                    </a:lnTo>
                    <a:lnTo>
                      <a:pt x="1688" y="229"/>
                    </a:lnTo>
                    <a:lnTo>
                      <a:pt x="1601" y="261"/>
                    </a:lnTo>
                    <a:lnTo>
                      <a:pt x="1525" y="300"/>
                    </a:lnTo>
                    <a:lnTo>
                      <a:pt x="1471" y="338"/>
                    </a:lnTo>
                    <a:lnTo>
                      <a:pt x="1455" y="359"/>
                    </a:lnTo>
                    <a:lnTo>
                      <a:pt x="1438" y="387"/>
                    </a:lnTo>
                    <a:lnTo>
                      <a:pt x="1427" y="414"/>
                    </a:lnTo>
                    <a:lnTo>
                      <a:pt x="1427" y="44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800"/>
              </a:p>
            </p:txBody>
          </p:sp>
          <p:sp>
            <p:nvSpPr>
              <p:cNvPr id="12" name="Freeform 10">
                <a:extLst>
                  <a:ext uri="{FF2B5EF4-FFF2-40B4-BE49-F238E27FC236}">
                    <a16:creationId xmlns:a16="http://schemas.microsoft.com/office/drawing/2014/main" id="{8B4E1941-45A4-4443-96AC-D77C64DF8ABB}"/>
                  </a:ext>
                </a:extLst>
              </p:cNvPr>
              <p:cNvSpPr>
                <a:spLocks/>
              </p:cNvSpPr>
              <p:nvPr/>
            </p:nvSpPr>
            <p:spPr bwMode="hidden">
              <a:xfrm>
                <a:off x="4501" y="2317"/>
                <a:ext cx="1248" cy="539"/>
              </a:xfrm>
              <a:custGeom>
                <a:avLst/>
                <a:gdLst/>
                <a:ahLst/>
                <a:cxnLst>
                  <a:cxn ang="0">
                    <a:pos x="0" y="332"/>
                  </a:cxn>
                  <a:cxn ang="0">
                    <a:pos x="0" y="360"/>
                  </a:cxn>
                  <a:cxn ang="0">
                    <a:pos x="5" y="387"/>
                  </a:cxn>
                  <a:cxn ang="0">
                    <a:pos x="27" y="414"/>
                  </a:cxn>
                  <a:cxn ang="0">
                    <a:pos x="54" y="436"/>
                  </a:cxn>
                  <a:cxn ang="0">
                    <a:pos x="92" y="463"/>
                  </a:cxn>
                  <a:cxn ang="0">
                    <a:pos x="141" y="490"/>
                  </a:cxn>
                  <a:cxn ang="0">
                    <a:pos x="195" y="512"/>
                  </a:cxn>
                  <a:cxn ang="0">
                    <a:pos x="255" y="539"/>
                  </a:cxn>
                  <a:cxn ang="0">
                    <a:pos x="212" y="517"/>
                  </a:cxn>
                  <a:cxn ang="0">
                    <a:pos x="179" y="490"/>
                  </a:cxn>
                  <a:cxn ang="0">
                    <a:pos x="157" y="468"/>
                  </a:cxn>
                  <a:cxn ang="0">
                    <a:pos x="141" y="447"/>
                  </a:cxn>
                  <a:cxn ang="0">
                    <a:pos x="136" y="425"/>
                  </a:cxn>
                  <a:cxn ang="0">
                    <a:pos x="136" y="403"/>
                  </a:cxn>
                  <a:cxn ang="0">
                    <a:pos x="141" y="381"/>
                  </a:cxn>
                  <a:cxn ang="0">
                    <a:pos x="157" y="365"/>
                  </a:cxn>
                  <a:cxn ang="0">
                    <a:pos x="179" y="343"/>
                  </a:cxn>
                  <a:cxn ang="0">
                    <a:pos x="201" y="327"/>
                  </a:cxn>
                  <a:cxn ang="0">
                    <a:pos x="266" y="294"/>
                  </a:cxn>
                  <a:cxn ang="0">
                    <a:pos x="353" y="262"/>
                  </a:cxn>
                  <a:cxn ang="0">
                    <a:pos x="445" y="234"/>
                  </a:cxn>
                  <a:cxn ang="0">
                    <a:pos x="554" y="213"/>
                  </a:cxn>
                  <a:cxn ang="0">
                    <a:pos x="662" y="191"/>
                  </a:cxn>
                  <a:cxn ang="0">
                    <a:pos x="890" y="153"/>
                  </a:cxn>
                  <a:cxn ang="0">
                    <a:pos x="993" y="136"/>
                  </a:cxn>
                  <a:cxn ang="0">
                    <a:pos x="1091" y="120"/>
                  </a:cxn>
                  <a:cxn ang="0">
                    <a:pos x="1178" y="115"/>
                  </a:cxn>
                  <a:cxn ang="0">
                    <a:pos x="1248" y="104"/>
                  </a:cxn>
                  <a:cxn ang="0">
                    <a:pos x="1248" y="0"/>
                  </a:cxn>
                  <a:cxn ang="0">
                    <a:pos x="1161" y="22"/>
                  </a:cxn>
                  <a:cxn ang="0">
                    <a:pos x="1069" y="38"/>
                  </a:cxn>
                  <a:cxn ang="0">
                    <a:pos x="874" y="71"/>
                  </a:cxn>
                  <a:cxn ang="0">
                    <a:pos x="673" y="93"/>
                  </a:cxn>
                  <a:cxn ang="0">
                    <a:pos x="483" y="126"/>
                  </a:cxn>
                  <a:cxn ang="0">
                    <a:pos x="391" y="142"/>
                  </a:cxn>
                  <a:cxn ang="0">
                    <a:pos x="309" y="158"/>
                  </a:cxn>
                  <a:cxn ang="0">
                    <a:pos x="228" y="180"/>
                  </a:cxn>
                  <a:cxn ang="0">
                    <a:pos x="163" y="202"/>
                  </a:cxn>
                  <a:cxn ang="0">
                    <a:pos x="103" y="229"/>
                  </a:cxn>
                  <a:cxn ang="0">
                    <a:pos x="54" y="256"/>
                  </a:cxn>
                  <a:cxn ang="0">
                    <a:pos x="22" y="294"/>
                  </a:cxn>
                  <a:cxn ang="0">
                    <a:pos x="0" y="332"/>
                  </a:cxn>
                  <a:cxn ang="0">
                    <a:pos x="0" y="332"/>
                  </a:cxn>
                </a:cxnLst>
                <a:rect l="0" t="0" r="r" b="b"/>
                <a:pathLst>
                  <a:path w="1248" h="539">
                    <a:moveTo>
                      <a:pt x="0" y="332"/>
                    </a:moveTo>
                    <a:lnTo>
                      <a:pt x="0" y="360"/>
                    </a:lnTo>
                    <a:lnTo>
                      <a:pt x="5" y="387"/>
                    </a:lnTo>
                    <a:lnTo>
                      <a:pt x="27" y="414"/>
                    </a:lnTo>
                    <a:lnTo>
                      <a:pt x="54" y="436"/>
                    </a:lnTo>
                    <a:lnTo>
                      <a:pt x="92" y="463"/>
                    </a:lnTo>
                    <a:lnTo>
                      <a:pt x="141" y="490"/>
                    </a:lnTo>
                    <a:lnTo>
                      <a:pt x="195" y="512"/>
                    </a:lnTo>
                    <a:lnTo>
                      <a:pt x="255" y="539"/>
                    </a:lnTo>
                    <a:lnTo>
                      <a:pt x="212" y="517"/>
                    </a:lnTo>
                    <a:lnTo>
                      <a:pt x="179" y="490"/>
                    </a:lnTo>
                    <a:lnTo>
                      <a:pt x="157" y="468"/>
                    </a:lnTo>
                    <a:lnTo>
                      <a:pt x="141" y="447"/>
                    </a:lnTo>
                    <a:lnTo>
                      <a:pt x="136" y="425"/>
                    </a:lnTo>
                    <a:lnTo>
                      <a:pt x="136" y="403"/>
                    </a:lnTo>
                    <a:lnTo>
                      <a:pt x="141" y="381"/>
                    </a:lnTo>
                    <a:lnTo>
                      <a:pt x="157" y="365"/>
                    </a:lnTo>
                    <a:lnTo>
                      <a:pt x="179" y="343"/>
                    </a:lnTo>
                    <a:lnTo>
                      <a:pt x="201" y="327"/>
                    </a:lnTo>
                    <a:lnTo>
                      <a:pt x="266" y="294"/>
                    </a:lnTo>
                    <a:lnTo>
                      <a:pt x="353" y="262"/>
                    </a:lnTo>
                    <a:lnTo>
                      <a:pt x="445" y="234"/>
                    </a:lnTo>
                    <a:lnTo>
                      <a:pt x="554" y="213"/>
                    </a:lnTo>
                    <a:lnTo>
                      <a:pt x="662" y="191"/>
                    </a:lnTo>
                    <a:lnTo>
                      <a:pt x="890" y="153"/>
                    </a:lnTo>
                    <a:lnTo>
                      <a:pt x="993" y="136"/>
                    </a:lnTo>
                    <a:lnTo>
                      <a:pt x="1091" y="120"/>
                    </a:lnTo>
                    <a:lnTo>
                      <a:pt x="1178" y="115"/>
                    </a:lnTo>
                    <a:lnTo>
                      <a:pt x="1248" y="104"/>
                    </a:lnTo>
                    <a:lnTo>
                      <a:pt x="1248" y="0"/>
                    </a:lnTo>
                    <a:lnTo>
                      <a:pt x="1161" y="22"/>
                    </a:lnTo>
                    <a:lnTo>
                      <a:pt x="1069" y="38"/>
                    </a:lnTo>
                    <a:lnTo>
                      <a:pt x="874" y="71"/>
                    </a:lnTo>
                    <a:lnTo>
                      <a:pt x="673" y="93"/>
                    </a:lnTo>
                    <a:lnTo>
                      <a:pt x="483" y="126"/>
                    </a:lnTo>
                    <a:lnTo>
                      <a:pt x="391" y="142"/>
                    </a:lnTo>
                    <a:lnTo>
                      <a:pt x="309" y="158"/>
                    </a:lnTo>
                    <a:lnTo>
                      <a:pt x="228" y="180"/>
                    </a:lnTo>
                    <a:lnTo>
                      <a:pt x="163" y="202"/>
                    </a:lnTo>
                    <a:lnTo>
                      <a:pt x="103" y="229"/>
                    </a:lnTo>
                    <a:lnTo>
                      <a:pt x="54" y="256"/>
                    </a:lnTo>
                    <a:lnTo>
                      <a:pt x="22" y="294"/>
                    </a:lnTo>
                    <a:lnTo>
                      <a:pt x="0" y="332"/>
                    </a:lnTo>
                    <a:lnTo>
                      <a:pt x="0" y="332"/>
                    </a:lnTo>
                    <a:close/>
                  </a:path>
                </a:pathLst>
              </a:custGeom>
              <a:gradFill rotWithShape="0">
                <a:gsLst>
                  <a:gs pos="0">
                    <a:schemeClr val="bg1">
                      <a:gamma/>
                      <a:shade val="87843"/>
                      <a:invGamma/>
                    </a:schemeClr>
                  </a:gs>
                  <a:gs pos="100000">
                    <a:schemeClr val="bg1"/>
                  </a:gs>
                </a:gsLst>
                <a:lin ang="2700000" scaled="1"/>
              </a:gradFill>
              <a:ln w="9525">
                <a:noFill/>
                <a:round/>
                <a:headEnd/>
                <a:tailEnd/>
              </a:ln>
            </p:spPr>
            <p:txBody>
              <a:bodyPr/>
              <a:lstStyle/>
              <a:p>
                <a:pPr eaLnBrk="0" hangingPunct="0">
                  <a:defRPr/>
                </a:pPr>
                <a:endParaRPr lang="en-US" sz="1800">
                  <a:solidFill>
                    <a:srgbClr val="FFFFFF"/>
                  </a:solidFill>
                  <a:latin typeface="+mn-lt"/>
                  <a:cs typeface="+mn-cs"/>
                </a:endParaRPr>
              </a:p>
            </p:txBody>
          </p:sp>
        </p:grpSp>
        <p:sp>
          <p:nvSpPr>
            <p:cNvPr id="6" name="Freeform 11">
              <a:extLst>
                <a:ext uri="{FF2B5EF4-FFF2-40B4-BE49-F238E27FC236}">
                  <a16:creationId xmlns:a16="http://schemas.microsoft.com/office/drawing/2014/main" id="{6E42A07A-1F66-48ED-A115-6C2162E77C36}"/>
                </a:ext>
              </a:extLst>
            </p:cNvPr>
            <p:cNvSpPr>
              <a:spLocks/>
            </p:cNvSpPr>
            <p:nvPr/>
          </p:nvSpPr>
          <p:spPr bwMode="hidden">
            <a:xfrm>
              <a:off x="3322" y="1341"/>
              <a:ext cx="1825" cy="1537"/>
            </a:xfrm>
            <a:custGeom>
              <a:avLst/>
              <a:gdLst/>
              <a:ahLst/>
              <a:cxnLst>
                <a:cxn ang="0">
                  <a:pos x="982" y="1061"/>
                </a:cxn>
                <a:cxn ang="0">
                  <a:pos x="1357" y="1012"/>
                </a:cxn>
                <a:cxn ang="0">
                  <a:pos x="1666" y="957"/>
                </a:cxn>
                <a:cxn ang="0">
                  <a:pos x="1916" y="897"/>
                </a:cxn>
                <a:cxn ang="0">
                  <a:pos x="2100" y="832"/>
                </a:cxn>
                <a:cxn ang="0">
                  <a:pos x="2220" y="756"/>
                </a:cxn>
                <a:cxn ang="0">
                  <a:pos x="2285" y="669"/>
                </a:cxn>
                <a:cxn ang="0">
                  <a:pos x="2290" y="560"/>
                </a:cxn>
                <a:cxn ang="0">
                  <a:pos x="2241" y="457"/>
                </a:cxn>
                <a:cxn ang="0">
                  <a:pos x="2144" y="364"/>
                </a:cxn>
                <a:cxn ang="0">
                  <a:pos x="2008" y="277"/>
                </a:cxn>
                <a:cxn ang="0">
                  <a:pos x="1769" y="157"/>
                </a:cxn>
                <a:cxn ang="0">
                  <a:pos x="1612" y="92"/>
                </a:cxn>
                <a:cxn ang="0">
                  <a:pos x="1476" y="43"/>
                </a:cxn>
                <a:cxn ang="0">
                  <a:pos x="1384" y="10"/>
                </a:cxn>
                <a:cxn ang="0">
                  <a:pos x="1346" y="0"/>
                </a:cxn>
                <a:cxn ang="0">
                  <a:pos x="1655" y="119"/>
                </a:cxn>
                <a:cxn ang="0">
                  <a:pos x="1948" y="255"/>
                </a:cxn>
                <a:cxn ang="0">
                  <a:pos x="2068" y="326"/>
                </a:cxn>
                <a:cxn ang="0">
                  <a:pos x="2171" y="402"/>
                </a:cxn>
                <a:cxn ang="0">
                  <a:pos x="2236" y="478"/>
                </a:cxn>
                <a:cxn ang="0">
                  <a:pos x="2263" y="560"/>
                </a:cxn>
                <a:cxn ang="0">
                  <a:pos x="2241" y="636"/>
                </a:cxn>
                <a:cxn ang="0">
                  <a:pos x="2171" y="702"/>
                </a:cxn>
                <a:cxn ang="0">
                  <a:pos x="2062" y="756"/>
                </a:cxn>
                <a:cxn ang="0">
                  <a:pos x="1921" y="800"/>
                </a:cxn>
                <a:cxn ang="0">
                  <a:pos x="1748" y="843"/>
                </a:cxn>
                <a:cxn ang="0">
                  <a:pos x="1351" y="908"/>
                </a:cxn>
                <a:cxn ang="0">
                  <a:pos x="923" y="968"/>
                </a:cxn>
                <a:cxn ang="0">
                  <a:pos x="521" y="1028"/>
                </a:cxn>
                <a:cxn ang="0">
                  <a:pos x="353" y="1066"/>
                </a:cxn>
                <a:cxn ang="0">
                  <a:pos x="206" y="1104"/>
                </a:cxn>
                <a:cxn ang="0">
                  <a:pos x="92" y="1148"/>
                </a:cxn>
                <a:cxn ang="0">
                  <a:pos x="22" y="1202"/>
                </a:cxn>
                <a:cxn ang="0">
                  <a:pos x="0" y="1262"/>
                </a:cxn>
                <a:cxn ang="0">
                  <a:pos x="27" y="1327"/>
                </a:cxn>
                <a:cxn ang="0">
                  <a:pos x="98" y="1382"/>
                </a:cxn>
                <a:cxn ang="0">
                  <a:pos x="196" y="1425"/>
                </a:cxn>
                <a:cxn ang="0">
                  <a:pos x="326" y="1469"/>
                </a:cxn>
                <a:cxn ang="0">
                  <a:pos x="217" y="1414"/>
                </a:cxn>
                <a:cxn ang="0">
                  <a:pos x="147" y="1360"/>
                </a:cxn>
                <a:cxn ang="0">
                  <a:pos x="120" y="1306"/>
                </a:cxn>
                <a:cxn ang="0">
                  <a:pos x="141" y="1257"/>
                </a:cxn>
                <a:cxn ang="0">
                  <a:pos x="212" y="1208"/>
                </a:cxn>
                <a:cxn ang="0">
                  <a:pos x="342" y="1164"/>
                </a:cxn>
                <a:cxn ang="0">
                  <a:pos x="527" y="1121"/>
                </a:cxn>
                <a:cxn ang="0">
                  <a:pos x="771" y="1088"/>
                </a:cxn>
              </a:cxnLst>
              <a:rect l="0" t="0" r="r" b="b"/>
              <a:pathLst>
                <a:path w="2296" h="1469">
                  <a:moveTo>
                    <a:pt x="771" y="1088"/>
                  </a:moveTo>
                  <a:lnTo>
                    <a:pt x="982" y="1061"/>
                  </a:lnTo>
                  <a:lnTo>
                    <a:pt x="1178" y="1034"/>
                  </a:lnTo>
                  <a:lnTo>
                    <a:pt x="1357" y="1012"/>
                  </a:lnTo>
                  <a:lnTo>
                    <a:pt x="1520" y="985"/>
                  </a:lnTo>
                  <a:lnTo>
                    <a:pt x="1666" y="957"/>
                  </a:lnTo>
                  <a:lnTo>
                    <a:pt x="1796" y="930"/>
                  </a:lnTo>
                  <a:lnTo>
                    <a:pt x="1916" y="897"/>
                  </a:lnTo>
                  <a:lnTo>
                    <a:pt x="2013" y="870"/>
                  </a:lnTo>
                  <a:lnTo>
                    <a:pt x="2100" y="832"/>
                  </a:lnTo>
                  <a:lnTo>
                    <a:pt x="2171" y="800"/>
                  </a:lnTo>
                  <a:lnTo>
                    <a:pt x="2220" y="756"/>
                  </a:lnTo>
                  <a:lnTo>
                    <a:pt x="2263" y="712"/>
                  </a:lnTo>
                  <a:lnTo>
                    <a:pt x="2285" y="669"/>
                  </a:lnTo>
                  <a:lnTo>
                    <a:pt x="2296" y="614"/>
                  </a:lnTo>
                  <a:lnTo>
                    <a:pt x="2290" y="560"/>
                  </a:lnTo>
                  <a:lnTo>
                    <a:pt x="2269" y="500"/>
                  </a:lnTo>
                  <a:lnTo>
                    <a:pt x="2241" y="457"/>
                  </a:lnTo>
                  <a:lnTo>
                    <a:pt x="2198" y="408"/>
                  </a:lnTo>
                  <a:lnTo>
                    <a:pt x="2144" y="364"/>
                  </a:lnTo>
                  <a:lnTo>
                    <a:pt x="2079" y="321"/>
                  </a:lnTo>
                  <a:lnTo>
                    <a:pt x="2008" y="277"/>
                  </a:lnTo>
                  <a:lnTo>
                    <a:pt x="1927" y="234"/>
                  </a:lnTo>
                  <a:lnTo>
                    <a:pt x="1769" y="157"/>
                  </a:lnTo>
                  <a:lnTo>
                    <a:pt x="1688" y="125"/>
                  </a:lnTo>
                  <a:lnTo>
                    <a:pt x="1612" y="92"/>
                  </a:lnTo>
                  <a:lnTo>
                    <a:pt x="1536" y="65"/>
                  </a:lnTo>
                  <a:lnTo>
                    <a:pt x="1476" y="43"/>
                  </a:lnTo>
                  <a:lnTo>
                    <a:pt x="1422" y="27"/>
                  </a:lnTo>
                  <a:lnTo>
                    <a:pt x="1384" y="10"/>
                  </a:lnTo>
                  <a:lnTo>
                    <a:pt x="1357" y="5"/>
                  </a:lnTo>
                  <a:lnTo>
                    <a:pt x="1346" y="0"/>
                  </a:lnTo>
                  <a:lnTo>
                    <a:pt x="1498" y="54"/>
                  </a:lnTo>
                  <a:lnTo>
                    <a:pt x="1655" y="119"/>
                  </a:lnTo>
                  <a:lnTo>
                    <a:pt x="1807" y="185"/>
                  </a:lnTo>
                  <a:lnTo>
                    <a:pt x="1948" y="255"/>
                  </a:lnTo>
                  <a:lnTo>
                    <a:pt x="2013" y="288"/>
                  </a:lnTo>
                  <a:lnTo>
                    <a:pt x="2068" y="326"/>
                  </a:lnTo>
                  <a:lnTo>
                    <a:pt x="2122" y="364"/>
                  </a:lnTo>
                  <a:lnTo>
                    <a:pt x="2171" y="402"/>
                  </a:lnTo>
                  <a:lnTo>
                    <a:pt x="2209" y="440"/>
                  </a:lnTo>
                  <a:lnTo>
                    <a:pt x="2236" y="478"/>
                  </a:lnTo>
                  <a:lnTo>
                    <a:pt x="2252" y="522"/>
                  </a:lnTo>
                  <a:lnTo>
                    <a:pt x="2263" y="560"/>
                  </a:lnTo>
                  <a:lnTo>
                    <a:pt x="2258" y="598"/>
                  </a:lnTo>
                  <a:lnTo>
                    <a:pt x="2241" y="636"/>
                  </a:lnTo>
                  <a:lnTo>
                    <a:pt x="2214" y="669"/>
                  </a:lnTo>
                  <a:lnTo>
                    <a:pt x="2171" y="702"/>
                  </a:lnTo>
                  <a:lnTo>
                    <a:pt x="2122" y="729"/>
                  </a:lnTo>
                  <a:lnTo>
                    <a:pt x="2062" y="756"/>
                  </a:lnTo>
                  <a:lnTo>
                    <a:pt x="1997" y="778"/>
                  </a:lnTo>
                  <a:lnTo>
                    <a:pt x="1921" y="800"/>
                  </a:lnTo>
                  <a:lnTo>
                    <a:pt x="1834" y="821"/>
                  </a:lnTo>
                  <a:lnTo>
                    <a:pt x="1748" y="843"/>
                  </a:lnTo>
                  <a:lnTo>
                    <a:pt x="1552" y="876"/>
                  </a:lnTo>
                  <a:lnTo>
                    <a:pt x="1351" y="908"/>
                  </a:lnTo>
                  <a:lnTo>
                    <a:pt x="1134" y="941"/>
                  </a:lnTo>
                  <a:lnTo>
                    <a:pt x="923" y="968"/>
                  </a:lnTo>
                  <a:lnTo>
                    <a:pt x="716" y="995"/>
                  </a:lnTo>
                  <a:lnTo>
                    <a:pt x="521" y="1028"/>
                  </a:lnTo>
                  <a:lnTo>
                    <a:pt x="434" y="1044"/>
                  </a:lnTo>
                  <a:lnTo>
                    <a:pt x="353" y="1066"/>
                  </a:lnTo>
                  <a:lnTo>
                    <a:pt x="277" y="1082"/>
                  </a:lnTo>
                  <a:lnTo>
                    <a:pt x="206" y="1104"/>
                  </a:lnTo>
                  <a:lnTo>
                    <a:pt x="147" y="1126"/>
                  </a:lnTo>
                  <a:lnTo>
                    <a:pt x="92" y="1148"/>
                  </a:lnTo>
                  <a:lnTo>
                    <a:pt x="54" y="1175"/>
                  </a:lnTo>
                  <a:lnTo>
                    <a:pt x="22" y="1202"/>
                  </a:lnTo>
                  <a:lnTo>
                    <a:pt x="6" y="1229"/>
                  </a:lnTo>
                  <a:lnTo>
                    <a:pt x="0" y="1262"/>
                  </a:lnTo>
                  <a:lnTo>
                    <a:pt x="11" y="1295"/>
                  </a:lnTo>
                  <a:lnTo>
                    <a:pt x="27" y="1327"/>
                  </a:lnTo>
                  <a:lnTo>
                    <a:pt x="54" y="1355"/>
                  </a:lnTo>
                  <a:lnTo>
                    <a:pt x="98" y="1382"/>
                  </a:lnTo>
                  <a:lnTo>
                    <a:pt x="141" y="1404"/>
                  </a:lnTo>
                  <a:lnTo>
                    <a:pt x="196" y="1425"/>
                  </a:lnTo>
                  <a:lnTo>
                    <a:pt x="261" y="1447"/>
                  </a:lnTo>
                  <a:lnTo>
                    <a:pt x="326" y="1469"/>
                  </a:lnTo>
                  <a:lnTo>
                    <a:pt x="266" y="1442"/>
                  </a:lnTo>
                  <a:lnTo>
                    <a:pt x="217" y="1414"/>
                  </a:lnTo>
                  <a:lnTo>
                    <a:pt x="174" y="1387"/>
                  </a:lnTo>
                  <a:lnTo>
                    <a:pt x="147" y="1360"/>
                  </a:lnTo>
                  <a:lnTo>
                    <a:pt x="125" y="1333"/>
                  </a:lnTo>
                  <a:lnTo>
                    <a:pt x="120" y="1306"/>
                  </a:lnTo>
                  <a:lnTo>
                    <a:pt x="125" y="1278"/>
                  </a:lnTo>
                  <a:lnTo>
                    <a:pt x="141" y="1257"/>
                  </a:lnTo>
                  <a:lnTo>
                    <a:pt x="174" y="1229"/>
                  </a:lnTo>
                  <a:lnTo>
                    <a:pt x="212" y="1208"/>
                  </a:lnTo>
                  <a:lnTo>
                    <a:pt x="272" y="1186"/>
                  </a:lnTo>
                  <a:lnTo>
                    <a:pt x="342" y="1164"/>
                  </a:lnTo>
                  <a:lnTo>
                    <a:pt x="423" y="1142"/>
                  </a:lnTo>
                  <a:lnTo>
                    <a:pt x="527" y="1121"/>
                  </a:lnTo>
                  <a:lnTo>
                    <a:pt x="641" y="1104"/>
                  </a:lnTo>
                  <a:lnTo>
                    <a:pt x="771" y="1088"/>
                  </a:lnTo>
                  <a:lnTo>
                    <a:pt x="771" y="1088"/>
                  </a:lnTo>
                  <a:close/>
                </a:path>
              </a:pathLst>
            </a:custGeom>
            <a:gradFill rotWithShape="0">
              <a:gsLst>
                <a:gs pos="0">
                  <a:schemeClr val="bg1">
                    <a:gamma/>
                    <a:shade val="84706"/>
                    <a:invGamma/>
                  </a:schemeClr>
                </a:gs>
                <a:gs pos="100000">
                  <a:schemeClr val="bg1"/>
                </a:gs>
              </a:gsLst>
              <a:lin ang="2700000" scaled="1"/>
            </a:gradFill>
            <a:ln w="9525">
              <a:noFill/>
              <a:round/>
              <a:headEnd/>
              <a:tailEnd/>
            </a:ln>
          </p:spPr>
          <p:txBody>
            <a:bodyPr/>
            <a:lstStyle/>
            <a:p>
              <a:pPr eaLnBrk="0" hangingPunct="0">
                <a:defRPr/>
              </a:pPr>
              <a:endParaRPr lang="en-US" sz="1800">
                <a:solidFill>
                  <a:srgbClr val="FFFFFF"/>
                </a:solidFill>
                <a:latin typeface="+mn-lt"/>
                <a:cs typeface="+mn-cs"/>
              </a:endParaRPr>
            </a:p>
          </p:txBody>
        </p:sp>
        <p:sp>
          <p:nvSpPr>
            <p:cNvPr id="7" name="Freeform 12">
              <a:extLst>
                <a:ext uri="{FF2B5EF4-FFF2-40B4-BE49-F238E27FC236}">
                  <a16:creationId xmlns:a16="http://schemas.microsoft.com/office/drawing/2014/main" id="{A7AB3F31-EBF6-4D93-AE54-CC16CBC68728}"/>
                </a:ext>
              </a:extLst>
            </p:cNvPr>
            <p:cNvSpPr>
              <a:spLocks/>
            </p:cNvSpPr>
            <p:nvPr/>
          </p:nvSpPr>
          <p:spPr bwMode="hidden">
            <a:xfrm>
              <a:off x="0" y="0"/>
              <a:ext cx="5758" cy="1776"/>
            </a:xfrm>
            <a:custGeom>
              <a:avLst/>
              <a:gdLst>
                <a:gd name="T0" fmla="*/ 0 w 5740"/>
                <a:gd name="T1" fmla="*/ 0 h 1906"/>
                <a:gd name="T2" fmla="*/ 0 w 5740"/>
                <a:gd name="T3" fmla="*/ 1776 h 1906"/>
                <a:gd name="T4" fmla="*/ 5758 w 5740"/>
                <a:gd name="T5" fmla="*/ 1776 h 1906"/>
                <a:gd name="T6" fmla="*/ 5758 w 5740"/>
                <a:gd name="T7" fmla="*/ 0 h 1906"/>
                <a:gd name="T8" fmla="*/ 0 w 5740"/>
                <a:gd name="T9" fmla="*/ 0 h 1906"/>
                <a:gd name="T10" fmla="*/ 0 w 5740"/>
                <a:gd name="T11" fmla="*/ 0 h 190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5740" h="1906">
                  <a:moveTo>
                    <a:pt x="0" y="0"/>
                  </a:moveTo>
                  <a:lnTo>
                    <a:pt x="0" y="1906"/>
                  </a:lnTo>
                  <a:lnTo>
                    <a:pt x="5740" y="1906"/>
                  </a:lnTo>
                  <a:lnTo>
                    <a:pt x="5740" y="0"/>
                  </a:lnTo>
                  <a:lnTo>
                    <a:pt x="0" y="0"/>
                  </a:lnTo>
                  <a:close/>
                </a:path>
              </a:pathLst>
            </a:custGeom>
            <a:gradFill rotWithShape="0">
              <a:gsLst>
                <a:gs pos="0">
                  <a:schemeClr val="bg2"/>
                </a:gs>
                <a:gs pos="100000">
                  <a:schemeClr val="bg1"/>
                </a:gs>
              </a:gsLst>
              <a:lin ang="54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800"/>
            </a:p>
          </p:txBody>
        </p:sp>
      </p:grpSp>
      <p:sp>
        <p:nvSpPr>
          <p:cNvPr id="13" name="Text Box 16">
            <a:extLst>
              <a:ext uri="{FF2B5EF4-FFF2-40B4-BE49-F238E27FC236}">
                <a16:creationId xmlns:a16="http://schemas.microsoft.com/office/drawing/2014/main" id="{5B79C2FA-3608-4E4B-B7DD-E46043E3DCC4}"/>
              </a:ext>
            </a:extLst>
          </p:cNvPr>
          <p:cNvSpPr txBox="1">
            <a:spLocks noChangeArrowheads="1"/>
          </p:cNvSpPr>
          <p:nvPr/>
        </p:nvSpPr>
        <p:spPr bwMode="auto">
          <a:xfrm>
            <a:off x="11074400" y="304801"/>
            <a:ext cx="711200"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pPr eaLnBrk="0" hangingPunct="0">
              <a:spcBef>
                <a:spcPct val="50000"/>
              </a:spcBef>
              <a:defRPr/>
            </a:pPr>
            <a:endParaRPr lang="en-US" altLang="en-US" sz="1800">
              <a:solidFill>
                <a:srgbClr val="FFFFFF"/>
              </a:solidFill>
              <a:latin typeface="Garamond" pitchFamily="18" charset="0"/>
            </a:endParaRPr>
          </a:p>
        </p:txBody>
      </p:sp>
      <p:sp>
        <p:nvSpPr>
          <p:cNvPr id="14" name="Text Box 17">
            <a:extLst>
              <a:ext uri="{FF2B5EF4-FFF2-40B4-BE49-F238E27FC236}">
                <a16:creationId xmlns:a16="http://schemas.microsoft.com/office/drawing/2014/main" id="{E29E84A3-4AE7-483D-AD6F-BE27695FC422}"/>
              </a:ext>
            </a:extLst>
          </p:cNvPr>
          <p:cNvSpPr txBox="1">
            <a:spLocks noChangeArrowheads="1"/>
          </p:cNvSpPr>
          <p:nvPr/>
        </p:nvSpPr>
        <p:spPr bwMode="auto">
          <a:xfrm>
            <a:off x="11582400" y="228601"/>
            <a:ext cx="609600"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Calibri" panose="020F0502020204030204" pitchFamily="34" charset="0"/>
                <a:cs typeface="Arial" panose="020B0604020202020204" pitchFamily="34" charset="0"/>
              </a:defRPr>
            </a:lvl1pPr>
            <a:lvl2pPr marL="742950" indent="-285750" eaLnBrk="0" hangingPunct="0">
              <a:defRPr>
                <a:solidFill>
                  <a:schemeClr val="tx1"/>
                </a:solidFill>
                <a:latin typeface="Calibri" panose="020F0502020204030204" pitchFamily="34" charset="0"/>
                <a:cs typeface="Arial" panose="020B0604020202020204" pitchFamily="34" charset="0"/>
              </a:defRPr>
            </a:lvl2pPr>
            <a:lvl3pPr marL="1143000" indent="-228600" eaLnBrk="0" hangingPunct="0">
              <a:defRPr>
                <a:solidFill>
                  <a:schemeClr val="tx1"/>
                </a:solidFill>
                <a:latin typeface="Calibri" panose="020F0502020204030204" pitchFamily="34" charset="0"/>
                <a:cs typeface="Arial" panose="020B0604020202020204" pitchFamily="34" charset="0"/>
              </a:defRPr>
            </a:lvl3pPr>
            <a:lvl4pPr marL="1600200" indent="-228600" eaLnBrk="0" hangingPunct="0">
              <a:defRPr>
                <a:solidFill>
                  <a:schemeClr val="tx1"/>
                </a:solidFill>
                <a:latin typeface="Calibri" panose="020F0502020204030204" pitchFamily="34" charset="0"/>
                <a:cs typeface="Arial" panose="020B0604020202020204" pitchFamily="34" charset="0"/>
              </a:defRPr>
            </a:lvl4pPr>
            <a:lvl5pPr marL="2057400" indent="-228600" eaLnBrk="0" hangingPunct="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spcBef>
                <a:spcPct val="50000"/>
              </a:spcBef>
            </a:pPr>
            <a:fld id="{9A663674-E353-4D54-A1B5-43AB01FB1356}" type="slidenum">
              <a:rPr lang="en-US" altLang="en-US" sz="1800">
                <a:solidFill>
                  <a:srgbClr val="FFFFFF"/>
                </a:solidFill>
                <a:latin typeface="Garamond" panose="02020404030301010803" pitchFamily="18" charset="0"/>
              </a:rPr>
              <a:pPr>
                <a:spcBef>
                  <a:spcPct val="50000"/>
                </a:spcBef>
              </a:pPr>
              <a:t>‹#›</a:t>
            </a:fld>
            <a:endParaRPr lang="en-US" altLang="en-US" sz="1800">
              <a:solidFill>
                <a:srgbClr val="FFFFFF"/>
              </a:solidFill>
              <a:latin typeface="Garamond" panose="02020404030301010803" pitchFamily="18" charset="0"/>
            </a:endParaRPr>
          </a:p>
        </p:txBody>
      </p:sp>
      <p:graphicFrame>
        <p:nvGraphicFramePr>
          <p:cNvPr id="15" name="Object 18">
            <a:extLst>
              <a:ext uri="{FF2B5EF4-FFF2-40B4-BE49-F238E27FC236}">
                <a16:creationId xmlns:a16="http://schemas.microsoft.com/office/drawing/2014/main" id="{A6D942FE-2C68-4515-BC32-EB10883FEDA2}"/>
              </a:ext>
            </a:extLst>
          </p:cNvPr>
          <p:cNvGraphicFramePr>
            <a:graphicFrameLocks noChangeAspect="1"/>
          </p:cNvGraphicFramePr>
          <p:nvPr/>
        </p:nvGraphicFramePr>
        <p:xfrm>
          <a:off x="9652000" y="5918200"/>
          <a:ext cx="2540000" cy="939800"/>
        </p:xfrm>
        <a:graphic>
          <a:graphicData uri="http://schemas.openxmlformats.org/presentationml/2006/ole">
            <mc:AlternateContent xmlns:mc="http://schemas.openxmlformats.org/markup-compatibility/2006">
              <mc:Choice xmlns:v="urn:schemas-microsoft-com:vml" Requires="v">
                <p:oleObj spid="_x0000_s16387" name="Bitmap Image" r:id="rId3" imgW="2142857" imgH="1057423" progId="Paint.Picture">
                  <p:embed/>
                </p:oleObj>
              </mc:Choice>
              <mc:Fallback>
                <p:oleObj name="Bitmap Image" r:id="rId3" imgW="2142857" imgH="1057423" progId="Paint.Picture">
                  <p:embed/>
                  <p:pic>
                    <p:nvPicPr>
                      <p:cNvPr id="15" name="Object 18">
                        <a:extLst>
                          <a:ext uri="{FF2B5EF4-FFF2-40B4-BE49-F238E27FC236}">
                            <a16:creationId xmlns:a16="http://schemas.microsoft.com/office/drawing/2014/main" id="{A6D942FE-2C68-4515-BC32-EB10883FEDA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652000" y="5918200"/>
                        <a:ext cx="2540000" cy="939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2" name="Title 1"/>
          <p:cNvSpPr>
            <a:spLocks noGrp="1"/>
          </p:cNvSpPr>
          <p:nvPr>
            <p:ph type="title"/>
          </p:nvPr>
        </p:nvSpPr>
        <p:spPr>
          <a:xfrm>
            <a:off x="609600" y="274638"/>
            <a:ext cx="10972800" cy="1143000"/>
          </a:xfrm>
        </p:spPr>
        <p:txBody>
          <a:bodyPr/>
          <a:lstStyle/>
          <a:p>
            <a:r>
              <a:rPr lang="en-US"/>
              <a:t>Click to edit Master title style</a:t>
            </a:r>
          </a:p>
        </p:txBody>
      </p:sp>
      <p:sp>
        <p:nvSpPr>
          <p:cNvPr id="3" name="Table Placeholder 2"/>
          <p:cNvSpPr>
            <a:spLocks noGrp="1"/>
          </p:cNvSpPr>
          <p:nvPr>
            <p:ph type="tbl" idx="1"/>
          </p:nvPr>
        </p:nvSpPr>
        <p:spPr>
          <a:xfrm>
            <a:off x="609600" y="1600201"/>
            <a:ext cx="10972800" cy="4525963"/>
          </a:xfrm>
        </p:spPr>
        <p:txBody>
          <a:bodyPr/>
          <a:lstStyle/>
          <a:p>
            <a:pPr lvl="0"/>
            <a:r>
              <a:rPr lang="en-US" noProof="0"/>
              <a:t>Click icon to add table</a:t>
            </a:r>
          </a:p>
        </p:txBody>
      </p:sp>
      <p:sp>
        <p:nvSpPr>
          <p:cNvPr id="16" name="Rectangle 2">
            <a:extLst>
              <a:ext uri="{FF2B5EF4-FFF2-40B4-BE49-F238E27FC236}">
                <a16:creationId xmlns:a16="http://schemas.microsoft.com/office/drawing/2014/main" id="{FCCBC6B1-BDEA-43B9-8F8C-3E3053E96C2C}"/>
              </a:ext>
            </a:extLst>
          </p:cNvPr>
          <p:cNvSpPr>
            <a:spLocks noGrp="1" noChangeArrowheads="1"/>
          </p:cNvSpPr>
          <p:nvPr>
            <p:ph type="dt" sz="half" idx="10"/>
          </p:nvPr>
        </p:nvSpPr>
        <p:spPr/>
        <p:txBody>
          <a:bodyPr/>
          <a:lstStyle>
            <a:lvl1pPr fontAlgn="auto">
              <a:spcBef>
                <a:spcPts val="0"/>
              </a:spcBef>
              <a:spcAft>
                <a:spcPts val="0"/>
              </a:spcAft>
              <a:defRPr/>
            </a:lvl1pPr>
          </a:lstStyle>
          <a:p>
            <a:pPr>
              <a:defRPr/>
            </a:pPr>
            <a:endParaRPr lang="en-US"/>
          </a:p>
        </p:txBody>
      </p:sp>
      <p:sp>
        <p:nvSpPr>
          <p:cNvPr id="17" name="Rectangle 3">
            <a:extLst>
              <a:ext uri="{FF2B5EF4-FFF2-40B4-BE49-F238E27FC236}">
                <a16:creationId xmlns:a16="http://schemas.microsoft.com/office/drawing/2014/main" id="{1E7E8027-B0C8-4734-9F19-21DD32244423}"/>
              </a:ext>
            </a:extLst>
          </p:cNvPr>
          <p:cNvSpPr>
            <a:spLocks noGrp="1" noChangeArrowheads="1"/>
          </p:cNvSpPr>
          <p:nvPr>
            <p:ph type="sldNum" sz="quarter" idx="11"/>
          </p:nvPr>
        </p:nvSpPr>
        <p:spPr/>
        <p:txBody>
          <a:bodyPr/>
          <a:lstStyle>
            <a:lvl1pPr>
              <a:defRPr/>
            </a:lvl1pPr>
          </a:lstStyle>
          <a:p>
            <a:fld id="{7BAB20BE-9A1C-4360-8550-AF0C80974351}" type="slidenum">
              <a:rPr lang="en-US" altLang="en-US"/>
              <a:pPr/>
              <a:t>‹#›</a:t>
            </a:fld>
            <a:endParaRPr lang="en-US" altLang="en-US"/>
          </a:p>
        </p:txBody>
      </p:sp>
      <p:sp>
        <p:nvSpPr>
          <p:cNvPr id="18" name="Rectangle 14">
            <a:extLst>
              <a:ext uri="{FF2B5EF4-FFF2-40B4-BE49-F238E27FC236}">
                <a16:creationId xmlns:a16="http://schemas.microsoft.com/office/drawing/2014/main" id="{F4A42D20-718C-46FF-A317-8865FD1B1905}"/>
              </a:ext>
            </a:extLst>
          </p:cNvPr>
          <p:cNvSpPr>
            <a:spLocks noGrp="1" noChangeArrowheads="1"/>
          </p:cNvSpPr>
          <p:nvPr>
            <p:ph type="ftr" sz="quarter" idx="12"/>
          </p:nvPr>
        </p:nvSpPr>
        <p:spPr/>
        <p:txBody>
          <a:bodyPr/>
          <a:lstStyle>
            <a:lvl1pPr fontAlgn="auto">
              <a:spcBef>
                <a:spcPts val="0"/>
              </a:spcBef>
              <a:spcAft>
                <a:spcPts val="0"/>
              </a:spcAft>
              <a:defRPr/>
            </a:lvl1pPr>
          </a:lstStyle>
          <a:p>
            <a:pPr>
              <a:defRPr/>
            </a:pPr>
            <a:endParaRPr lang="en-US"/>
          </a:p>
        </p:txBody>
      </p:sp>
    </p:spTree>
    <p:extLst>
      <p:ext uri="{BB962C8B-B14F-4D97-AF65-F5344CB8AC3E}">
        <p14:creationId xmlns:p14="http://schemas.microsoft.com/office/powerpoint/2010/main" val="4253003339"/>
      </p:ext>
    </p:extLst>
  </p:cSld>
  <p:clrMapOvr>
    <a:masterClrMapping/>
  </p:clrMapOvr>
  <p:transition>
    <p:random/>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type="mediaAndTx" preserve="1">
  <p:cSld name="Title, Media Clip and Text">
    <p:spTree>
      <p:nvGrpSpPr>
        <p:cNvPr id="1" name=""/>
        <p:cNvGrpSpPr/>
        <p:nvPr/>
      </p:nvGrpSpPr>
      <p:grpSpPr>
        <a:xfrm>
          <a:off x="0" y="0"/>
          <a:ext cx="0" cy="0"/>
          <a:chOff x="0" y="0"/>
          <a:chExt cx="0" cy="0"/>
        </a:xfrm>
      </p:grpSpPr>
      <p:grpSp>
        <p:nvGrpSpPr>
          <p:cNvPr id="5" name="Group 18">
            <a:extLst>
              <a:ext uri="{FF2B5EF4-FFF2-40B4-BE49-F238E27FC236}">
                <a16:creationId xmlns:a16="http://schemas.microsoft.com/office/drawing/2014/main" id="{E561F808-E770-451E-ACF4-DE22D3824372}"/>
              </a:ext>
            </a:extLst>
          </p:cNvPr>
          <p:cNvGrpSpPr>
            <a:grpSpLocks/>
          </p:cNvGrpSpPr>
          <p:nvPr/>
        </p:nvGrpSpPr>
        <p:grpSpPr bwMode="auto">
          <a:xfrm>
            <a:off x="1" y="1"/>
            <a:ext cx="12187767" cy="6850063"/>
            <a:chOff x="0" y="0"/>
            <a:chExt cx="5758" cy="4315"/>
          </a:xfrm>
        </p:grpSpPr>
        <p:grpSp>
          <p:nvGrpSpPr>
            <p:cNvPr id="6" name="Group 19">
              <a:extLst>
                <a:ext uri="{FF2B5EF4-FFF2-40B4-BE49-F238E27FC236}">
                  <a16:creationId xmlns:a16="http://schemas.microsoft.com/office/drawing/2014/main" id="{C866FF8C-754B-421C-9DF9-DFFC0B6B533C}"/>
                </a:ext>
              </a:extLst>
            </p:cNvPr>
            <p:cNvGrpSpPr>
              <a:grpSpLocks/>
            </p:cNvGrpSpPr>
            <p:nvPr userDrawn="1"/>
          </p:nvGrpSpPr>
          <p:grpSpPr bwMode="auto">
            <a:xfrm>
              <a:off x="1728" y="2230"/>
              <a:ext cx="4027" cy="2085"/>
              <a:chOff x="1728" y="2230"/>
              <a:chExt cx="4027" cy="2085"/>
            </a:xfrm>
          </p:grpSpPr>
          <p:sp>
            <p:nvSpPr>
              <p:cNvPr id="9" name="Freeform 6">
                <a:extLst>
                  <a:ext uri="{FF2B5EF4-FFF2-40B4-BE49-F238E27FC236}">
                    <a16:creationId xmlns:a16="http://schemas.microsoft.com/office/drawing/2014/main" id="{8CD97AC5-3E27-4F2F-AA92-CB81D2C099E7}"/>
                  </a:ext>
                </a:extLst>
              </p:cNvPr>
              <p:cNvSpPr>
                <a:spLocks/>
              </p:cNvSpPr>
              <p:nvPr/>
            </p:nvSpPr>
            <p:spPr bwMode="hidden">
              <a:xfrm>
                <a:off x="1728" y="2644"/>
                <a:ext cx="2882" cy="1671"/>
              </a:xfrm>
              <a:custGeom>
                <a:avLst/>
                <a:gdLst/>
                <a:ahLst/>
                <a:cxnLst>
                  <a:cxn ang="0">
                    <a:pos x="2740" y="528"/>
                  </a:cxn>
                  <a:cxn ang="0">
                    <a:pos x="2632" y="484"/>
                  </a:cxn>
                  <a:cxn ang="0">
                    <a:pos x="2480" y="424"/>
                  </a:cxn>
                  <a:cxn ang="0">
                    <a:pos x="2203" y="343"/>
                  </a:cxn>
                  <a:cxn ang="0">
                    <a:pos x="1970" y="277"/>
                  </a:cxn>
                  <a:cxn ang="0">
                    <a:pos x="1807" y="212"/>
                  </a:cxn>
                  <a:cxn ang="0">
                    <a:pos x="1693" y="152"/>
                  </a:cxn>
                  <a:cxn ang="0">
                    <a:pos x="1628" y="103"/>
                  </a:cxn>
                  <a:cxn ang="0">
                    <a:pos x="1590" y="60"/>
                  </a:cxn>
                  <a:cxn ang="0">
                    <a:pos x="1579" y="27"/>
                  </a:cxn>
                  <a:cxn ang="0">
                    <a:pos x="1585" y="0"/>
                  </a:cxn>
                  <a:cxn ang="0">
                    <a:pos x="1557" y="49"/>
                  </a:cxn>
                  <a:cxn ang="0">
                    <a:pos x="1568" y="98"/>
                  </a:cxn>
                  <a:cxn ang="0">
                    <a:pos x="1617" y="141"/>
                  </a:cxn>
                  <a:cxn ang="0">
                    <a:pos x="1688" y="185"/>
                  </a:cxn>
                  <a:cxn ang="0">
                    <a:pos x="1791" y="228"/>
                  </a:cxn>
                  <a:cxn ang="0">
                    <a:pos x="2040" y="310"/>
                  </a:cxn>
                  <a:cxn ang="0">
                    <a:pos x="2285" y="381"/>
                  </a:cxn>
                  <a:cxn ang="0">
                    <a:pos x="2464" y="435"/>
                  </a:cxn>
                  <a:cxn ang="0">
                    <a:pos x="2605" y="484"/>
                  </a:cxn>
                  <a:cxn ang="0">
                    <a:pos x="2708" y="528"/>
                  </a:cxn>
                  <a:cxn ang="0">
                    <a:pos x="2768" y="560"/>
                  </a:cxn>
                  <a:cxn ang="0">
                    <a:pos x="2795" y="593"/>
                  </a:cxn>
                  <a:cxn ang="0">
                    <a:pos x="2795" y="642"/>
                  </a:cxn>
                  <a:cxn ang="0">
                    <a:pos x="2762" y="691"/>
                  </a:cxn>
                  <a:cxn ang="0">
                    <a:pos x="2692" y="735"/>
                  </a:cxn>
                  <a:cxn ang="0">
                    <a:pos x="2589" y="778"/>
                  </a:cxn>
                  <a:cxn ang="0">
                    <a:pos x="2458" y="822"/>
                  </a:cxn>
                  <a:cxn ang="0">
                    <a:pos x="2301" y="865"/>
                  </a:cxn>
                  <a:cxn ang="0">
                    <a:pos x="2030" y="930"/>
                  </a:cxn>
                  <a:cxn ang="0">
                    <a:pos x="1606" y="1034"/>
                  </a:cxn>
                  <a:cxn ang="0">
                    <a:pos x="1145" y="1164"/>
                  </a:cxn>
                  <a:cxn ang="0">
                    <a:pos x="673" y="1328"/>
                  </a:cxn>
                  <a:cxn ang="0">
                    <a:pos x="217" y="1545"/>
                  </a:cxn>
                  <a:cxn ang="0">
                    <a:pos x="353" y="1671"/>
                  </a:cxn>
                  <a:cxn ang="0">
                    <a:pos x="754" y="1469"/>
                  </a:cxn>
                  <a:cxn ang="0">
                    <a:pos x="1145" y="1311"/>
                  </a:cxn>
                  <a:cxn ang="0">
                    <a:pos x="1519" y="1186"/>
                  </a:cxn>
                  <a:cxn ang="0">
                    <a:pos x="1861" y="1083"/>
                  </a:cxn>
                  <a:cxn ang="0">
                    <a:pos x="2165" y="1007"/>
                  </a:cxn>
                  <a:cxn ang="0">
                    <a:pos x="2426" y="947"/>
                  </a:cxn>
                  <a:cxn ang="0">
                    <a:pos x="2626" y="892"/>
                  </a:cxn>
                  <a:cxn ang="0">
                    <a:pos x="2762" y="838"/>
                  </a:cxn>
                  <a:cxn ang="0">
                    <a:pos x="2827" y="794"/>
                  </a:cxn>
                  <a:cxn ang="0">
                    <a:pos x="2865" y="745"/>
                  </a:cxn>
                  <a:cxn ang="0">
                    <a:pos x="2882" y="702"/>
                  </a:cxn>
                  <a:cxn ang="0">
                    <a:pos x="2854" y="620"/>
                  </a:cxn>
                  <a:cxn ang="0">
                    <a:pos x="2800" y="560"/>
                  </a:cxn>
                  <a:cxn ang="0">
                    <a:pos x="2773" y="544"/>
                  </a:cxn>
                </a:cxnLst>
                <a:rect l="0" t="0" r="r" b="b"/>
                <a:pathLst>
                  <a:path w="2882" h="1671">
                    <a:moveTo>
                      <a:pt x="2773" y="544"/>
                    </a:moveTo>
                    <a:lnTo>
                      <a:pt x="2740" y="528"/>
                    </a:lnTo>
                    <a:lnTo>
                      <a:pt x="2692" y="506"/>
                    </a:lnTo>
                    <a:lnTo>
                      <a:pt x="2632" y="484"/>
                    </a:lnTo>
                    <a:lnTo>
                      <a:pt x="2561" y="457"/>
                    </a:lnTo>
                    <a:lnTo>
                      <a:pt x="2480" y="424"/>
                    </a:lnTo>
                    <a:lnTo>
                      <a:pt x="2388" y="397"/>
                    </a:lnTo>
                    <a:lnTo>
                      <a:pt x="2203" y="343"/>
                    </a:lnTo>
                    <a:lnTo>
                      <a:pt x="2078" y="310"/>
                    </a:lnTo>
                    <a:lnTo>
                      <a:pt x="1970" y="277"/>
                    </a:lnTo>
                    <a:lnTo>
                      <a:pt x="1878" y="245"/>
                    </a:lnTo>
                    <a:lnTo>
                      <a:pt x="1807" y="212"/>
                    </a:lnTo>
                    <a:lnTo>
                      <a:pt x="1742" y="179"/>
                    </a:lnTo>
                    <a:lnTo>
                      <a:pt x="1693" y="152"/>
                    </a:lnTo>
                    <a:lnTo>
                      <a:pt x="1655" y="125"/>
                    </a:lnTo>
                    <a:lnTo>
                      <a:pt x="1628" y="103"/>
                    </a:lnTo>
                    <a:lnTo>
                      <a:pt x="1606" y="81"/>
                    </a:lnTo>
                    <a:lnTo>
                      <a:pt x="1590" y="60"/>
                    </a:lnTo>
                    <a:lnTo>
                      <a:pt x="1585" y="43"/>
                    </a:lnTo>
                    <a:lnTo>
                      <a:pt x="1579" y="27"/>
                    </a:lnTo>
                    <a:lnTo>
                      <a:pt x="1585" y="5"/>
                    </a:lnTo>
                    <a:lnTo>
                      <a:pt x="1585" y="0"/>
                    </a:lnTo>
                    <a:lnTo>
                      <a:pt x="1568" y="27"/>
                    </a:lnTo>
                    <a:lnTo>
                      <a:pt x="1557" y="49"/>
                    </a:lnTo>
                    <a:lnTo>
                      <a:pt x="1557" y="76"/>
                    </a:lnTo>
                    <a:lnTo>
                      <a:pt x="1568" y="98"/>
                    </a:lnTo>
                    <a:lnTo>
                      <a:pt x="1590" y="120"/>
                    </a:lnTo>
                    <a:lnTo>
                      <a:pt x="1617" y="141"/>
                    </a:lnTo>
                    <a:lnTo>
                      <a:pt x="1650" y="163"/>
                    </a:lnTo>
                    <a:lnTo>
                      <a:pt x="1688" y="185"/>
                    </a:lnTo>
                    <a:lnTo>
                      <a:pt x="1737" y="207"/>
                    </a:lnTo>
                    <a:lnTo>
                      <a:pt x="1791" y="228"/>
                    </a:lnTo>
                    <a:lnTo>
                      <a:pt x="1905" y="267"/>
                    </a:lnTo>
                    <a:lnTo>
                      <a:pt x="2040" y="310"/>
                    </a:lnTo>
                    <a:lnTo>
                      <a:pt x="2182" y="348"/>
                    </a:lnTo>
                    <a:lnTo>
                      <a:pt x="2285" y="381"/>
                    </a:lnTo>
                    <a:lnTo>
                      <a:pt x="2382" y="408"/>
                    </a:lnTo>
                    <a:lnTo>
                      <a:pt x="2464" y="435"/>
                    </a:lnTo>
                    <a:lnTo>
                      <a:pt x="2540" y="462"/>
                    </a:lnTo>
                    <a:lnTo>
                      <a:pt x="2605" y="484"/>
                    </a:lnTo>
                    <a:lnTo>
                      <a:pt x="2659" y="506"/>
                    </a:lnTo>
                    <a:lnTo>
                      <a:pt x="2708" y="528"/>
                    </a:lnTo>
                    <a:lnTo>
                      <a:pt x="2740" y="544"/>
                    </a:lnTo>
                    <a:lnTo>
                      <a:pt x="2768" y="560"/>
                    </a:lnTo>
                    <a:lnTo>
                      <a:pt x="2784" y="577"/>
                    </a:lnTo>
                    <a:lnTo>
                      <a:pt x="2795" y="593"/>
                    </a:lnTo>
                    <a:lnTo>
                      <a:pt x="2800" y="615"/>
                    </a:lnTo>
                    <a:lnTo>
                      <a:pt x="2795" y="642"/>
                    </a:lnTo>
                    <a:lnTo>
                      <a:pt x="2784" y="664"/>
                    </a:lnTo>
                    <a:lnTo>
                      <a:pt x="2762" y="691"/>
                    </a:lnTo>
                    <a:lnTo>
                      <a:pt x="2730" y="713"/>
                    </a:lnTo>
                    <a:lnTo>
                      <a:pt x="2692" y="735"/>
                    </a:lnTo>
                    <a:lnTo>
                      <a:pt x="2643" y="756"/>
                    </a:lnTo>
                    <a:lnTo>
                      <a:pt x="2589" y="778"/>
                    </a:lnTo>
                    <a:lnTo>
                      <a:pt x="2529" y="800"/>
                    </a:lnTo>
                    <a:lnTo>
                      <a:pt x="2458" y="822"/>
                    </a:lnTo>
                    <a:lnTo>
                      <a:pt x="2382" y="843"/>
                    </a:lnTo>
                    <a:lnTo>
                      <a:pt x="2301" y="865"/>
                    </a:lnTo>
                    <a:lnTo>
                      <a:pt x="2214" y="887"/>
                    </a:lnTo>
                    <a:lnTo>
                      <a:pt x="2030" y="930"/>
                    </a:lnTo>
                    <a:lnTo>
                      <a:pt x="1823" y="979"/>
                    </a:lnTo>
                    <a:lnTo>
                      <a:pt x="1606" y="1034"/>
                    </a:lnTo>
                    <a:lnTo>
                      <a:pt x="1378" y="1094"/>
                    </a:lnTo>
                    <a:lnTo>
                      <a:pt x="1145" y="1164"/>
                    </a:lnTo>
                    <a:lnTo>
                      <a:pt x="912" y="1241"/>
                    </a:lnTo>
                    <a:lnTo>
                      <a:pt x="673" y="1328"/>
                    </a:lnTo>
                    <a:lnTo>
                      <a:pt x="440" y="1431"/>
                    </a:lnTo>
                    <a:lnTo>
                      <a:pt x="217" y="1545"/>
                    </a:lnTo>
                    <a:lnTo>
                      <a:pt x="0" y="1671"/>
                    </a:lnTo>
                    <a:lnTo>
                      <a:pt x="353" y="1671"/>
                    </a:lnTo>
                    <a:lnTo>
                      <a:pt x="554" y="1567"/>
                    </a:lnTo>
                    <a:lnTo>
                      <a:pt x="754" y="1469"/>
                    </a:lnTo>
                    <a:lnTo>
                      <a:pt x="955" y="1388"/>
                    </a:lnTo>
                    <a:lnTo>
                      <a:pt x="1145" y="1311"/>
                    </a:lnTo>
                    <a:lnTo>
                      <a:pt x="1335" y="1241"/>
                    </a:lnTo>
                    <a:lnTo>
                      <a:pt x="1519" y="1186"/>
                    </a:lnTo>
                    <a:lnTo>
                      <a:pt x="1693" y="1132"/>
                    </a:lnTo>
                    <a:lnTo>
                      <a:pt x="1861" y="1083"/>
                    </a:lnTo>
                    <a:lnTo>
                      <a:pt x="2019" y="1045"/>
                    </a:lnTo>
                    <a:lnTo>
                      <a:pt x="2165" y="1007"/>
                    </a:lnTo>
                    <a:lnTo>
                      <a:pt x="2301" y="974"/>
                    </a:lnTo>
                    <a:lnTo>
                      <a:pt x="2426" y="947"/>
                    </a:lnTo>
                    <a:lnTo>
                      <a:pt x="2534" y="914"/>
                    </a:lnTo>
                    <a:lnTo>
                      <a:pt x="2626" y="892"/>
                    </a:lnTo>
                    <a:lnTo>
                      <a:pt x="2702" y="865"/>
                    </a:lnTo>
                    <a:lnTo>
                      <a:pt x="2762" y="838"/>
                    </a:lnTo>
                    <a:lnTo>
                      <a:pt x="2800" y="816"/>
                    </a:lnTo>
                    <a:lnTo>
                      <a:pt x="2827" y="794"/>
                    </a:lnTo>
                    <a:lnTo>
                      <a:pt x="2849" y="767"/>
                    </a:lnTo>
                    <a:lnTo>
                      <a:pt x="2865" y="745"/>
                    </a:lnTo>
                    <a:lnTo>
                      <a:pt x="2876" y="724"/>
                    </a:lnTo>
                    <a:lnTo>
                      <a:pt x="2882" y="702"/>
                    </a:lnTo>
                    <a:lnTo>
                      <a:pt x="2876" y="658"/>
                    </a:lnTo>
                    <a:lnTo>
                      <a:pt x="2854" y="620"/>
                    </a:lnTo>
                    <a:lnTo>
                      <a:pt x="2833" y="588"/>
                    </a:lnTo>
                    <a:lnTo>
                      <a:pt x="2800" y="560"/>
                    </a:lnTo>
                    <a:lnTo>
                      <a:pt x="2773" y="544"/>
                    </a:lnTo>
                    <a:lnTo>
                      <a:pt x="2773" y="544"/>
                    </a:lnTo>
                    <a:close/>
                  </a:path>
                </a:pathLst>
              </a:custGeom>
              <a:gradFill rotWithShape="0">
                <a:gsLst>
                  <a:gs pos="0">
                    <a:schemeClr val="bg1"/>
                  </a:gs>
                  <a:gs pos="100000">
                    <a:schemeClr val="bg1">
                      <a:gamma/>
                      <a:shade val="90980"/>
                      <a:invGamma/>
                    </a:schemeClr>
                  </a:gs>
                </a:gsLst>
                <a:lin ang="0" scaled="1"/>
              </a:gradFill>
              <a:ln w="9525">
                <a:noFill/>
                <a:round/>
                <a:headEnd/>
                <a:tailEnd/>
              </a:ln>
            </p:spPr>
            <p:txBody>
              <a:bodyPr/>
              <a:lstStyle/>
              <a:p>
                <a:pPr eaLnBrk="0" hangingPunct="0">
                  <a:defRPr/>
                </a:pPr>
                <a:endParaRPr lang="en-US" sz="1800">
                  <a:solidFill>
                    <a:srgbClr val="FFFFFF"/>
                  </a:solidFill>
                  <a:latin typeface="+mn-lt"/>
                  <a:cs typeface="+mn-cs"/>
                </a:endParaRPr>
              </a:p>
            </p:txBody>
          </p:sp>
          <p:sp>
            <p:nvSpPr>
              <p:cNvPr id="10" name="Freeform 7">
                <a:extLst>
                  <a:ext uri="{FF2B5EF4-FFF2-40B4-BE49-F238E27FC236}">
                    <a16:creationId xmlns:a16="http://schemas.microsoft.com/office/drawing/2014/main" id="{9DCDDDB2-637F-4180-BAF6-58A2172F1A1F}"/>
                  </a:ext>
                </a:extLst>
              </p:cNvPr>
              <p:cNvSpPr>
                <a:spLocks/>
              </p:cNvSpPr>
              <p:nvPr/>
            </p:nvSpPr>
            <p:spPr bwMode="hidden">
              <a:xfrm>
                <a:off x="4170" y="2671"/>
                <a:ext cx="1259" cy="811"/>
              </a:xfrm>
              <a:custGeom>
                <a:avLst/>
                <a:gdLst/>
                <a:ahLst/>
                <a:cxnLst>
                  <a:cxn ang="0">
                    <a:pos x="1259" y="615"/>
                  </a:cxn>
                  <a:cxn ang="0">
                    <a:pos x="1248" y="588"/>
                  </a:cxn>
                  <a:cxn ang="0">
                    <a:pos x="1237" y="566"/>
                  </a:cxn>
                  <a:cxn ang="0">
                    <a:pos x="1216" y="539"/>
                  </a:cxn>
                  <a:cxn ang="0">
                    <a:pos x="1188" y="517"/>
                  </a:cxn>
                  <a:cxn ang="0">
                    <a:pos x="1123" y="479"/>
                  </a:cxn>
                  <a:cxn ang="0">
                    <a:pos x="1042" y="441"/>
                  </a:cxn>
                  <a:cxn ang="0">
                    <a:pos x="944" y="408"/>
                  </a:cxn>
                  <a:cxn ang="0">
                    <a:pos x="841" y="381"/>
                  </a:cxn>
                  <a:cxn ang="0">
                    <a:pos x="727" y="348"/>
                  </a:cxn>
                  <a:cxn ang="0">
                    <a:pos x="613" y="321"/>
                  </a:cxn>
                  <a:cxn ang="0">
                    <a:pos x="499" y="294"/>
                  </a:cxn>
                  <a:cxn ang="0">
                    <a:pos x="391" y="261"/>
                  </a:cxn>
                  <a:cxn ang="0">
                    <a:pos x="288" y="229"/>
                  </a:cxn>
                  <a:cxn ang="0">
                    <a:pos x="195" y="196"/>
                  </a:cxn>
                  <a:cxn ang="0">
                    <a:pos x="119" y="152"/>
                  </a:cxn>
                  <a:cxn ang="0">
                    <a:pos x="54" y="109"/>
                  </a:cxn>
                  <a:cxn ang="0">
                    <a:pos x="33" y="87"/>
                  </a:cxn>
                  <a:cxn ang="0">
                    <a:pos x="16" y="60"/>
                  </a:cxn>
                  <a:cxn ang="0">
                    <a:pos x="5" y="33"/>
                  </a:cxn>
                  <a:cxn ang="0">
                    <a:pos x="0" y="0"/>
                  </a:cxn>
                  <a:cxn ang="0">
                    <a:pos x="0" y="6"/>
                  </a:cxn>
                  <a:cxn ang="0">
                    <a:pos x="0" y="11"/>
                  </a:cxn>
                  <a:cxn ang="0">
                    <a:pos x="0" y="38"/>
                  </a:cxn>
                  <a:cxn ang="0">
                    <a:pos x="5" y="60"/>
                  </a:cxn>
                  <a:cxn ang="0">
                    <a:pos x="16" y="87"/>
                  </a:cxn>
                  <a:cxn ang="0">
                    <a:pos x="33" y="114"/>
                  </a:cxn>
                  <a:cxn ang="0">
                    <a:pos x="54" y="142"/>
                  </a:cxn>
                  <a:cxn ang="0">
                    <a:pos x="87" y="174"/>
                  </a:cxn>
                  <a:cxn ang="0">
                    <a:pos x="125" y="207"/>
                  </a:cxn>
                  <a:cxn ang="0">
                    <a:pos x="179" y="240"/>
                  </a:cxn>
                  <a:cxn ang="0">
                    <a:pos x="244" y="278"/>
                  </a:cxn>
                  <a:cxn ang="0">
                    <a:pos x="326" y="310"/>
                  </a:cxn>
                  <a:cxn ang="0">
                    <a:pos x="418" y="348"/>
                  </a:cxn>
                  <a:cxn ang="0">
                    <a:pos x="526" y="381"/>
                  </a:cxn>
                  <a:cxn ang="0">
                    <a:pos x="657" y="414"/>
                  </a:cxn>
                  <a:cxn ang="0">
                    <a:pos x="749" y="435"/>
                  </a:cxn>
                  <a:cxn ang="0">
                    <a:pos x="830" y="463"/>
                  </a:cxn>
                  <a:cxn ang="0">
                    <a:pos x="901" y="490"/>
                  </a:cxn>
                  <a:cxn ang="0">
                    <a:pos x="966" y="512"/>
                  </a:cxn>
                  <a:cxn ang="0">
                    <a:pos x="1015" y="539"/>
                  </a:cxn>
                  <a:cxn ang="0">
                    <a:pos x="1053" y="566"/>
                  </a:cxn>
                  <a:cxn ang="0">
                    <a:pos x="1080" y="593"/>
                  </a:cxn>
                  <a:cxn ang="0">
                    <a:pos x="1102" y="620"/>
                  </a:cxn>
                  <a:cxn ang="0">
                    <a:pos x="1112" y="648"/>
                  </a:cxn>
                  <a:cxn ang="0">
                    <a:pos x="1118" y="675"/>
                  </a:cxn>
                  <a:cxn ang="0">
                    <a:pos x="1112" y="697"/>
                  </a:cxn>
                  <a:cxn ang="0">
                    <a:pos x="1096" y="724"/>
                  </a:cxn>
                  <a:cxn ang="0">
                    <a:pos x="1080" y="746"/>
                  </a:cxn>
                  <a:cxn ang="0">
                    <a:pos x="1053" y="767"/>
                  </a:cxn>
                  <a:cxn ang="0">
                    <a:pos x="1015" y="789"/>
                  </a:cxn>
                  <a:cxn ang="0">
                    <a:pos x="977" y="811"/>
                  </a:cxn>
                  <a:cxn ang="0">
                    <a:pos x="1047" y="789"/>
                  </a:cxn>
                  <a:cxn ang="0">
                    <a:pos x="1107" y="767"/>
                  </a:cxn>
                  <a:cxn ang="0">
                    <a:pos x="1156" y="746"/>
                  </a:cxn>
                  <a:cxn ang="0">
                    <a:pos x="1199" y="724"/>
                  </a:cxn>
                  <a:cxn ang="0">
                    <a:pos x="1226" y="702"/>
                  </a:cxn>
                  <a:cxn ang="0">
                    <a:pos x="1248" y="675"/>
                  </a:cxn>
                  <a:cxn ang="0">
                    <a:pos x="1259" y="648"/>
                  </a:cxn>
                  <a:cxn ang="0">
                    <a:pos x="1259" y="615"/>
                  </a:cxn>
                  <a:cxn ang="0">
                    <a:pos x="1259" y="615"/>
                  </a:cxn>
                </a:cxnLst>
                <a:rect l="0" t="0" r="r" b="b"/>
                <a:pathLst>
                  <a:path w="1259" h="811">
                    <a:moveTo>
                      <a:pt x="1259" y="615"/>
                    </a:moveTo>
                    <a:lnTo>
                      <a:pt x="1248" y="588"/>
                    </a:lnTo>
                    <a:lnTo>
                      <a:pt x="1237" y="566"/>
                    </a:lnTo>
                    <a:lnTo>
                      <a:pt x="1216" y="539"/>
                    </a:lnTo>
                    <a:lnTo>
                      <a:pt x="1188" y="517"/>
                    </a:lnTo>
                    <a:lnTo>
                      <a:pt x="1123" y="479"/>
                    </a:lnTo>
                    <a:lnTo>
                      <a:pt x="1042" y="441"/>
                    </a:lnTo>
                    <a:lnTo>
                      <a:pt x="944" y="408"/>
                    </a:lnTo>
                    <a:lnTo>
                      <a:pt x="841" y="381"/>
                    </a:lnTo>
                    <a:lnTo>
                      <a:pt x="727" y="348"/>
                    </a:lnTo>
                    <a:lnTo>
                      <a:pt x="613" y="321"/>
                    </a:lnTo>
                    <a:lnTo>
                      <a:pt x="499" y="294"/>
                    </a:lnTo>
                    <a:lnTo>
                      <a:pt x="391" y="261"/>
                    </a:lnTo>
                    <a:lnTo>
                      <a:pt x="288" y="229"/>
                    </a:lnTo>
                    <a:lnTo>
                      <a:pt x="195" y="196"/>
                    </a:lnTo>
                    <a:lnTo>
                      <a:pt x="119" y="152"/>
                    </a:lnTo>
                    <a:lnTo>
                      <a:pt x="54" y="109"/>
                    </a:lnTo>
                    <a:lnTo>
                      <a:pt x="33" y="87"/>
                    </a:lnTo>
                    <a:lnTo>
                      <a:pt x="16" y="60"/>
                    </a:lnTo>
                    <a:lnTo>
                      <a:pt x="5" y="33"/>
                    </a:lnTo>
                    <a:lnTo>
                      <a:pt x="0" y="0"/>
                    </a:lnTo>
                    <a:lnTo>
                      <a:pt x="0" y="6"/>
                    </a:lnTo>
                    <a:lnTo>
                      <a:pt x="0" y="11"/>
                    </a:lnTo>
                    <a:lnTo>
                      <a:pt x="0" y="38"/>
                    </a:lnTo>
                    <a:lnTo>
                      <a:pt x="5" y="60"/>
                    </a:lnTo>
                    <a:lnTo>
                      <a:pt x="16" y="87"/>
                    </a:lnTo>
                    <a:lnTo>
                      <a:pt x="33" y="114"/>
                    </a:lnTo>
                    <a:lnTo>
                      <a:pt x="54" y="142"/>
                    </a:lnTo>
                    <a:lnTo>
                      <a:pt x="87" y="174"/>
                    </a:lnTo>
                    <a:lnTo>
                      <a:pt x="125" y="207"/>
                    </a:lnTo>
                    <a:lnTo>
                      <a:pt x="179" y="240"/>
                    </a:lnTo>
                    <a:lnTo>
                      <a:pt x="244" y="278"/>
                    </a:lnTo>
                    <a:lnTo>
                      <a:pt x="326" y="310"/>
                    </a:lnTo>
                    <a:lnTo>
                      <a:pt x="418" y="348"/>
                    </a:lnTo>
                    <a:lnTo>
                      <a:pt x="526" y="381"/>
                    </a:lnTo>
                    <a:lnTo>
                      <a:pt x="657" y="414"/>
                    </a:lnTo>
                    <a:lnTo>
                      <a:pt x="749" y="435"/>
                    </a:lnTo>
                    <a:lnTo>
                      <a:pt x="830" y="463"/>
                    </a:lnTo>
                    <a:lnTo>
                      <a:pt x="901" y="490"/>
                    </a:lnTo>
                    <a:lnTo>
                      <a:pt x="966" y="512"/>
                    </a:lnTo>
                    <a:lnTo>
                      <a:pt x="1015" y="539"/>
                    </a:lnTo>
                    <a:lnTo>
                      <a:pt x="1053" y="566"/>
                    </a:lnTo>
                    <a:lnTo>
                      <a:pt x="1080" y="593"/>
                    </a:lnTo>
                    <a:lnTo>
                      <a:pt x="1102" y="620"/>
                    </a:lnTo>
                    <a:lnTo>
                      <a:pt x="1112" y="648"/>
                    </a:lnTo>
                    <a:lnTo>
                      <a:pt x="1118" y="675"/>
                    </a:lnTo>
                    <a:lnTo>
                      <a:pt x="1112" y="697"/>
                    </a:lnTo>
                    <a:lnTo>
                      <a:pt x="1096" y="724"/>
                    </a:lnTo>
                    <a:lnTo>
                      <a:pt x="1080" y="746"/>
                    </a:lnTo>
                    <a:lnTo>
                      <a:pt x="1053" y="767"/>
                    </a:lnTo>
                    <a:lnTo>
                      <a:pt x="1015" y="789"/>
                    </a:lnTo>
                    <a:lnTo>
                      <a:pt x="977" y="811"/>
                    </a:lnTo>
                    <a:lnTo>
                      <a:pt x="1047" y="789"/>
                    </a:lnTo>
                    <a:lnTo>
                      <a:pt x="1107" y="767"/>
                    </a:lnTo>
                    <a:lnTo>
                      <a:pt x="1156" y="746"/>
                    </a:lnTo>
                    <a:lnTo>
                      <a:pt x="1199" y="724"/>
                    </a:lnTo>
                    <a:lnTo>
                      <a:pt x="1226" y="702"/>
                    </a:lnTo>
                    <a:lnTo>
                      <a:pt x="1248" y="675"/>
                    </a:lnTo>
                    <a:lnTo>
                      <a:pt x="1259" y="648"/>
                    </a:lnTo>
                    <a:lnTo>
                      <a:pt x="1259" y="615"/>
                    </a:lnTo>
                    <a:lnTo>
                      <a:pt x="1259" y="615"/>
                    </a:lnTo>
                    <a:close/>
                  </a:path>
                </a:pathLst>
              </a:custGeom>
              <a:gradFill rotWithShape="0">
                <a:gsLst>
                  <a:gs pos="0">
                    <a:schemeClr val="bg1"/>
                  </a:gs>
                  <a:gs pos="100000">
                    <a:schemeClr val="bg1">
                      <a:gamma/>
                      <a:shade val="90980"/>
                      <a:invGamma/>
                    </a:schemeClr>
                  </a:gs>
                </a:gsLst>
                <a:lin ang="2700000" scaled="1"/>
              </a:gradFill>
              <a:ln w="9525">
                <a:noFill/>
                <a:round/>
                <a:headEnd/>
                <a:tailEnd/>
              </a:ln>
            </p:spPr>
            <p:txBody>
              <a:bodyPr/>
              <a:lstStyle/>
              <a:p>
                <a:pPr eaLnBrk="0" hangingPunct="0">
                  <a:defRPr/>
                </a:pPr>
                <a:endParaRPr lang="en-US" sz="1800">
                  <a:solidFill>
                    <a:srgbClr val="FFFFFF"/>
                  </a:solidFill>
                  <a:latin typeface="+mn-lt"/>
                  <a:cs typeface="+mn-cs"/>
                </a:endParaRPr>
              </a:p>
            </p:txBody>
          </p:sp>
          <p:sp>
            <p:nvSpPr>
              <p:cNvPr id="11" name="Freeform 8">
                <a:extLst>
                  <a:ext uri="{FF2B5EF4-FFF2-40B4-BE49-F238E27FC236}">
                    <a16:creationId xmlns:a16="http://schemas.microsoft.com/office/drawing/2014/main" id="{87C9D90A-15AC-4E8E-AC99-DBFF6AC6BC25}"/>
                  </a:ext>
                </a:extLst>
              </p:cNvPr>
              <p:cNvSpPr>
                <a:spLocks/>
              </p:cNvSpPr>
              <p:nvPr/>
            </p:nvSpPr>
            <p:spPr bwMode="hidden">
              <a:xfrm>
                <a:off x="2900" y="3346"/>
                <a:ext cx="2849" cy="969"/>
              </a:xfrm>
              <a:custGeom>
                <a:avLst/>
                <a:gdLst/>
                <a:ahLst/>
                <a:cxnLst>
                  <a:cxn ang="0">
                    <a:pos x="92" y="958"/>
                  </a:cxn>
                  <a:cxn ang="0">
                    <a:pos x="0" y="969"/>
                  </a:cxn>
                  <a:cxn ang="0">
                    <a:pos x="391" y="969"/>
                  </a:cxn>
                  <a:cxn ang="0">
                    <a:pos x="434" y="947"/>
                  </a:cxn>
                  <a:cxn ang="0">
                    <a:pos x="483" y="914"/>
                  </a:cxn>
                  <a:cxn ang="0">
                    <a:pos x="554" y="876"/>
                  </a:cxn>
                  <a:cxn ang="0">
                    <a:pos x="635" y="838"/>
                  </a:cxn>
                  <a:cxn ang="0">
                    <a:pos x="727" y="794"/>
                  </a:cxn>
                  <a:cxn ang="0">
                    <a:pos x="836" y="745"/>
                  </a:cxn>
                  <a:cxn ang="0">
                    <a:pos x="961" y="696"/>
                  </a:cxn>
                  <a:cxn ang="0">
                    <a:pos x="1102" y="642"/>
                  </a:cxn>
                  <a:cxn ang="0">
                    <a:pos x="1259" y="582"/>
                  </a:cxn>
                  <a:cxn ang="0">
                    <a:pos x="1433" y="522"/>
                  </a:cxn>
                  <a:cxn ang="0">
                    <a:pos x="1623" y="462"/>
                  </a:cxn>
                  <a:cxn ang="0">
                    <a:pos x="1829" y="403"/>
                  </a:cxn>
                  <a:cxn ang="0">
                    <a:pos x="2057" y="343"/>
                  </a:cxn>
                  <a:cxn ang="0">
                    <a:pos x="2301" y="283"/>
                  </a:cxn>
                  <a:cxn ang="0">
                    <a:pos x="2567" y="223"/>
                  </a:cxn>
                  <a:cxn ang="0">
                    <a:pos x="2849" y="163"/>
                  </a:cxn>
                  <a:cxn ang="0">
                    <a:pos x="2849" y="0"/>
                  </a:cxn>
                  <a:cxn ang="0">
                    <a:pos x="2817" y="16"/>
                  </a:cxn>
                  <a:cxn ang="0">
                    <a:pos x="2773" y="33"/>
                  </a:cxn>
                  <a:cxn ang="0">
                    <a:pos x="2719" y="54"/>
                  </a:cxn>
                  <a:cxn ang="0">
                    <a:pos x="2648" y="76"/>
                  </a:cxn>
                  <a:cxn ang="0">
                    <a:pos x="2572" y="98"/>
                  </a:cxn>
                  <a:cxn ang="0">
                    <a:pos x="2491" y="120"/>
                  </a:cxn>
                  <a:cxn ang="0">
                    <a:pos x="2399" y="147"/>
                  </a:cxn>
                  <a:cxn ang="0">
                    <a:pos x="2301" y="169"/>
                  </a:cxn>
                  <a:cxn ang="0">
                    <a:pos x="2095" y="223"/>
                  </a:cxn>
                  <a:cxn ang="0">
                    <a:pos x="1889" y="277"/>
                  </a:cxn>
                  <a:cxn ang="0">
                    <a:pos x="1688" y="326"/>
                  </a:cxn>
                  <a:cxn ang="0">
                    <a:pos x="1590" y="354"/>
                  </a:cxn>
                  <a:cxn ang="0">
                    <a:pos x="1503" y="381"/>
                  </a:cxn>
                  <a:cxn ang="0">
                    <a:pos x="1107" y="506"/>
                  </a:cxn>
                  <a:cxn ang="0">
                    <a:pos x="912" y="577"/>
                  </a:cxn>
                  <a:cxn ang="0">
                    <a:pos x="727" y="647"/>
                  </a:cxn>
                  <a:cxn ang="0">
                    <a:pos x="548" y="718"/>
                  </a:cxn>
                  <a:cxn ang="0">
                    <a:pos x="380" y="794"/>
                  </a:cxn>
                  <a:cxn ang="0">
                    <a:pos x="228" y="876"/>
                  </a:cxn>
                  <a:cxn ang="0">
                    <a:pos x="92" y="958"/>
                  </a:cxn>
                  <a:cxn ang="0">
                    <a:pos x="92" y="958"/>
                  </a:cxn>
                </a:cxnLst>
                <a:rect l="0" t="0" r="r" b="b"/>
                <a:pathLst>
                  <a:path w="2849" h="969">
                    <a:moveTo>
                      <a:pt x="92" y="958"/>
                    </a:moveTo>
                    <a:lnTo>
                      <a:pt x="0" y="969"/>
                    </a:lnTo>
                    <a:lnTo>
                      <a:pt x="391" y="969"/>
                    </a:lnTo>
                    <a:lnTo>
                      <a:pt x="434" y="947"/>
                    </a:lnTo>
                    <a:lnTo>
                      <a:pt x="483" y="914"/>
                    </a:lnTo>
                    <a:lnTo>
                      <a:pt x="554" y="876"/>
                    </a:lnTo>
                    <a:lnTo>
                      <a:pt x="635" y="838"/>
                    </a:lnTo>
                    <a:lnTo>
                      <a:pt x="727" y="794"/>
                    </a:lnTo>
                    <a:lnTo>
                      <a:pt x="836" y="745"/>
                    </a:lnTo>
                    <a:lnTo>
                      <a:pt x="961" y="696"/>
                    </a:lnTo>
                    <a:lnTo>
                      <a:pt x="1102" y="642"/>
                    </a:lnTo>
                    <a:lnTo>
                      <a:pt x="1259" y="582"/>
                    </a:lnTo>
                    <a:lnTo>
                      <a:pt x="1433" y="522"/>
                    </a:lnTo>
                    <a:lnTo>
                      <a:pt x="1623" y="462"/>
                    </a:lnTo>
                    <a:lnTo>
                      <a:pt x="1829" y="403"/>
                    </a:lnTo>
                    <a:lnTo>
                      <a:pt x="2057" y="343"/>
                    </a:lnTo>
                    <a:lnTo>
                      <a:pt x="2301" y="283"/>
                    </a:lnTo>
                    <a:lnTo>
                      <a:pt x="2567" y="223"/>
                    </a:lnTo>
                    <a:lnTo>
                      <a:pt x="2849" y="163"/>
                    </a:lnTo>
                    <a:lnTo>
                      <a:pt x="2849" y="0"/>
                    </a:lnTo>
                    <a:lnTo>
                      <a:pt x="2817" y="16"/>
                    </a:lnTo>
                    <a:lnTo>
                      <a:pt x="2773" y="33"/>
                    </a:lnTo>
                    <a:lnTo>
                      <a:pt x="2719" y="54"/>
                    </a:lnTo>
                    <a:lnTo>
                      <a:pt x="2648" y="76"/>
                    </a:lnTo>
                    <a:lnTo>
                      <a:pt x="2572" y="98"/>
                    </a:lnTo>
                    <a:lnTo>
                      <a:pt x="2491" y="120"/>
                    </a:lnTo>
                    <a:lnTo>
                      <a:pt x="2399" y="147"/>
                    </a:lnTo>
                    <a:lnTo>
                      <a:pt x="2301" y="169"/>
                    </a:lnTo>
                    <a:lnTo>
                      <a:pt x="2095" y="223"/>
                    </a:lnTo>
                    <a:lnTo>
                      <a:pt x="1889" y="277"/>
                    </a:lnTo>
                    <a:lnTo>
                      <a:pt x="1688" y="326"/>
                    </a:lnTo>
                    <a:lnTo>
                      <a:pt x="1590" y="354"/>
                    </a:lnTo>
                    <a:lnTo>
                      <a:pt x="1503" y="381"/>
                    </a:lnTo>
                    <a:lnTo>
                      <a:pt x="1107" y="506"/>
                    </a:lnTo>
                    <a:lnTo>
                      <a:pt x="912" y="577"/>
                    </a:lnTo>
                    <a:lnTo>
                      <a:pt x="727" y="647"/>
                    </a:lnTo>
                    <a:lnTo>
                      <a:pt x="548" y="718"/>
                    </a:lnTo>
                    <a:lnTo>
                      <a:pt x="380" y="794"/>
                    </a:lnTo>
                    <a:lnTo>
                      <a:pt x="228" y="876"/>
                    </a:lnTo>
                    <a:lnTo>
                      <a:pt x="92" y="958"/>
                    </a:lnTo>
                    <a:lnTo>
                      <a:pt x="92" y="958"/>
                    </a:lnTo>
                    <a:close/>
                  </a:path>
                </a:pathLst>
              </a:custGeom>
              <a:gradFill rotWithShape="0">
                <a:gsLst>
                  <a:gs pos="0">
                    <a:schemeClr val="bg1">
                      <a:gamma/>
                      <a:shade val="81961"/>
                      <a:invGamma/>
                    </a:schemeClr>
                  </a:gs>
                  <a:gs pos="100000">
                    <a:schemeClr val="bg1"/>
                  </a:gs>
                </a:gsLst>
                <a:lin ang="5400000" scaled="1"/>
              </a:gradFill>
              <a:ln w="9525">
                <a:noFill/>
                <a:round/>
                <a:headEnd/>
                <a:tailEnd/>
              </a:ln>
            </p:spPr>
            <p:txBody>
              <a:bodyPr/>
              <a:lstStyle/>
              <a:p>
                <a:pPr eaLnBrk="0" hangingPunct="0">
                  <a:defRPr/>
                </a:pPr>
                <a:endParaRPr lang="en-US" sz="1800">
                  <a:solidFill>
                    <a:srgbClr val="FFFFFF"/>
                  </a:solidFill>
                  <a:latin typeface="+mn-lt"/>
                  <a:cs typeface="+mn-cs"/>
                </a:endParaRPr>
              </a:p>
            </p:txBody>
          </p:sp>
          <p:sp>
            <p:nvSpPr>
              <p:cNvPr id="12" name="Freeform 9">
                <a:extLst>
                  <a:ext uri="{FF2B5EF4-FFF2-40B4-BE49-F238E27FC236}">
                    <a16:creationId xmlns:a16="http://schemas.microsoft.com/office/drawing/2014/main" id="{360AB505-5F9A-47B9-842A-3577DC9C2099}"/>
                  </a:ext>
                </a:extLst>
              </p:cNvPr>
              <p:cNvSpPr>
                <a:spLocks/>
              </p:cNvSpPr>
              <p:nvPr/>
            </p:nvSpPr>
            <p:spPr bwMode="hidden">
              <a:xfrm>
                <a:off x="2748" y="2230"/>
                <a:ext cx="3007" cy="2085"/>
              </a:xfrm>
              <a:custGeom>
                <a:avLst/>
                <a:gdLst>
                  <a:gd name="T0" fmla="*/ 1433 w 3007"/>
                  <a:gd name="T1" fmla="*/ 474 h 2085"/>
                  <a:gd name="T2" fmla="*/ 1460 w 3007"/>
                  <a:gd name="T3" fmla="*/ 528 h 2085"/>
                  <a:gd name="T4" fmla="*/ 1541 w 3007"/>
                  <a:gd name="T5" fmla="*/ 593 h 2085"/>
                  <a:gd name="T6" fmla="*/ 1715 w 3007"/>
                  <a:gd name="T7" fmla="*/ 670 h 2085"/>
                  <a:gd name="T8" fmla="*/ 1927 w 3007"/>
                  <a:gd name="T9" fmla="*/ 735 h 2085"/>
                  <a:gd name="T10" fmla="*/ 2155 w 3007"/>
                  <a:gd name="T11" fmla="*/ 789 h 2085"/>
                  <a:gd name="T12" fmla="*/ 2372 w 3007"/>
                  <a:gd name="T13" fmla="*/ 849 h 2085"/>
                  <a:gd name="T14" fmla="*/ 2551 w 3007"/>
                  <a:gd name="T15" fmla="*/ 920 h 2085"/>
                  <a:gd name="T16" fmla="*/ 2638 w 3007"/>
                  <a:gd name="T17" fmla="*/ 980 h 2085"/>
                  <a:gd name="T18" fmla="*/ 2676 w 3007"/>
                  <a:gd name="T19" fmla="*/ 1029 h 2085"/>
                  <a:gd name="T20" fmla="*/ 2681 w 3007"/>
                  <a:gd name="T21" fmla="*/ 1083 h 2085"/>
                  <a:gd name="T22" fmla="*/ 2665 w 3007"/>
                  <a:gd name="T23" fmla="*/ 1127 h 2085"/>
                  <a:gd name="T24" fmla="*/ 2616 w 3007"/>
                  <a:gd name="T25" fmla="*/ 1170 h 2085"/>
                  <a:gd name="T26" fmla="*/ 2545 w 3007"/>
                  <a:gd name="T27" fmla="*/ 1208 h 2085"/>
                  <a:gd name="T28" fmla="*/ 2448 w 3007"/>
                  <a:gd name="T29" fmla="*/ 1241 h 2085"/>
                  <a:gd name="T30" fmla="*/ 2328 w 3007"/>
                  <a:gd name="T31" fmla="*/ 1274 h 2085"/>
                  <a:gd name="T32" fmla="*/ 2106 w 3007"/>
                  <a:gd name="T33" fmla="*/ 1328 h 2085"/>
                  <a:gd name="T34" fmla="*/ 1742 w 3007"/>
                  <a:gd name="T35" fmla="*/ 1421 h 2085"/>
                  <a:gd name="T36" fmla="*/ 1308 w 3007"/>
                  <a:gd name="T37" fmla="*/ 1540 h 2085"/>
                  <a:gd name="T38" fmla="*/ 820 w 3007"/>
                  <a:gd name="T39" fmla="*/ 1709 h 2085"/>
                  <a:gd name="T40" fmla="*/ 282 w 3007"/>
                  <a:gd name="T41" fmla="*/ 1943 h 2085"/>
                  <a:gd name="T42" fmla="*/ 152 w 3007"/>
                  <a:gd name="T43" fmla="*/ 2085 h 2085"/>
                  <a:gd name="T44" fmla="*/ 386 w 3007"/>
                  <a:gd name="T45" fmla="*/ 1992 h 2085"/>
                  <a:gd name="T46" fmla="*/ 700 w 3007"/>
                  <a:gd name="T47" fmla="*/ 1834 h 2085"/>
                  <a:gd name="T48" fmla="*/ 1064 w 3007"/>
                  <a:gd name="T49" fmla="*/ 1693 h 2085"/>
                  <a:gd name="T50" fmla="*/ 1661 w 3007"/>
                  <a:gd name="T51" fmla="*/ 1497 h 2085"/>
                  <a:gd name="T52" fmla="*/ 1845 w 3007"/>
                  <a:gd name="T53" fmla="*/ 1442 h 2085"/>
                  <a:gd name="T54" fmla="*/ 2252 w 3007"/>
                  <a:gd name="T55" fmla="*/ 1339 h 2085"/>
                  <a:gd name="T56" fmla="*/ 2551 w 3007"/>
                  <a:gd name="T57" fmla="*/ 1263 h 2085"/>
                  <a:gd name="T58" fmla="*/ 2730 w 3007"/>
                  <a:gd name="T59" fmla="*/ 1214 h 2085"/>
                  <a:gd name="T60" fmla="*/ 2876 w 3007"/>
                  <a:gd name="T61" fmla="*/ 1170 h 2085"/>
                  <a:gd name="T62" fmla="*/ 2974 w 3007"/>
                  <a:gd name="T63" fmla="*/ 1132 h 2085"/>
                  <a:gd name="T64" fmla="*/ 3007 w 3007"/>
                  <a:gd name="T65" fmla="*/ 871 h 2085"/>
                  <a:gd name="T66" fmla="*/ 2860 w 3007"/>
                  <a:gd name="T67" fmla="*/ 844 h 2085"/>
                  <a:gd name="T68" fmla="*/ 2670 w 3007"/>
                  <a:gd name="T69" fmla="*/ 806 h 2085"/>
                  <a:gd name="T70" fmla="*/ 2458 w 3007"/>
                  <a:gd name="T71" fmla="*/ 757 h 2085"/>
                  <a:gd name="T72" fmla="*/ 2138 w 3007"/>
                  <a:gd name="T73" fmla="*/ 670 h 2085"/>
                  <a:gd name="T74" fmla="*/ 1959 w 3007"/>
                  <a:gd name="T75" fmla="*/ 604 h 2085"/>
                  <a:gd name="T76" fmla="*/ 1824 w 3007"/>
                  <a:gd name="T77" fmla="*/ 534 h 2085"/>
                  <a:gd name="T78" fmla="*/ 1769 w 3007"/>
                  <a:gd name="T79" fmla="*/ 474 h 2085"/>
                  <a:gd name="T80" fmla="*/ 1753 w 3007"/>
                  <a:gd name="T81" fmla="*/ 436 h 2085"/>
                  <a:gd name="T82" fmla="*/ 1780 w 3007"/>
                  <a:gd name="T83" fmla="*/ 381 h 2085"/>
                  <a:gd name="T84" fmla="*/ 1862 w 3007"/>
                  <a:gd name="T85" fmla="*/ 316 h 2085"/>
                  <a:gd name="T86" fmla="*/ 1986 w 3007"/>
                  <a:gd name="T87" fmla="*/ 267 h 2085"/>
                  <a:gd name="T88" fmla="*/ 2149 w 3007"/>
                  <a:gd name="T89" fmla="*/ 229 h 2085"/>
                  <a:gd name="T90" fmla="*/ 2431 w 3007"/>
                  <a:gd name="T91" fmla="*/ 180 h 2085"/>
                  <a:gd name="T92" fmla="*/ 2827 w 3007"/>
                  <a:gd name="T93" fmla="*/ 125 h 2085"/>
                  <a:gd name="T94" fmla="*/ 3007 w 3007"/>
                  <a:gd name="T95" fmla="*/ 87 h 2085"/>
                  <a:gd name="T96" fmla="*/ 2909 w 3007"/>
                  <a:gd name="T97" fmla="*/ 22 h 2085"/>
                  <a:gd name="T98" fmla="*/ 2676 w 3007"/>
                  <a:gd name="T99" fmla="*/ 66 h 2085"/>
                  <a:gd name="T100" fmla="*/ 2285 w 3007"/>
                  <a:gd name="T101" fmla="*/ 120 h 2085"/>
                  <a:gd name="T102" fmla="*/ 2030 w 3007"/>
                  <a:gd name="T103" fmla="*/ 158 h 2085"/>
                  <a:gd name="T104" fmla="*/ 1791 w 3007"/>
                  <a:gd name="T105" fmla="*/ 202 h 2085"/>
                  <a:gd name="T106" fmla="*/ 1601 w 3007"/>
                  <a:gd name="T107" fmla="*/ 261 h 2085"/>
                  <a:gd name="T108" fmla="*/ 1471 w 3007"/>
                  <a:gd name="T109" fmla="*/ 338 h 2085"/>
                  <a:gd name="T110" fmla="*/ 1438 w 3007"/>
                  <a:gd name="T111" fmla="*/ 387 h 2085"/>
                  <a:gd name="T112" fmla="*/ 1427 w 3007"/>
                  <a:gd name="T113" fmla="*/ 441 h 2085"/>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3007" h="2085">
                    <a:moveTo>
                      <a:pt x="1427" y="441"/>
                    </a:moveTo>
                    <a:lnTo>
                      <a:pt x="1433" y="474"/>
                    </a:lnTo>
                    <a:lnTo>
                      <a:pt x="1444" y="501"/>
                    </a:lnTo>
                    <a:lnTo>
                      <a:pt x="1460" y="528"/>
                    </a:lnTo>
                    <a:lnTo>
                      <a:pt x="1482" y="550"/>
                    </a:lnTo>
                    <a:lnTo>
                      <a:pt x="1541" y="593"/>
                    </a:lnTo>
                    <a:lnTo>
                      <a:pt x="1623" y="637"/>
                    </a:lnTo>
                    <a:lnTo>
                      <a:pt x="1715" y="670"/>
                    </a:lnTo>
                    <a:lnTo>
                      <a:pt x="1818" y="702"/>
                    </a:lnTo>
                    <a:lnTo>
                      <a:pt x="1927" y="735"/>
                    </a:lnTo>
                    <a:lnTo>
                      <a:pt x="2041" y="762"/>
                    </a:lnTo>
                    <a:lnTo>
                      <a:pt x="2155" y="789"/>
                    </a:lnTo>
                    <a:lnTo>
                      <a:pt x="2269" y="822"/>
                    </a:lnTo>
                    <a:lnTo>
                      <a:pt x="2372" y="849"/>
                    </a:lnTo>
                    <a:lnTo>
                      <a:pt x="2464" y="882"/>
                    </a:lnTo>
                    <a:lnTo>
                      <a:pt x="2551" y="920"/>
                    </a:lnTo>
                    <a:lnTo>
                      <a:pt x="2616" y="958"/>
                    </a:lnTo>
                    <a:lnTo>
                      <a:pt x="2638" y="980"/>
                    </a:lnTo>
                    <a:lnTo>
                      <a:pt x="2659" y="1007"/>
                    </a:lnTo>
                    <a:lnTo>
                      <a:pt x="2676" y="1029"/>
                    </a:lnTo>
                    <a:lnTo>
                      <a:pt x="2681" y="1056"/>
                    </a:lnTo>
                    <a:lnTo>
                      <a:pt x="2681" y="1083"/>
                    </a:lnTo>
                    <a:lnTo>
                      <a:pt x="2676" y="1105"/>
                    </a:lnTo>
                    <a:lnTo>
                      <a:pt x="2665" y="1127"/>
                    </a:lnTo>
                    <a:lnTo>
                      <a:pt x="2643" y="1149"/>
                    </a:lnTo>
                    <a:lnTo>
                      <a:pt x="2616" y="1170"/>
                    </a:lnTo>
                    <a:lnTo>
                      <a:pt x="2583" y="1187"/>
                    </a:lnTo>
                    <a:lnTo>
                      <a:pt x="2545" y="1208"/>
                    </a:lnTo>
                    <a:lnTo>
                      <a:pt x="2502" y="1225"/>
                    </a:lnTo>
                    <a:lnTo>
                      <a:pt x="2448" y="1241"/>
                    </a:lnTo>
                    <a:lnTo>
                      <a:pt x="2388" y="1257"/>
                    </a:lnTo>
                    <a:lnTo>
                      <a:pt x="2328" y="1274"/>
                    </a:lnTo>
                    <a:lnTo>
                      <a:pt x="2258" y="1290"/>
                    </a:lnTo>
                    <a:lnTo>
                      <a:pt x="2106" y="1328"/>
                    </a:lnTo>
                    <a:lnTo>
                      <a:pt x="1932" y="1372"/>
                    </a:lnTo>
                    <a:lnTo>
                      <a:pt x="1742" y="1421"/>
                    </a:lnTo>
                    <a:lnTo>
                      <a:pt x="1531" y="1475"/>
                    </a:lnTo>
                    <a:lnTo>
                      <a:pt x="1308" y="1540"/>
                    </a:lnTo>
                    <a:lnTo>
                      <a:pt x="1069" y="1617"/>
                    </a:lnTo>
                    <a:lnTo>
                      <a:pt x="820" y="1709"/>
                    </a:lnTo>
                    <a:lnTo>
                      <a:pt x="554" y="1818"/>
                    </a:lnTo>
                    <a:lnTo>
                      <a:pt x="282" y="1943"/>
                    </a:lnTo>
                    <a:lnTo>
                      <a:pt x="0" y="2085"/>
                    </a:lnTo>
                    <a:lnTo>
                      <a:pt x="152" y="2085"/>
                    </a:lnTo>
                    <a:lnTo>
                      <a:pt x="244" y="2074"/>
                    </a:lnTo>
                    <a:lnTo>
                      <a:pt x="386" y="1992"/>
                    </a:lnTo>
                    <a:lnTo>
                      <a:pt x="537" y="1910"/>
                    </a:lnTo>
                    <a:lnTo>
                      <a:pt x="700" y="1834"/>
                    </a:lnTo>
                    <a:lnTo>
                      <a:pt x="879" y="1763"/>
                    </a:lnTo>
                    <a:lnTo>
                      <a:pt x="1064" y="1693"/>
                    </a:lnTo>
                    <a:lnTo>
                      <a:pt x="1259" y="1622"/>
                    </a:lnTo>
                    <a:lnTo>
                      <a:pt x="1661" y="1497"/>
                    </a:lnTo>
                    <a:lnTo>
                      <a:pt x="1748" y="1470"/>
                    </a:lnTo>
                    <a:lnTo>
                      <a:pt x="1845" y="1442"/>
                    </a:lnTo>
                    <a:lnTo>
                      <a:pt x="2046" y="1393"/>
                    </a:lnTo>
                    <a:lnTo>
                      <a:pt x="2252" y="1339"/>
                    </a:lnTo>
                    <a:lnTo>
                      <a:pt x="2458" y="1285"/>
                    </a:lnTo>
                    <a:lnTo>
                      <a:pt x="2551" y="1263"/>
                    </a:lnTo>
                    <a:lnTo>
                      <a:pt x="2643" y="1236"/>
                    </a:lnTo>
                    <a:lnTo>
                      <a:pt x="2730" y="1214"/>
                    </a:lnTo>
                    <a:lnTo>
                      <a:pt x="2806" y="1192"/>
                    </a:lnTo>
                    <a:lnTo>
                      <a:pt x="2876" y="1170"/>
                    </a:lnTo>
                    <a:lnTo>
                      <a:pt x="2931" y="1149"/>
                    </a:lnTo>
                    <a:lnTo>
                      <a:pt x="2974" y="1132"/>
                    </a:lnTo>
                    <a:lnTo>
                      <a:pt x="3007" y="1116"/>
                    </a:lnTo>
                    <a:lnTo>
                      <a:pt x="3007" y="871"/>
                    </a:lnTo>
                    <a:lnTo>
                      <a:pt x="2941" y="860"/>
                    </a:lnTo>
                    <a:lnTo>
                      <a:pt x="2860" y="844"/>
                    </a:lnTo>
                    <a:lnTo>
                      <a:pt x="2773" y="827"/>
                    </a:lnTo>
                    <a:lnTo>
                      <a:pt x="2670" y="806"/>
                    </a:lnTo>
                    <a:lnTo>
                      <a:pt x="2567" y="784"/>
                    </a:lnTo>
                    <a:lnTo>
                      <a:pt x="2458" y="757"/>
                    </a:lnTo>
                    <a:lnTo>
                      <a:pt x="2241" y="702"/>
                    </a:lnTo>
                    <a:lnTo>
                      <a:pt x="2138" y="670"/>
                    </a:lnTo>
                    <a:lnTo>
                      <a:pt x="2046" y="637"/>
                    </a:lnTo>
                    <a:lnTo>
                      <a:pt x="1959" y="604"/>
                    </a:lnTo>
                    <a:lnTo>
                      <a:pt x="1883" y="566"/>
                    </a:lnTo>
                    <a:lnTo>
                      <a:pt x="1824" y="534"/>
                    </a:lnTo>
                    <a:lnTo>
                      <a:pt x="1780" y="495"/>
                    </a:lnTo>
                    <a:lnTo>
                      <a:pt x="1769" y="474"/>
                    </a:lnTo>
                    <a:lnTo>
                      <a:pt x="1758" y="457"/>
                    </a:lnTo>
                    <a:lnTo>
                      <a:pt x="1753" y="436"/>
                    </a:lnTo>
                    <a:lnTo>
                      <a:pt x="1758" y="419"/>
                    </a:lnTo>
                    <a:lnTo>
                      <a:pt x="1780" y="381"/>
                    </a:lnTo>
                    <a:lnTo>
                      <a:pt x="1813" y="343"/>
                    </a:lnTo>
                    <a:lnTo>
                      <a:pt x="1862" y="316"/>
                    </a:lnTo>
                    <a:lnTo>
                      <a:pt x="1921" y="289"/>
                    </a:lnTo>
                    <a:lnTo>
                      <a:pt x="1986" y="267"/>
                    </a:lnTo>
                    <a:lnTo>
                      <a:pt x="2062" y="245"/>
                    </a:lnTo>
                    <a:lnTo>
                      <a:pt x="2149" y="229"/>
                    </a:lnTo>
                    <a:lnTo>
                      <a:pt x="2236" y="213"/>
                    </a:lnTo>
                    <a:lnTo>
                      <a:pt x="2431" y="180"/>
                    </a:lnTo>
                    <a:lnTo>
                      <a:pt x="2627" y="158"/>
                    </a:lnTo>
                    <a:lnTo>
                      <a:pt x="2827" y="125"/>
                    </a:lnTo>
                    <a:lnTo>
                      <a:pt x="2920" y="109"/>
                    </a:lnTo>
                    <a:lnTo>
                      <a:pt x="3007" y="87"/>
                    </a:lnTo>
                    <a:lnTo>
                      <a:pt x="3007" y="0"/>
                    </a:lnTo>
                    <a:lnTo>
                      <a:pt x="2909" y="22"/>
                    </a:lnTo>
                    <a:lnTo>
                      <a:pt x="2795" y="44"/>
                    </a:lnTo>
                    <a:lnTo>
                      <a:pt x="2676" y="66"/>
                    </a:lnTo>
                    <a:lnTo>
                      <a:pt x="2551" y="82"/>
                    </a:lnTo>
                    <a:lnTo>
                      <a:pt x="2285" y="120"/>
                    </a:lnTo>
                    <a:lnTo>
                      <a:pt x="2155" y="136"/>
                    </a:lnTo>
                    <a:lnTo>
                      <a:pt x="2030" y="158"/>
                    </a:lnTo>
                    <a:lnTo>
                      <a:pt x="1905" y="174"/>
                    </a:lnTo>
                    <a:lnTo>
                      <a:pt x="1791" y="202"/>
                    </a:lnTo>
                    <a:lnTo>
                      <a:pt x="1688" y="229"/>
                    </a:lnTo>
                    <a:lnTo>
                      <a:pt x="1601" y="261"/>
                    </a:lnTo>
                    <a:lnTo>
                      <a:pt x="1525" y="300"/>
                    </a:lnTo>
                    <a:lnTo>
                      <a:pt x="1471" y="338"/>
                    </a:lnTo>
                    <a:lnTo>
                      <a:pt x="1455" y="359"/>
                    </a:lnTo>
                    <a:lnTo>
                      <a:pt x="1438" y="387"/>
                    </a:lnTo>
                    <a:lnTo>
                      <a:pt x="1427" y="414"/>
                    </a:lnTo>
                    <a:lnTo>
                      <a:pt x="1427" y="44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800"/>
              </a:p>
            </p:txBody>
          </p:sp>
          <p:sp>
            <p:nvSpPr>
              <p:cNvPr id="13" name="Freeform 10">
                <a:extLst>
                  <a:ext uri="{FF2B5EF4-FFF2-40B4-BE49-F238E27FC236}">
                    <a16:creationId xmlns:a16="http://schemas.microsoft.com/office/drawing/2014/main" id="{814E400F-D275-401F-8BB4-6B75166E2501}"/>
                  </a:ext>
                </a:extLst>
              </p:cNvPr>
              <p:cNvSpPr>
                <a:spLocks/>
              </p:cNvSpPr>
              <p:nvPr/>
            </p:nvSpPr>
            <p:spPr bwMode="hidden">
              <a:xfrm>
                <a:off x="4501" y="2317"/>
                <a:ext cx="1248" cy="539"/>
              </a:xfrm>
              <a:custGeom>
                <a:avLst/>
                <a:gdLst/>
                <a:ahLst/>
                <a:cxnLst>
                  <a:cxn ang="0">
                    <a:pos x="0" y="332"/>
                  </a:cxn>
                  <a:cxn ang="0">
                    <a:pos x="0" y="360"/>
                  </a:cxn>
                  <a:cxn ang="0">
                    <a:pos x="5" y="387"/>
                  </a:cxn>
                  <a:cxn ang="0">
                    <a:pos x="27" y="414"/>
                  </a:cxn>
                  <a:cxn ang="0">
                    <a:pos x="54" y="436"/>
                  </a:cxn>
                  <a:cxn ang="0">
                    <a:pos x="92" y="463"/>
                  </a:cxn>
                  <a:cxn ang="0">
                    <a:pos x="141" y="490"/>
                  </a:cxn>
                  <a:cxn ang="0">
                    <a:pos x="195" y="512"/>
                  </a:cxn>
                  <a:cxn ang="0">
                    <a:pos x="255" y="539"/>
                  </a:cxn>
                  <a:cxn ang="0">
                    <a:pos x="212" y="517"/>
                  </a:cxn>
                  <a:cxn ang="0">
                    <a:pos x="179" y="490"/>
                  </a:cxn>
                  <a:cxn ang="0">
                    <a:pos x="157" y="468"/>
                  </a:cxn>
                  <a:cxn ang="0">
                    <a:pos x="141" y="447"/>
                  </a:cxn>
                  <a:cxn ang="0">
                    <a:pos x="136" y="425"/>
                  </a:cxn>
                  <a:cxn ang="0">
                    <a:pos x="136" y="403"/>
                  </a:cxn>
                  <a:cxn ang="0">
                    <a:pos x="141" y="381"/>
                  </a:cxn>
                  <a:cxn ang="0">
                    <a:pos x="157" y="365"/>
                  </a:cxn>
                  <a:cxn ang="0">
                    <a:pos x="179" y="343"/>
                  </a:cxn>
                  <a:cxn ang="0">
                    <a:pos x="201" y="327"/>
                  </a:cxn>
                  <a:cxn ang="0">
                    <a:pos x="266" y="294"/>
                  </a:cxn>
                  <a:cxn ang="0">
                    <a:pos x="353" y="262"/>
                  </a:cxn>
                  <a:cxn ang="0">
                    <a:pos x="445" y="234"/>
                  </a:cxn>
                  <a:cxn ang="0">
                    <a:pos x="554" y="213"/>
                  </a:cxn>
                  <a:cxn ang="0">
                    <a:pos x="662" y="191"/>
                  </a:cxn>
                  <a:cxn ang="0">
                    <a:pos x="890" y="153"/>
                  </a:cxn>
                  <a:cxn ang="0">
                    <a:pos x="993" y="136"/>
                  </a:cxn>
                  <a:cxn ang="0">
                    <a:pos x="1091" y="120"/>
                  </a:cxn>
                  <a:cxn ang="0">
                    <a:pos x="1178" y="115"/>
                  </a:cxn>
                  <a:cxn ang="0">
                    <a:pos x="1248" y="104"/>
                  </a:cxn>
                  <a:cxn ang="0">
                    <a:pos x="1248" y="0"/>
                  </a:cxn>
                  <a:cxn ang="0">
                    <a:pos x="1161" y="22"/>
                  </a:cxn>
                  <a:cxn ang="0">
                    <a:pos x="1069" y="38"/>
                  </a:cxn>
                  <a:cxn ang="0">
                    <a:pos x="874" y="71"/>
                  </a:cxn>
                  <a:cxn ang="0">
                    <a:pos x="673" y="93"/>
                  </a:cxn>
                  <a:cxn ang="0">
                    <a:pos x="483" y="126"/>
                  </a:cxn>
                  <a:cxn ang="0">
                    <a:pos x="391" y="142"/>
                  </a:cxn>
                  <a:cxn ang="0">
                    <a:pos x="309" y="158"/>
                  </a:cxn>
                  <a:cxn ang="0">
                    <a:pos x="228" y="180"/>
                  </a:cxn>
                  <a:cxn ang="0">
                    <a:pos x="163" y="202"/>
                  </a:cxn>
                  <a:cxn ang="0">
                    <a:pos x="103" y="229"/>
                  </a:cxn>
                  <a:cxn ang="0">
                    <a:pos x="54" y="256"/>
                  </a:cxn>
                  <a:cxn ang="0">
                    <a:pos x="22" y="294"/>
                  </a:cxn>
                  <a:cxn ang="0">
                    <a:pos x="0" y="332"/>
                  </a:cxn>
                  <a:cxn ang="0">
                    <a:pos x="0" y="332"/>
                  </a:cxn>
                </a:cxnLst>
                <a:rect l="0" t="0" r="r" b="b"/>
                <a:pathLst>
                  <a:path w="1248" h="539">
                    <a:moveTo>
                      <a:pt x="0" y="332"/>
                    </a:moveTo>
                    <a:lnTo>
                      <a:pt x="0" y="360"/>
                    </a:lnTo>
                    <a:lnTo>
                      <a:pt x="5" y="387"/>
                    </a:lnTo>
                    <a:lnTo>
                      <a:pt x="27" y="414"/>
                    </a:lnTo>
                    <a:lnTo>
                      <a:pt x="54" y="436"/>
                    </a:lnTo>
                    <a:lnTo>
                      <a:pt x="92" y="463"/>
                    </a:lnTo>
                    <a:lnTo>
                      <a:pt x="141" y="490"/>
                    </a:lnTo>
                    <a:lnTo>
                      <a:pt x="195" y="512"/>
                    </a:lnTo>
                    <a:lnTo>
                      <a:pt x="255" y="539"/>
                    </a:lnTo>
                    <a:lnTo>
                      <a:pt x="212" y="517"/>
                    </a:lnTo>
                    <a:lnTo>
                      <a:pt x="179" y="490"/>
                    </a:lnTo>
                    <a:lnTo>
                      <a:pt x="157" y="468"/>
                    </a:lnTo>
                    <a:lnTo>
                      <a:pt x="141" y="447"/>
                    </a:lnTo>
                    <a:lnTo>
                      <a:pt x="136" y="425"/>
                    </a:lnTo>
                    <a:lnTo>
                      <a:pt x="136" y="403"/>
                    </a:lnTo>
                    <a:lnTo>
                      <a:pt x="141" y="381"/>
                    </a:lnTo>
                    <a:lnTo>
                      <a:pt x="157" y="365"/>
                    </a:lnTo>
                    <a:lnTo>
                      <a:pt x="179" y="343"/>
                    </a:lnTo>
                    <a:lnTo>
                      <a:pt x="201" y="327"/>
                    </a:lnTo>
                    <a:lnTo>
                      <a:pt x="266" y="294"/>
                    </a:lnTo>
                    <a:lnTo>
                      <a:pt x="353" y="262"/>
                    </a:lnTo>
                    <a:lnTo>
                      <a:pt x="445" y="234"/>
                    </a:lnTo>
                    <a:lnTo>
                      <a:pt x="554" y="213"/>
                    </a:lnTo>
                    <a:lnTo>
                      <a:pt x="662" y="191"/>
                    </a:lnTo>
                    <a:lnTo>
                      <a:pt x="890" y="153"/>
                    </a:lnTo>
                    <a:lnTo>
                      <a:pt x="993" y="136"/>
                    </a:lnTo>
                    <a:lnTo>
                      <a:pt x="1091" y="120"/>
                    </a:lnTo>
                    <a:lnTo>
                      <a:pt x="1178" y="115"/>
                    </a:lnTo>
                    <a:lnTo>
                      <a:pt x="1248" y="104"/>
                    </a:lnTo>
                    <a:lnTo>
                      <a:pt x="1248" y="0"/>
                    </a:lnTo>
                    <a:lnTo>
                      <a:pt x="1161" y="22"/>
                    </a:lnTo>
                    <a:lnTo>
                      <a:pt x="1069" y="38"/>
                    </a:lnTo>
                    <a:lnTo>
                      <a:pt x="874" y="71"/>
                    </a:lnTo>
                    <a:lnTo>
                      <a:pt x="673" y="93"/>
                    </a:lnTo>
                    <a:lnTo>
                      <a:pt x="483" y="126"/>
                    </a:lnTo>
                    <a:lnTo>
                      <a:pt x="391" y="142"/>
                    </a:lnTo>
                    <a:lnTo>
                      <a:pt x="309" y="158"/>
                    </a:lnTo>
                    <a:lnTo>
                      <a:pt x="228" y="180"/>
                    </a:lnTo>
                    <a:lnTo>
                      <a:pt x="163" y="202"/>
                    </a:lnTo>
                    <a:lnTo>
                      <a:pt x="103" y="229"/>
                    </a:lnTo>
                    <a:lnTo>
                      <a:pt x="54" y="256"/>
                    </a:lnTo>
                    <a:lnTo>
                      <a:pt x="22" y="294"/>
                    </a:lnTo>
                    <a:lnTo>
                      <a:pt x="0" y="332"/>
                    </a:lnTo>
                    <a:lnTo>
                      <a:pt x="0" y="332"/>
                    </a:lnTo>
                    <a:close/>
                  </a:path>
                </a:pathLst>
              </a:custGeom>
              <a:gradFill rotWithShape="0">
                <a:gsLst>
                  <a:gs pos="0">
                    <a:schemeClr val="bg1">
                      <a:gamma/>
                      <a:shade val="87843"/>
                      <a:invGamma/>
                    </a:schemeClr>
                  </a:gs>
                  <a:gs pos="100000">
                    <a:schemeClr val="bg1"/>
                  </a:gs>
                </a:gsLst>
                <a:lin ang="2700000" scaled="1"/>
              </a:gradFill>
              <a:ln w="9525">
                <a:noFill/>
                <a:round/>
                <a:headEnd/>
                <a:tailEnd/>
              </a:ln>
            </p:spPr>
            <p:txBody>
              <a:bodyPr/>
              <a:lstStyle/>
              <a:p>
                <a:pPr eaLnBrk="0" hangingPunct="0">
                  <a:defRPr/>
                </a:pPr>
                <a:endParaRPr lang="en-US" sz="1800">
                  <a:solidFill>
                    <a:srgbClr val="FFFFFF"/>
                  </a:solidFill>
                  <a:latin typeface="+mn-lt"/>
                  <a:cs typeface="+mn-cs"/>
                </a:endParaRPr>
              </a:p>
            </p:txBody>
          </p:sp>
        </p:grpSp>
        <p:sp>
          <p:nvSpPr>
            <p:cNvPr id="7" name="Freeform 11">
              <a:extLst>
                <a:ext uri="{FF2B5EF4-FFF2-40B4-BE49-F238E27FC236}">
                  <a16:creationId xmlns:a16="http://schemas.microsoft.com/office/drawing/2014/main" id="{98E1640C-EB57-420D-8CE2-FC5E1781E6D0}"/>
                </a:ext>
              </a:extLst>
            </p:cNvPr>
            <p:cNvSpPr>
              <a:spLocks/>
            </p:cNvSpPr>
            <p:nvPr/>
          </p:nvSpPr>
          <p:spPr bwMode="hidden">
            <a:xfrm>
              <a:off x="3322" y="1341"/>
              <a:ext cx="1825" cy="1537"/>
            </a:xfrm>
            <a:custGeom>
              <a:avLst/>
              <a:gdLst/>
              <a:ahLst/>
              <a:cxnLst>
                <a:cxn ang="0">
                  <a:pos x="982" y="1061"/>
                </a:cxn>
                <a:cxn ang="0">
                  <a:pos x="1357" y="1012"/>
                </a:cxn>
                <a:cxn ang="0">
                  <a:pos x="1666" y="957"/>
                </a:cxn>
                <a:cxn ang="0">
                  <a:pos x="1916" y="897"/>
                </a:cxn>
                <a:cxn ang="0">
                  <a:pos x="2100" y="832"/>
                </a:cxn>
                <a:cxn ang="0">
                  <a:pos x="2220" y="756"/>
                </a:cxn>
                <a:cxn ang="0">
                  <a:pos x="2285" y="669"/>
                </a:cxn>
                <a:cxn ang="0">
                  <a:pos x="2290" y="560"/>
                </a:cxn>
                <a:cxn ang="0">
                  <a:pos x="2241" y="457"/>
                </a:cxn>
                <a:cxn ang="0">
                  <a:pos x="2144" y="364"/>
                </a:cxn>
                <a:cxn ang="0">
                  <a:pos x="2008" y="277"/>
                </a:cxn>
                <a:cxn ang="0">
                  <a:pos x="1769" y="157"/>
                </a:cxn>
                <a:cxn ang="0">
                  <a:pos x="1612" y="92"/>
                </a:cxn>
                <a:cxn ang="0">
                  <a:pos x="1476" y="43"/>
                </a:cxn>
                <a:cxn ang="0">
                  <a:pos x="1384" y="10"/>
                </a:cxn>
                <a:cxn ang="0">
                  <a:pos x="1346" y="0"/>
                </a:cxn>
                <a:cxn ang="0">
                  <a:pos x="1655" y="119"/>
                </a:cxn>
                <a:cxn ang="0">
                  <a:pos x="1948" y="255"/>
                </a:cxn>
                <a:cxn ang="0">
                  <a:pos x="2068" y="326"/>
                </a:cxn>
                <a:cxn ang="0">
                  <a:pos x="2171" y="402"/>
                </a:cxn>
                <a:cxn ang="0">
                  <a:pos x="2236" y="478"/>
                </a:cxn>
                <a:cxn ang="0">
                  <a:pos x="2263" y="560"/>
                </a:cxn>
                <a:cxn ang="0">
                  <a:pos x="2241" y="636"/>
                </a:cxn>
                <a:cxn ang="0">
                  <a:pos x="2171" y="702"/>
                </a:cxn>
                <a:cxn ang="0">
                  <a:pos x="2062" y="756"/>
                </a:cxn>
                <a:cxn ang="0">
                  <a:pos x="1921" y="800"/>
                </a:cxn>
                <a:cxn ang="0">
                  <a:pos x="1748" y="843"/>
                </a:cxn>
                <a:cxn ang="0">
                  <a:pos x="1351" y="908"/>
                </a:cxn>
                <a:cxn ang="0">
                  <a:pos x="923" y="968"/>
                </a:cxn>
                <a:cxn ang="0">
                  <a:pos x="521" y="1028"/>
                </a:cxn>
                <a:cxn ang="0">
                  <a:pos x="353" y="1066"/>
                </a:cxn>
                <a:cxn ang="0">
                  <a:pos x="206" y="1104"/>
                </a:cxn>
                <a:cxn ang="0">
                  <a:pos x="92" y="1148"/>
                </a:cxn>
                <a:cxn ang="0">
                  <a:pos x="22" y="1202"/>
                </a:cxn>
                <a:cxn ang="0">
                  <a:pos x="0" y="1262"/>
                </a:cxn>
                <a:cxn ang="0">
                  <a:pos x="27" y="1327"/>
                </a:cxn>
                <a:cxn ang="0">
                  <a:pos x="98" y="1382"/>
                </a:cxn>
                <a:cxn ang="0">
                  <a:pos x="196" y="1425"/>
                </a:cxn>
                <a:cxn ang="0">
                  <a:pos x="326" y="1469"/>
                </a:cxn>
                <a:cxn ang="0">
                  <a:pos x="217" y="1414"/>
                </a:cxn>
                <a:cxn ang="0">
                  <a:pos x="147" y="1360"/>
                </a:cxn>
                <a:cxn ang="0">
                  <a:pos x="120" y="1306"/>
                </a:cxn>
                <a:cxn ang="0">
                  <a:pos x="141" y="1257"/>
                </a:cxn>
                <a:cxn ang="0">
                  <a:pos x="212" y="1208"/>
                </a:cxn>
                <a:cxn ang="0">
                  <a:pos x="342" y="1164"/>
                </a:cxn>
                <a:cxn ang="0">
                  <a:pos x="527" y="1121"/>
                </a:cxn>
                <a:cxn ang="0">
                  <a:pos x="771" y="1088"/>
                </a:cxn>
              </a:cxnLst>
              <a:rect l="0" t="0" r="r" b="b"/>
              <a:pathLst>
                <a:path w="2296" h="1469">
                  <a:moveTo>
                    <a:pt x="771" y="1088"/>
                  </a:moveTo>
                  <a:lnTo>
                    <a:pt x="982" y="1061"/>
                  </a:lnTo>
                  <a:lnTo>
                    <a:pt x="1178" y="1034"/>
                  </a:lnTo>
                  <a:lnTo>
                    <a:pt x="1357" y="1012"/>
                  </a:lnTo>
                  <a:lnTo>
                    <a:pt x="1520" y="985"/>
                  </a:lnTo>
                  <a:lnTo>
                    <a:pt x="1666" y="957"/>
                  </a:lnTo>
                  <a:lnTo>
                    <a:pt x="1796" y="930"/>
                  </a:lnTo>
                  <a:lnTo>
                    <a:pt x="1916" y="897"/>
                  </a:lnTo>
                  <a:lnTo>
                    <a:pt x="2013" y="870"/>
                  </a:lnTo>
                  <a:lnTo>
                    <a:pt x="2100" y="832"/>
                  </a:lnTo>
                  <a:lnTo>
                    <a:pt x="2171" y="800"/>
                  </a:lnTo>
                  <a:lnTo>
                    <a:pt x="2220" y="756"/>
                  </a:lnTo>
                  <a:lnTo>
                    <a:pt x="2263" y="712"/>
                  </a:lnTo>
                  <a:lnTo>
                    <a:pt x="2285" y="669"/>
                  </a:lnTo>
                  <a:lnTo>
                    <a:pt x="2296" y="614"/>
                  </a:lnTo>
                  <a:lnTo>
                    <a:pt x="2290" y="560"/>
                  </a:lnTo>
                  <a:lnTo>
                    <a:pt x="2269" y="500"/>
                  </a:lnTo>
                  <a:lnTo>
                    <a:pt x="2241" y="457"/>
                  </a:lnTo>
                  <a:lnTo>
                    <a:pt x="2198" y="408"/>
                  </a:lnTo>
                  <a:lnTo>
                    <a:pt x="2144" y="364"/>
                  </a:lnTo>
                  <a:lnTo>
                    <a:pt x="2079" y="321"/>
                  </a:lnTo>
                  <a:lnTo>
                    <a:pt x="2008" y="277"/>
                  </a:lnTo>
                  <a:lnTo>
                    <a:pt x="1927" y="234"/>
                  </a:lnTo>
                  <a:lnTo>
                    <a:pt x="1769" y="157"/>
                  </a:lnTo>
                  <a:lnTo>
                    <a:pt x="1688" y="125"/>
                  </a:lnTo>
                  <a:lnTo>
                    <a:pt x="1612" y="92"/>
                  </a:lnTo>
                  <a:lnTo>
                    <a:pt x="1536" y="65"/>
                  </a:lnTo>
                  <a:lnTo>
                    <a:pt x="1476" y="43"/>
                  </a:lnTo>
                  <a:lnTo>
                    <a:pt x="1422" y="27"/>
                  </a:lnTo>
                  <a:lnTo>
                    <a:pt x="1384" y="10"/>
                  </a:lnTo>
                  <a:lnTo>
                    <a:pt x="1357" y="5"/>
                  </a:lnTo>
                  <a:lnTo>
                    <a:pt x="1346" y="0"/>
                  </a:lnTo>
                  <a:lnTo>
                    <a:pt x="1498" y="54"/>
                  </a:lnTo>
                  <a:lnTo>
                    <a:pt x="1655" y="119"/>
                  </a:lnTo>
                  <a:lnTo>
                    <a:pt x="1807" y="185"/>
                  </a:lnTo>
                  <a:lnTo>
                    <a:pt x="1948" y="255"/>
                  </a:lnTo>
                  <a:lnTo>
                    <a:pt x="2013" y="288"/>
                  </a:lnTo>
                  <a:lnTo>
                    <a:pt x="2068" y="326"/>
                  </a:lnTo>
                  <a:lnTo>
                    <a:pt x="2122" y="364"/>
                  </a:lnTo>
                  <a:lnTo>
                    <a:pt x="2171" y="402"/>
                  </a:lnTo>
                  <a:lnTo>
                    <a:pt x="2209" y="440"/>
                  </a:lnTo>
                  <a:lnTo>
                    <a:pt x="2236" y="478"/>
                  </a:lnTo>
                  <a:lnTo>
                    <a:pt x="2252" y="522"/>
                  </a:lnTo>
                  <a:lnTo>
                    <a:pt x="2263" y="560"/>
                  </a:lnTo>
                  <a:lnTo>
                    <a:pt x="2258" y="598"/>
                  </a:lnTo>
                  <a:lnTo>
                    <a:pt x="2241" y="636"/>
                  </a:lnTo>
                  <a:lnTo>
                    <a:pt x="2214" y="669"/>
                  </a:lnTo>
                  <a:lnTo>
                    <a:pt x="2171" y="702"/>
                  </a:lnTo>
                  <a:lnTo>
                    <a:pt x="2122" y="729"/>
                  </a:lnTo>
                  <a:lnTo>
                    <a:pt x="2062" y="756"/>
                  </a:lnTo>
                  <a:lnTo>
                    <a:pt x="1997" y="778"/>
                  </a:lnTo>
                  <a:lnTo>
                    <a:pt x="1921" y="800"/>
                  </a:lnTo>
                  <a:lnTo>
                    <a:pt x="1834" y="821"/>
                  </a:lnTo>
                  <a:lnTo>
                    <a:pt x="1748" y="843"/>
                  </a:lnTo>
                  <a:lnTo>
                    <a:pt x="1552" y="876"/>
                  </a:lnTo>
                  <a:lnTo>
                    <a:pt x="1351" y="908"/>
                  </a:lnTo>
                  <a:lnTo>
                    <a:pt x="1134" y="941"/>
                  </a:lnTo>
                  <a:lnTo>
                    <a:pt x="923" y="968"/>
                  </a:lnTo>
                  <a:lnTo>
                    <a:pt x="716" y="995"/>
                  </a:lnTo>
                  <a:lnTo>
                    <a:pt x="521" y="1028"/>
                  </a:lnTo>
                  <a:lnTo>
                    <a:pt x="434" y="1044"/>
                  </a:lnTo>
                  <a:lnTo>
                    <a:pt x="353" y="1066"/>
                  </a:lnTo>
                  <a:lnTo>
                    <a:pt x="277" y="1082"/>
                  </a:lnTo>
                  <a:lnTo>
                    <a:pt x="206" y="1104"/>
                  </a:lnTo>
                  <a:lnTo>
                    <a:pt x="147" y="1126"/>
                  </a:lnTo>
                  <a:lnTo>
                    <a:pt x="92" y="1148"/>
                  </a:lnTo>
                  <a:lnTo>
                    <a:pt x="54" y="1175"/>
                  </a:lnTo>
                  <a:lnTo>
                    <a:pt x="22" y="1202"/>
                  </a:lnTo>
                  <a:lnTo>
                    <a:pt x="6" y="1229"/>
                  </a:lnTo>
                  <a:lnTo>
                    <a:pt x="0" y="1262"/>
                  </a:lnTo>
                  <a:lnTo>
                    <a:pt x="11" y="1295"/>
                  </a:lnTo>
                  <a:lnTo>
                    <a:pt x="27" y="1327"/>
                  </a:lnTo>
                  <a:lnTo>
                    <a:pt x="54" y="1355"/>
                  </a:lnTo>
                  <a:lnTo>
                    <a:pt x="98" y="1382"/>
                  </a:lnTo>
                  <a:lnTo>
                    <a:pt x="141" y="1404"/>
                  </a:lnTo>
                  <a:lnTo>
                    <a:pt x="196" y="1425"/>
                  </a:lnTo>
                  <a:lnTo>
                    <a:pt x="261" y="1447"/>
                  </a:lnTo>
                  <a:lnTo>
                    <a:pt x="326" y="1469"/>
                  </a:lnTo>
                  <a:lnTo>
                    <a:pt x="266" y="1442"/>
                  </a:lnTo>
                  <a:lnTo>
                    <a:pt x="217" y="1414"/>
                  </a:lnTo>
                  <a:lnTo>
                    <a:pt x="174" y="1387"/>
                  </a:lnTo>
                  <a:lnTo>
                    <a:pt x="147" y="1360"/>
                  </a:lnTo>
                  <a:lnTo>
                    <a:pt x="125" y="1333"/>
                  </a:lnTo>
                  <a:lnTo>
                    <a:pt x="120" y="1306"/>
                  </a:lnTo>
                  <a:lnTo>
                    <a:pt x="125" y="1278"/>
                  </a:lnTo>
                  <a:lnTo>
                    <a:pt x="141" y="1257"/>
                  </a:lnTo>
                  <a:lnTo>
                    <a:pt x="174" y="1229"/>
                  </a:lnTo>
                  <a:lnTo>
                    <a:pt x="212" y="1208"/>
                  </a:lnTo>
                  <a:lnTo>
                    <a:pt x="272" y="1186"/>
                  </a:lnTo>
                  <a:lnTo>
                    <a:pt x="342" y="1164"/>
                  </a:lnTo>
                  <a:lnTo>
                    <a:pt x="423" y="1142"/>
                  </a:lnTo>
                  <a:lnTo>
                    <a:pt x="527" y="1121"/>
                  </a:lnTo>
                  <a:lnTo>
                    <a:pt x="641" y="1104"/>
                  </a:lnTo>
                  <a:lnTo>
                    <a:pt x="771" y="1088"/>
                  </a:lnTo>
                  <a:lnTo>
                    <a:pt x="771" y="1088"/>
                  </a:lnTo>
                  <a:close/>
                </a:path>
              </a:pathLst>
            </a:custGeom>
            <a:gradFill rotWithShape="0">
              <a:gsLst>
                <a:gs pos="0">
                  <a:schemeClr val="bg1">
                    <a:gamma/>
                    <a:shade val="84706"/>
                    <a:invGamma/>
                  </a:schemeClr>
                </a:gs>
                <a:gs pos="100000">
                  <a:schemeClr val="bg1"/>
                </a:gs>
              </a:gsLst>
              <a:lin ang="2700000" scaled="1"/>
            </a:gradFill>
            <a:ln w="9525">
              <a:noFill/>
              <a:round/>
              <a:headEnd/>
              <a:tailEnd/>
            </a:ln>
          </p:spPr>
          <p:txBody>
            <a:bodyPr/>
            <a:lstStyle/>
            <a:p>
              <a:pPr eaLnBrk="0" hangingPunct="0">
                <a:defRPr/>
              </a:pPr>
              <a:endParaRPr lang="en-US" sz="1800">
                <a:solidFill>
                  <a:srgbClr val="FFFFFF"/>
                </a:solidFill>
                <a:latin typeface="+mn-lt"/>
                <a:cs typeface="+mn-cs"/>
              </a:endParaRPr>
            </a:p>
          </p:txBody>
        </p:sp>
        <p:sp>
          <p:nvSpPr>
            <p:cNvPr id="8" name="Freeform 12">
              <a:extLst>
                <a:ext uri="{FF2B5EF4-FFF2-40B4-BE49-F238E27FC236}">
                  <a16:creationId xmlns:a16="http://schemas.microsoft.com/office/drawing/2014/main" id="{51A9D3DC-302D-40A9-A389-FFA20A4AF747}"/>
                </a:ext>
              </a:extLst>
            </p:cNvPr>
            <p:cNvSpPr>
              <a:spLocks/>
            </p:cNvSpPr>
            <p:nvPr/>
          </p:nvSpPr>
          <p:spPr bwMode="hidden">
            <a:xfrm>
              <a:off x="0" y="0"/>
              <a:ext cx="5758" cy="1776"/>
            </a:xfrm>
            <a:custGeom>
              <a:avLst/>
              <a:gdLst>
                <a:gd name="T0" fmla="*/ 0 w 5740"/>
                <a:gd name="T1" fmla="*/ 0 h 1906"/>
                <a:gd name="T2" fmla="*/ 0 w 5740"/>
                <a:gd name="T3" fmla="*/ 1776 h 1906"/>
                <a:gd name="T4" fmla="*/ 5758 w 5740"/>
                <a:gd name="T5" fmla="*/ 1776 h 1906"/>
                <a:gd name="T6" fmla="*/ 5758 w 5740"/>
                <a:gd name="T7" fmla="*/ 0 h 1906"/>
                <a:gd name="T8" fmla="*/ 0 w 5740"/>
                <a:gd name="T9" fmla="*/ 0 h 1906"/>
                <a:gd name="T10" fmla="*/ 0 w 5740"/>
                <a:gd name="T11" fmla="*/ 0 h 190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5740" h="1906">
                  <a:moveTo>
                    <a:pt x="0" y="0"/>
                  </a:moveTo>
                  <a:lnTo>
                    <a:pt x="0" y="1906"/>
                  </a:lnTo>
                  <a:lnTo>
                    <a:pt x="5740" y="1906"/>
                  </a:lnTo>
                  <a:lnTo>
                    <a:pt x="5740" y="0"/>
                  </a:lnTo>
                  <a:lnTo>
                    <a:pt x="0" y="0"/>
                  </a:lnTo>
                  <a:close/>
                </a:path>
              </a:pathLst>
            </a:custGeom>
            <a:gradFill rotWithShape="0">
              <a:gsLst>
                <a:gs pos="0">
                  <a:schemeClr val="bg2"/>
                </a:gs>
                <a:gs pos="100000">
                  <a:schemeClr val="bg1"/>
                </a:gs>
              </a:gsLst>
              <a:lin ang="54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800"/>
            </a:p>
          </p:txBody>
        </p:sp>
      </p:grpSp>
      <p:sp>
        <p:nvSpPr>
          <p:cNvPr id="14" name="Text Box 16">
            <a:extLst>
              <a:ext uri="{FF2B5EF4-FFF2-40B4-BE49-F238E27FC236}">
                <a16:creationId xmlns:a16="http://schemas.microsoft.com/office/drawing/2014/main" id="{7AB4850F-F75E-45DF-9023-CD0F82275138}"/>
              </a:ext>
            </a:extLst>
          </p:cNvPr>
          <p:cNvSpPr txBox="1">
            <a:spLocks noChangeArrowheads="1"/>
          </p:cNvSpPr>
          <p:nvPr/>
        </p:nvSpPr>
        <p:spPr bwMode="auto">
          <a:xfrm>
            <a:off x="11074400" y="304801"/>
            <a:ext cx="711200"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pPr eaLnBrk="0" hangingPunct="0">
              <a:spcBef>
                <a:spcPct val="50000"/>
              </a:spcBef>
              <a:defRPr/>
            </a:pPr>
            <a:endParaRPr lang="en-US" altLang="en-US" sz="1800">
              <a:solidFill>
                <a:srgbClr val="FFFFFF"/>
              </a:solidFill>
              <a:latin typeface="Garamond" pitchFamily="18" charset="0"/>
            </a:endParaRPr>
          </a:p>
        </p:txBody>
      </p:sp>
      <p:sp>
        <p:nvSpPr>
          <p:cNvPr id="15" name="Text Box 17">
            <a:extLst>
              <a:ext uri="{FF2B5EF4-FFF2-40B4-BE49-F238E27FC236}">
                <a16:creationId xmlns:a16="http://schemas.microsoft.com/office/drawing/2014/main" id="{2AF144CC-47CA-4BCD-ABBC-A84448F8F546}"/>
              </a:ext>
            </a:extLst>
          </p:cNvPr>
          <p:cNvSpPr txBox="1">
            <a:spLocks noChangeArrowheads="1"/>
          </p:cNvSpPr>
          <p:nvPr/>
        </p:nvSpPr>
        <p:spPr bwMode="auto">
          <a:xfrm>
            <a:off x="11582400" y="228601"/>
            <a:ext cx="609600"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Calibri" panose="020F0502020204030204" pitchFamily="34" charset="0"/>
                <a:cs typeface="Arial" panose="020B0604020202020204" pitchFamily="34" charset="0"/>
              </a:defRPr>
            </a:lvl1pPr>
            <a:lvl2pPr marL="742950" indent="-285750" eaLnBrk="0" hangingPunct="0">
              <a:defRPr>
                <a:solidFill>
                  <a:schemeClr val="tx1"/>
                </a:solidFill>
                <a:latin typeface="Calibri" panose="020F0502020204030204" pitchFamily="34" charset="0"/>
                <a:cs typeface="Arial" panose="020B0604020202020204" pitchFamily="34" charset="0"/>
              </a:defRPr>
            </a:lvl2pPr>
            <a:lvl3pPr marL="1143000" indent="-228600" eaLnBrk="0" hangingPunct="0">
              <a:defRPr>
                <a:solidFill>
                  <a:schemeClr val="tx1"/>
                </a:solidFill>
                <a:latin typeface="Calibri" panose="020F0502020204030204" pitchFamily="34" charset="0"/>
                <a:cs typeface="Arial" panose="020B0604020202020204" pitchFamily="34" charset="0"/>
              </a:defRPr>
            </a:lvl3pPr>
            <a:lvl4pPr marL="1600200" indent="-228600" eaLnBrk="0" hangingPunct="0">
              <a:defRPr>
                <a:solidFill>
                  <a:schemeClr val="tx1"/>
                </a:solidFill>
                <a:latin typeface="Calibri" panose="020F0502020204030204" pitchFamily="34" charset="0"/>
                <a:cs typeface="Arial" panose="020B0604020202020204" pitchFamily="34" charset="0"/>
              </a:defRPr>
            </a:lvl4pPr>
            <a:lvl5pPr marL="2057400" indent="-228600" eaLnBrk="0" hangingPunct="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spcBef>
                <a:spcPct val="50000"/>
              </a:spcBef>
            </a:pPr>
            <a:fld id="{2B488FFB-7BEA-4FAD-A18B-39D623725FF0}" type="slidenum">
              <a:rPr lang="en-US" altLang="en-US" sz="1800">
                <a:solidFill>
                  <a:srgbClr val="FFFFFF"/>
                </a:solidFill>
                <a:latin typeface="Garamond" panose="02020404030301010803" pitchFamily="18" charset="0"/>
              </a:rPr>
              <a:pPr>
                <a:spcBef>
                  <a:spcPct val="50000"/>
                </a:spcBef>
              </a:pPr>
              <a:t>‹#›</a:t>
            </a:fld>
            <a:endParaRPr lang="en-US" altLang="en-US" sz="1800">
              <a:solidFill>
                <a:srgbClr val="FFFFFF"/>
              </a:solidFill>
              <a:latin typeface="Garamond" panose="02020404030301010803" pitchFamily="18" charset="0"/>
            </a:endParaRPr>
          </a:p>
        </p:txBody>
      </p:sp>
      <p:graphicFrame>
        <p:nvGraphicFramePr>
          <p:cNvPr id="16" name="Object 18">
            <a:extLst>
              <a:ext uri="{FF2B5EF4-FFF2-40B4-BE49-F238E27FC236}">
                <a16:creationId xmlns:a16="http://schemas.microsoft.com/office/drawing/2014/main" id="{3E06A435-AE94-45BF-A704-3DBA78F43B05}"/>
              </a:ext>
            </a:extLst>
          </p:cNvPr>
          <p:cNvGraphicFramePr>
            <a:graphicFrameLocks noChangeAspect="1"/>
          </p:cNvGraphicFramePr>
          <p:nvPr/>
        </p:nvGraphicFramePr>
        <p:xfrm>
          <a:off x="9652000" y="5918200"/>
          <a:ext cx="2540000" cy="939800"/>
        </p:xfrm>
        <a:graphic>
          <a:graphicData uri="http://schemas.openxmlformats.org/presentationml/2006/ole">
            <mc:AlternateContent xmlns:mc="http://schemas.openxmlformats.org/markup-compatibility/2006">
              <mc:Choice xmlns:v="urn:schemas-microsoft-com:vml" Requires="v">
                <p:oleObj spid="_x0000_s17411" name="Bitmap Image" r:id="rId3" imgW="2142857" imgH="1057423" progId="Paint.Picture">
                  <p:embed/>
                </p:oleObj>
              </mc:Choice>
              <mc:Fallback>
                <p:oleObj name="Bitmap Image" r:id="rId3" imgW="2142857" imgH="1057423" progId="Paint.Picture">
                  <p:embed/>
                  <p:pic>
                    <p:nvPicPr>
                      <p:cNvPr id="16" name="Object 18">
                        <a:extLst>
                          <a:ext uri="{FF2B5EF4-FFF2-40B4-BE49-F238E27FC236}">
                            <a16:creationId xmlns:a16="http://schemas.microsoft.com/office/drawing/2014/main" id="{3E06A435-AE94-45BF-A704-3DBA78F43B0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652000" y="5918200"/>
                        <a:ext cx="2540000" cy="939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2" name="Title 1"/>
          <p:cNvSpPr>
            <a:spLocks noGrp="1"/>
          </p:cNvSpPr>
          <p:nvPr>
            <p:ph type="title"/>
          </p:nvPr>
        </p:nvSpPr>
        <p:spPr>
          <a:xfrm>
            <a:off x="609600" y="274638"/>
            <a:ext cx="10972800" cy="1143000"/>
          </a:xfrm>
        </p:spPr>
        <p:txBody>
          <a:bodyPr/>
          <a:lstStyle/>
          <a:p>
            <a:r>
              <a:rPr lang="en-US"/>
              <a:t>Click to edit Master title style</a:t>
            </a:r>
          </a:p>
        </p:txBody>
      </p:sp>
      <p:sp>
        <p:nvSpPr>
          <p:cNvPr id="3" name="Media Placeholder 2"/>
          <p:cNvSpPr>
            <a:spLocks noGrp="1"/>
          </p:cNvSpPr>
          <p:nvPr>
            <p:ph type="media" sz="half" idx="1"/>
          </p:nvPr>
        </p:nvSpPr>
        <p:spPr>
          <a:xfrm>
            <a:off x="609600" y="1600201"/>
            <a:ext cx="5384800" cy="4525963"/>
          </a:xfrm>
        </p:spPr>
        <p:txBody>
          <a:bodyPr/>
          <a:lstStyle/>
          <a:p>
            <a:pPr lvl="0"/>
            <a:r>
              <a:rPr lang="en-US" noProof="0"/>
              <a:t>Click icon to add media</a:t>
            </a:r>
          </a:p>
        </p:txBody>
      </p:sp>
      <p:sp>
        <p:nvSpPr>
          <p:cNvPr id="4" name="Text Placeholder 3"/>
          <p:cNvSpPr>
            <a:spLocks noGrp="1"/>
          </p:cNvSpPr>
          <p:nvPr>
            <p:ph type="body" sz="half" idx="2"/>
          </p:nvPr>
        </p:nvSpPr>
        <p:spPr>
          <a:xfrm>
            <a:off x="6197600" y="1600201"/>
            <a:ext cx="5384800" cy="45259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Rectangle 2">
            <a:extLst>
              <a:ext uri="{FF2B5EF4-FFF2-40B4-BE49-F238E27FC236}">
                <a16:creationId xmlns:a16="http://schemas.microsoft.com/office/drawing/2014/main" id="{9BD08EB3-6FCD-4A49-9135-9FD9154B083E}"/>
              </a:ext>
            </a:extLst>
          </p:cNvPr>
          <p:cNvSpPr>
            <a:spLocks noGrp="1" noChangeArrowheads="1"/>
          </p:cNvSpPr>
          <p:nvPr>
            <p:ph type="dt" sz="half" idx="10"/>
          </p:nvPr>
        </p:nvSpPr>
        <p:spPr/>
        <p:txBody>
          <a:bodyPr/>
          <a:lstStyle>
            <a:lvl1pPr fontAlgn="auto">
              <a:spcBef>
                <a:spcPts val="0"/>
              </a:spcBef>
              <a:spcAft>
                <a:spcPts val="0"/>
              </a:spcAft>
              <a:defRPr/>
            </a:lvl1pPr>
          </a:lstStyle>
          <a:p>
            <a:pPr>
              <a:defRPr/>
            </a:pPr>
            <a:endParaRPr lang="en-US"/>
          </a:p>
        </p:txBody>
      </p:sp>
      <p:sp>
        <p:nvSpPr>
          <p:cNvPr id="18" name="Rectangle 3">
            <a:extLst>
              <a:ext uri="{FF2B5EF4-FFF2-40B4-BE49-F238E27FC236}">
                <a16:creationId xmlns:a16="http://schemas.microsoft.com/office/drawing/2014/main" id="{555E68AF-A4ED-4D26-AF70-54D117FC2046}"/>
              </a:ext>
            </a:extLst>
          </p:cNvPr>
          <p:cNvSpPr>
            <a:spLocks noGrp="1" noChangeArrowheads="1"/>
          </p:cNvSpPr>
          <p:nvPr>
            <p:ph type="sldNum" sz="quarter" idx="11"/>
          </p:nvPr>
        </p:nvSpPr>
        <p:spPr/>
        <p:txBody>
          <a:bodyPr/>
          <a:lstStyle>
            <a:lvl1pPr>
              <a:defRPr/>
            </a:lvl1pPr>
          </a:lstStyle>
          <a:p>
            <a:fld id="{BB2EEB6A-83E8-419C-AB44-61FF845C6E99}" type="slidenum">
              <a:rPr lang="en-US" altLang="en-US"/>
              <a:pPr/>
              <a:t>‹#›</a:t>
            </a:fld>
            <a:endParaRPr lang="en-US" altLang="en-US"/>
          </a:p>
        </p:txBody>
      </p:sp>
      <p:sp>
        <p:nvSpPr>
          <p:cNvPr id="19" name="Rectangle 14">
            <a:extLst>
              <a:ext uri="{FF2B5EF4-FFF2-40B4-BE49-F238E27FC236}">
                <a16:creationId xmlns:a16="http://schemas.microsoft.com/office/drawing/2014/main" id="{CCF49F63-D53A-4F81-878C-CB6D96B5E8A4}"/>
              </a:ext>
            </a:extLst>
          </p:cNvPr>
          <p:cNvSpPr>
            <a:spLocks noGrp="1" noChangeArrowheads="1"/>
          </p:cNvSpPr>
          <p:nvPr>
            <p:ph type="ftr" sz="quarter" idx="12"/>
          </p:nvPr>
        </p:nvSpPr>
        <p:spPr/>
        <p:txBody>
          <a:bodyPr/>
          <a:lstStyle>
            <a:lvl1pPr fontAlgn="auto">
              <a:spcBef>
                <a:spcPts val="0"/>
              </a:spcBef>
              <a:spcAft>
                <a:spcPts val="0"/>
              </a:spcAft>
              <a:defRPr/>
            </a:lvl1pPr>
          </a:lstStyle>
          <a:p>
            <a:pPr>
              <a:defRPr/>
            </a:pPr>
            <a:endParaRPr lang="en-US"/>
          </a:p>
        </p:txBody>
      </p:sp>
    </p:spTree>
    <p:extLst>
      <p:ext uri="{BB962C8B-B14F-4D97-AF65-F5344CB8AC3E}">
        <p14:creationId xmlns:p14="http://schemas.microsoft.com/office/powerpoint/2010/main" val="1068561726"/>
      </p:ext>
    </p:extLst>
  </p:cSld>
  <p:clrMapOvr>
    <a:masterClrMapping/>
  </p:clrMapOvr>
  <p:transition>
    <p:random/>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321192E4-1125-455B-B9B3-B38C12D4D3E4}"/>
              </a:ext>
            </a:extLst>
          </p:cNvPr>
          <p:cNvSpPr>
            <a:spLocks noGrp="1"/>
          </p:cNvSpPr>
          <p:nvPr>
            <p:ph type="dt" sz="half" idx="10"/>
          </p:nvPr>
        </p:nvSpPr>
        <p:spPr/>
        <p:txBody>
          <a:bodyPr/>
          <a:lstStyle/>
          <a:p>
            <a:fld id="{0C08B2A5-1572-4DE8-941E-858EF0E10F23}" type="datetimeFigureOut">
              <a:rPr lang="en-US" smtClean="0"/>
              <a:t>12/6/2019</a:t>
            </a:fld>
            <a:endParaRPr lang="en-US"/>
          </a:p>
        </p:txBody>
      </p:sp>
      <p:sp>
        <p:nvSpPr>
          <p:cNvPr id="3" name="Footer Placeholder 2">
            <a:extLst>
              <a:ext uri="{FF2B5EF4-FFF2-40B4-BE49-F238E27FC236}">
                <a16:creationId xmlns:a16="http://schemas.microsoft.com/office/drawing/2014/main" id="{A8F71DD2-E06E-4EA1-8926-2D384256E634}"/>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631273B3-7791-42A3-AA01-E9ECE7108005}"/>
              </a:ext>
            </a:extLst>
          </p:cNvPr>
          <p:cNvSpPr>
            <a:spLocks noGrp="1"/>
          </p:cNvSpPr>
          <p:nvPr>
            <p:ph type="sldNum" sz="quarter" idx="12"/>
          </p:nvPr>
        </p:nvSpPr>
        <p:spPr/>
        <p:txBody>
          <a:bodyPr/>
          <a:lstStyle/>
          <a:p>
            <a:fld id="{E5FAEECA-10E4-45EC-A9E1-A5331A7A6F2F}" type="slidenum">
              <a:rPr lang="en-US" smtClean="0"/>
              <a:t>‹#›</a:t>
            </a:fld>
            <a:endParaRPr lang="en-US"/>
          </a:p>
        </p:txBody>
      </p:sp>
    </p:spTree>
    <p:extLst>
      <p:ext uri="{BB962C8B-B14F-4D97-AF65-F5344CB8AC3E}">
        <p14:creationId xmlns:p14="http://schemas.microsoft.com/office/powerpoint/2010/main" val="77774651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A3B026-555D-4B9F-B572-AF8A5A697ABE}"/>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146CFEB9-2AB8-4448-AF85-A0527E2F63B2}"/>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4053F8DD-5A2D-4C65-9910-82283018DB7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B28A1DAA-49EA-426B-AD06-590E766E9C2B}"/>
              </a:ext>
            </a:extLst>
          </p:cNvPr>
          <p:cNvSpPr>
            <a:spLocks noGrp="1"/>
          </p:cNvSpPr>
          <p:nvPr>
            <p:ph type="dt" sz="half" idx="10"/>
          </p:nvPr>
        </p:nvSpPr>
        <p:spPr/>
        <p:txBody>
          <a:bodyPr/>
          <a:lstStyle/>
          <a:p>
            <a:fld id="{0C08B2A5-1572-4DE8-941E-858EF0E10F23}" type="datetimeFigureOut">
              <a:rPr lang="en-US" smtClean="0"/>
              <a:t>12/6/2019</a:t>
            </a:fld>
            <a:endParaRPr lang="en-US"/>
          </a:p>
        </p:txBody>
      </p:sp>
      <p:sp>
        <p:nvSpPr>
          <p:cNvPr id="6" name="Footer Placeholder 5">
            <a:extLst>
              <a:ext uri="{FF2B5EF4-FFF2-40B4-BE49-F238E27FC236}">
                <a16:creationId xmlns:a16="http://schemas.microsoft.com/office/drawing/2014/main" id="{F435DC8F-F2B4-47EC-8D94-616B3C144680}"/>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F360824-6DAB-4A35-B6D9-4A5735940D0A}"/>
              </a:ext>
            </a:extLst>
          </p:cNvPr>
          <p:cNvSpPr>
            <a:spLocks noGrp="1"/>
          </p:cNvSpPr>
          <p:nvPr>
            <p:ph type="sldNum" sz="quarter" idx="12"/>
          </p:nvPr>
        </p:nvSpPr>
        <p:spPr/>
        <p:txBody>
          <a:bodyPr/>
          <a:lstStyle/>
          <a:p>
            <a:fld id="{E5FAEECA-10E4-45EC-A9E1-A5331A7A6F2F}" type="slidenum">
              <a:rPr lang="en-US" smtClean="0"/>
              <a:t>‹#›</a:t>
            </a:fld>
            <a:endParaRPr lang="en-US"/>
          </a:p>
        </p:txBody>
      </p:sp>
    </p:spTree>
    <p:extLst>
      <p:ext uri="{BB962C8B-B14F-4D97-AF65-F5344CB8AC3E}">
        <p14:creationId xmlns:p14="http://schemas.microsoft.com/office/powerpoint/2010/main" val="33664760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3CC2CC-20F6-4252-A29A-C6D77DC8D9B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0C231927-6498-48F8-AD7C-346315C12B69}"/>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CE897E44-8FC5-491F-96CC-81E108E71C4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3847217B-FF43-4B82-A672-4B5A2D05792D}"/>
              </a:ext>
            </a:extLst>
          </p:cNvPr>
          <p:cNvSpPr>
            <a:spLocks noGrp="1"/>
          </p:cNvSpPr>
          <p:nvPr>
            <p:ph type="dt" sz="half" idx="10"/>
          </p:nvPr>
        </p:nvSpPr>
        <p:spPr/>
        <p:txBody>
          <a:bodyPr/>
          <a:lstStyle/>
          <a:p>
            <a:fld id="{0C08B2A5-1572-4DE8-941E-858EF0E10F23}" type="datetimeFigureOut">
              <a:rPr lang="en-US" smtClean="0"/>
              <a:t>12/6/2019</a:t>
            </a:fld>
            <a:endParaRPr lang="en-US"/>
          </a:p>
        </p:txBody>
      </p:sp>
      <p:sp>
        <p:nvSpPr>
          <p:cNvPr id="6" name="Footer Placeholder 5">
            <a:extLst>
              <a:ext uri="{FF2B5EF4-FFF2-40B4-BE49-F238E27FC236}">
                <a16:creationId xmlns:a16="http://schemas.microsoft.com/office/drawing/2014/main" id="{5D89FDD1-C508-4542-A8DE-A75BED5FAAF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56E4711-7257-4377-8DEC-AA1E8290516C}"/>
              </a:ext>
            </a:extLst>
          </p:cNvPr>
          <p:cNvSpPr>
            <a:spLocks noGrp="1"/>
          </p:cNvSpPr>
          <p:nvPr>
            <p:ph type="sldNum" sz="quarter" idx="12"/>
          </p:nvPr>
        </p:nvSpPr>
        <p:spPr/>
        <p:txBody>
          <a:bodyPr/>
          <a:lstStyle/>
          <a:p>
            <a:fld id="{E5FAEECA-10E4-45EC-A9E1-A5331A7A6F2F}" type="slidenum">
              <a:rPr lang="en-US" smtClean="0"/>
              <a:t>‹#›</a:t>
            </a:fld>
            <a:endParaRPr lang="en-US"/>
          </a:p>
        </p:txBody>
      </p:sp>
    </p:spTree>
    <p:extLst>
      <p:ext uri="{BB962C8B-B14F-4D97-AF65-F5344CB8AC3E}">
        <p14:creationId xmlns:p14="http://schemas.microsoft.com/office/powerpoint/2010/main" val="151983225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theme" Target="../theme/theme2.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theme" Target="../theme/theme3.xml"/><Relationship Id="rId3" Type="http://schemas.openxmlformats.org/officeDocument/2006/relationships/slideLayout" Target="../slideLayouts/slideLayout28.xml"/><Relationship Id="rId7" Type="http://schemas.openxmlformats.org/officeDocument/2006/relationships/slideLayout" Target="../slideLayouts/slideLayout32.xml"/><Relationship Id="rId12" Type="http://schemas.openxmlformats.org/officeDocument/2006/relationships/slideLayout" Target="../slideLayouts/slideLayout37.xml"/><Relationship Id="rId2" Type="http://schemas.openxmlformats.org/officeDocument/2006/relationships/slideLayout" Target="../slideLayouts/slideLayout27.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5" Type="http://schemas.openxmlformats.org/officeDocument/2006/relationships/slideLayout" Target="../slideLayouts/slideLayout30.xml"/><Relationship Id="rId10" Type="http://schemas.openxmlformats.org/officeDocument/2006/relationships/slideLayout" Target="../slideLayouts/slideLayout35.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image" Target="../media/image7.jpe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5.xml"/><Relationship Id="rId13" Type="http://schemas.openxmlformats.org/officeDocument/2006/relationships/theme" Target="../theme/theme4.xml"/><Relationship Id="rId3" Type="http://schemas.openxmlformats.org/officeDocument/2006/relationships/slideLayout" Target="../slideLayouts/slideLayout40.xml"/><Relationship Id="rId7" Type="http://schemas.openxmlformats.org/officeDocument/2006/relationships/slideLayout" Target="../slideLayouts/slideLayout44.xml"/><Relationship Id="rId12" Type="http://schemas.openxmlformats.org/officeDocument/2006/relationships/slideLayout" Target="../slideLayouts/slideLayout49.xml"/><Relationship Id="rId2" Type="http://schemas.openxmlformats.org/officeDocument/2006/relationships/slideLayout" Target="../slideLayouts/slideLayout39.xml"/><Relationship Id="rId16" Type="http://schemas.openxmlformats.org/officeDocument/2006/relationships/image" Target="../media/image5.png"/><Relationship Id="rId1" Type="http://schemas.openxmlformats.org/officeDocument/2006/relationships/slideLayout" Target="../slideLayouts/slideLayout38.xml"/><Relationship Id="rId6" Type="http://schemas.openxmlformats.org/officeDocument/2006/relationships/slideLayout" Target="../slideLayouts/slideLayout43.xml"/><Relationship Id="rId11" Type="http://schemas.openxmlformats.org/officeDocument/2006/relationships/slideLayout" Target="../slideLayouts/slideLayout48.xml"/><Relationship Id="rId5" Type="http://schemas.openxmlformats.org/officeDocument/2006/relationships/slideLayout" Target="../slideLayouts/slideLayout42.xml"/><Relationship Id="rId15" Type="http://schemas.openxmlformats.org/officeDocument/2006/relationships/oleObject" Target="../embeddings/oleObject3.bin"/><Relationship Id="rId10" Type="http://schemas.openxmlformats.org/officeDocument/2006/relationships/slideLayout" Target="../slideLayouts/slideLayout47.xml"/><Relationship Id="rId4" Type="http://schemas.openxmlformats.org/officeDocument/2006/relationships/slideLayout" Target="../slideLayouts/slideLayout41.xml"/><Relationship Id="rId9" Type="http://schemas.openxmlformats.org/officeDocument/2006/relationships/slideLayout" Target="../slideLayouts/slideLayout46.xml"/><Relationship Id="rId14" Type="http://schemas.openxmlformats.org/officeDocument/2006/relationships/vmlDrawing" Target="../drawings/vmlDrawing2.v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7.xml"/><Relationship Id="rId13" Type="http://schemas.openxmlformats.org/officeDocument/2006/relationships/slideLayout" Target="../slideLayouts/slideLayout62.xml"/><Relationship Id="rId18" Type="http://schemas.openxmlformats.org/officeDocument/2006/relationships/image" Target="../media/image5.png"/><Relationship Id="rId3" Type="http://schemas.openxmlformats.org/officeDocument/2006/relationships/slideLayout" Target="../slideLayouts/slideLayout52.xml"/><Relationship Id="rId7" Type="http://schemas.openxmlformats.org/officeDocument/2006/relationships/slideLayout" Target="../slideLayouts/slideLayout56.xml"/><Relationship Id="rId12" Type="http://schemas.openxmlformats.org/officeDocument/2006/relationships/slideLayout" Target="../slideLayouts/slideLayout61.xml"/><Relationship Id="rId17" Type="http://schemas.openxmlformats.org/officeDocument/2006/relationships/oleObject" Target="../embeddings/oleObject4.bin"/><Relationship Id="rId2" Type="http://schemas.openxmlformats.org/officeDocument/2006/relationships/slideLayout" Target="../slideLayouts/slideLayout51.xml"/><Relationship Id="rId16" Type="http://schemas.openxmlformats.org/officeDocument/2006/relationships/vmlDrawing" Target="../drawings/vmlDrawing3.vml"/><Relationship Id="rId1" Type="http://schemas.openxmlformats.org/officeDocument/2006/relationships/slideLayout" Target="../slideLayouts/slideLayout50.xml"/><Relationship Id="rId6" Type="http://schemas.openxmlformats.org/officeDocument/2006/relationships/slideLayout" Target="../slideLayouts/slideLayout55.xml"/><Relationship Id="rId11" Type="http://schemas.openxmlformats.org/officeDocument/2006/relationships/slideLayout" Target="../slideLayouts/slideLayout60.xml"/><Relationship Id="rId5" Type="http://schemas.openxmlformats.org/officeDocument/2006/relationships/slideLayout" Target="../slideLayouts/slideLayout54.xml"/><Relationship Id="rId15" Type="http://schemas.openxmlformats.org/officeDocument/2006/relationships/theme" Target="../theme/theme5.xml"/><Relationship Id="rId10" Type="http://schemas.openxmlformats.org/officeDocument/2006/relationships/slideLayout" Target="../slideLayouts/slideLayout59.xml"/><Relationship Id="rId4" Type="http://schemas.openxmlformats.org/officeDocument/2006/relationships/slideLayout" Target="../slideLayouts/slideLayout53.xml"/><Relationship Id="rId9" Type="http://schemas.openxmlformats.org/officeDocument/2006/relationships/slideLayout" Target="../slideLayouts/slideLayout58.xml"/><Relationship Id="rId14" Type="http://schemas.openxmlformats.org/officeDocument/2006/relationships/slideLayout" Target="../slideLayouts/slideLayout6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B0AC035A-5DAB-4E67-94D6-1010ED6DA590}"/>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B9DEA418-E8E0-4C14-8948-0854739A716C}"/>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144E0B7-1764-442E-9B78-B6F7E1583CFC}"/>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C08B2A5-1572-4DE8-941E-858EF0E10F23}" type="datetimeFigureOut">
              <a:rPr lang="en-US" smtClean="0"/>
              <a:t>12/6/2019</a:t>
            </a:fld>
            <a:endParaRPr lang="en-US"/>
          </a:p>
        </p:txBody>
      </p:sp>
      <p:sp>
        <p:nvSpPr>
          <p:cNvPr id="5" name="Footer Placeholder 4">
            <a:extLst>
              <a:ext uri="{FF2B5EF4-FFF2-40B4-BE49-F238E27FC236}">
                <a16:creationId xmlns:a16="http://schemas.microsoft.com/office/drawing/2014/main" id="{BAA707F9-82E8-49E4-AA72-DA0ED282DFC0}"/>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604BACE9-850D-4D49-8BA4-02BE4D888147}"/>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5FAEECA-10E4-45EC-A9E1-A5331A7A6F2F}" type="slidenum">
              <a:rPr lang="en-US" smtClean="0"/>
              <a:t>‹#›</a:t>
            </a:fld>
            <a:endParaRPr lang="en-US"/>
          </a:p>
        </p:txBody>
      </p:sp>
    </p:spTree>
    <p:extLst>
      <p:ext uri="{BB962C8B-B14F-4D97-AF65-F5344CB8AC3E}">
        <p14:creationId xmlns:p14="http://schemas.microsoft.com/office/powerpoint/2010/main" val="3854848736"/>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33150E81-E172-4824-BA5D-05B8FBCBD141}"/>
              </a:ext>
            </a:extLst>
          </p:cNvPr>
          <p:cNvSpPr/>
          <p:nvPr/>
        </p:nvSpPr>
        <p:spPr>
          <a:xfrm>
            <a:off x="0" y="0"/>
            <a:ext cx="12192000" cy="6858000"/>
          </a:xfrm>
          <a:prstGeom prst="rect">
            <a:avLst/>
          </a:prstGeom>
          <a:solidFill>
            <a:srgbClr val="FFFFFF"/>
          </a:solidFill>
          <a:ln w="12700" cap="flat" cmpd="sng" algn="ctr">
            <a:noFill/>
            <a:prstDash val="solid"/>
          </a:ln>
        </p:spPr>
        <p:style>
          <a:lnRef idx="2">
            <a:schemeClr val="accent1"/>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800">
              <a:solidFill>
                <a:prstClr val="white"/>
              </a:solidFill>
            </a:endParaRPr>
          </a:p>
        </p:txBody>
      </p:sp>
      <p:sp useBgFill="1">
        <p:nvSpPr>
          <p:cNvPr id="8" name="Rounded Rectangle 7">
            <a:extLst>
              <a:ext uri="{FF2B5EF4-FFF2-40B4-BE49-F238E27FC236}">
                <a16:creationId xmlns:a16="http://schemas.microsoft.com/office/drawing/2014/main" id="{AB3E22F9-1E21-4108-A6AB-21B3B5381220}"/>
              </a:ext>
            </a:extLst>
          </p:cNvPr>
          <p:cNvSpPr/>
          <p:nvPr/>
        </p:nvSpPr>
        <p:spPr>
          <a:xfrm>
            <a:off x="84668" y="69850"/>
            <a:ext cx="12018433" cy="6692900"/>
          </a:xfrm>
          <a:prstGeom prst="roundRect">
            <a:avLst>
              <a:gd name="adj" fmla="val 4929"/>
            </a:avLst>
          </a:prstGeom>
          <a:ln w="6350" cap="sq" cmpd="sng" algn="ctr">
            <a:solidFill>
              <a:schemeClr val="tx1">
                <a:alpha val="100000"/>
              </a:schemeClr>
            </a:solidFill>
            <a:prstDash val="solid"/>
          </a:ln>
          <a:effectLst/>
        </p:spPr>
        <p:style>
          <a:lnRef idx="3">
            <a:schemeClr val="lt1"/>
          </a:lnRef>
          <a:fillRef idx="1001">
            <a:schemeClr val="lt1"/>
          </a:fillRef>
          <a:effectRef idx="1">
            <a:schemeClr val="accent1"/>
          </a:effectRef>
          <a:fontRef idx="minor">
            <a:schemeClr val="lt1"/>
          </a:fontRef>
        </p:style>
        <p:txBody>
          <a:bodyPr anchor="ctr"/>
          <a:lstStyle/>
          <a:p>
            <a:pPr algn="ctr" fontAlgn="auto">
              <a:spcBef>
                <a:spcPts val="0"/>
              </a:spcBef>
              <a:spcAft>
                <a:spcPts val="0"/>
              </a:spcAft>
              <a:defRPr/>
            </a:pPr>
            <a:endParaRPr lang="en-US" sz="1800">
              <a:solidFill>
                <a:prstClr val="white"/>
              </a:solidFill>
            </a:endParaRPr>
          </a:p>
        </p:txBody>
      </p:sp>
      <p:sp>
        <p:nvSpPr>
          <p:cNvPr id="1028" name="Title Placeholder 21">
            <a:extLst>
              <a:ext uri="{FF2B5EF4-FFF2-40B4-BE49-F238E27FC236}">
                <a16:creationId xmlns:a16="http://schemas.microsoft.com/office/drawing/2014/main" id="{D74AAABD-3228-40C7-882C-62F10693B72A}"/>
              </a:ext>
            </a:extLst>
          </p:cNvPr>
          <p:cNvSpPr>
            <a:spLocks noGrp="1"/>
          </p:cNvSpPr>
          <p:nvPr>
            <p:ph type="title"/>
          </p:nvPr>
        </p:nvSpPr>
        <p:spPr bwMode="auto">
          <a:xfrm>
            <a:off x="1219200" y="274638"/>
            <a:ext cx="103632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91440" numCol="1" anchor="b" anchorCtr="0" compatLnSpc="1">
            <a:prstTxWarp prst="textNoShape">
              <a:avLst/>
            </a:prstTxWarp>
          </a:bodyPr>
          <a:lstStyle/>
          <a:p>
            <a:pPr lvl="0"/>
            <a:r>
              <a:rPr lang="en-US" altLang="en-US"/>
              <a:t>Click to edit Master title style</a:t>
            </a:r>
          </a:p>
        </p:txBody>
      </p:sp>
      <p:sp>
        <p:nvSpPr>
          <p:cNvPr id="1029" name="Text Placeholder 12">
            <a:extLst>
              <a:ext uri="{FF2B5EF4-FFF2-40B4-BE49-F238E27FC236}">
                <a16:creationId xmlns:a16="http://schemas.microsoft.com/office/drawing/2014/main" id="{C147CA45-842D-41D6-B94A-88DD06880A34}"/>
              </a:ext>
            </a:extLst>
          </p:cNvPr>
          <p:cNvSpPr>
            <a:spLocks noGrp="1"/>
          </p:cNvSpPr>
          <p:nvPr>
            <p:ph type="body" idx="1"/>
          </p:nvPr>
        </p:nvSpPr>
        <p:spPr bwMode="auto">
          <a:xfrm>
            <a:off x="1219200" y="1447800"/>
            <a:ext cx="10363200" cy="457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14" name="Date Placeholder 13">
            <a:extLst>
              <a:ext uri="{FF2B5EF4-FFF2-40B4-BE49-F238E27FC236}">
                <a16:creationId xmlns:a16="http://schemas.microsoft.com/office/drawing/2014/main" id="{DE5950D5-F80D-4ADE-B110-28C163B4CB4F}"/>
              </a:ext>
            </a:extLst>
          </p:cNvPr>
          <p:cNvSpPr>
            <a:spLocks noGrp="1"/>
          </p:cNvSpPr>
          <p:nvPr>
            <p:ph type="dt" sz="half" idx="2"/>
          </p:nvPr>
        </p:nvSpPr>
        <p:spPr>
          <a:xfrm>
            <a:off x="8229600" y="6191250"/>
            <a:ext cx="3302000" cy="476250"/>
          </a:xfrm>
          <a:prstGeom prst="rect">
            <a:avLst/>
          </a:prstGeom>
        </p:spPr>
        <p:txBody>
          <a:bodyPr anchor="ctr" anchorCtr="0"/>
          <a:lstStyle>
            <a:lvl1pPr algn="r" eaLnBrk="1" fontAlgn="auto" latinLnBrk="0" hangingPunct="1">
              <a:spcBef>
                <a:spcPts val="0"/>
              </a:spcBef>
              <a:spcAft>
                <a:spcPts val="0"/>
              </a:spcAft>
              <a:defRPr kumimoji="0" sz="1400" smtClean="0">
                <a:solidFill>
                  <a:srgbClr val="696464"/>
                </a:solidFill>
                <a:latin typeface="+mn-lt"/>
                <a:cs typeface="+mn-cs"/>
              </a:defRPr>
            </a:lvl1pPr>
          </a:lstStyle>
          <a:p>
            <a:pPr>
              <a:defRPr/>
            </a:pPr>
            <a:fld id="{7AA0EA55-D2DC-46AF-995D-D8F5F8F24BCB}" type="datetimeFigureOut">
              <a:rPr lang="en-US"/>
              <a:pPr>
                <a:defRPr/>
              </a:pPr>
              <a:t>12/6/2019</a:t>
            </a:fld>
            <a:endParaRPr lang="en-US"/>
          </a:p>
        </p:txBody>
      </p:sp>
      <p:sp>
        <p:nvSpPr>
          <p:cNvPr id="3" name="Footer Placeholder 2">
            <a:extLst>
              <a:ext uri="{FF2B5EF4-FFF2-40B4-BE49-F238E27FC236}">
                <a16:creationId xmlns:a16="http://schemas.microsoft.com/office/drawing/2014/main" id="{995DF018-F4E5-45F5-B427-21005364176F}"/>
              </a:ext>
            </a:extLst>
          </p:cNvPr>
          <p:cNvSpPr>
            <a:spLocks noGrp="1"/>
          </p:cNvSpPr>
          <p:nvPr>
            <p:ph type="ftr" sz="quarter" idx="3"/>
          </p:nvPr>
        </p:nvSpPr>
        <p:spPr>
          <a:xfrm>
            <a:off x="1219200" y="6172200"/>
            <a:ext cx="5283200" cy="457200"/>
          </a:xfrm>
          <a:prstGeom prst="rect">
            <a:avLst/>
          </a:prstGeom>
        </p:spPr>
        <p:txBody>
          <a:bodyPr anchor="ctr" anchorCtr="0"/>
          <a:lstStyle>
            <a:lvl1pPr eaLnBrk="1" fontAlgn="auto" latinLnBrk="0" hangingPunct="1">
              <a:spcBef>
                <a:spcPts val="0"/>
              </a:spcBef>
              <a:spcAft>
                <a:spcPts val="0"/>
              </a:spcAft>
              <a:defRPr kumimoji="0" sz="1400">
                <a:solidFill>
                  <a:srgbClr val="696464"/>
                </a:solidFill>
                <a:latin typeface="+mn-lt"/>
                <a:cs typeface="+mn-cs"/>
              </a:defRPr>
            </a:lvl1pPr>
          </a:lstStyle>
          <a:p>
            <a:pPr>
              <a:defRPr/>
            </a:pPr>
            <a:endParaRPr lang="en-US"/>
          </a:p>
        </p:txBody>
      </p:sp>
      <p:sp>
        <p:nvSpPr>
          <p:cNvPr id="23" name="Slide Number Placeholder 22">
            <a:extLst>
              <a:ext uri="{FF2B5EF4-FFF2-40B4-BE49-F238E27FC236}">
                <a16:creationId xmlns:a16="http://schemas.microsoft.com/office/drawing/2014/main" id="{E3582C6F-31C2-416B-A61B-2E14B03D6296}"/>
              </a:ext>
            </a:extLst>
          </p:cNvPr>
          <p:cNvSpPr>
            <a:spLocks noGrp="1"/>
          </p:cNvSpPr>
          <p:nvPr>
            <p:ph type="sldNum" sz="quarter" idx="4"/>
          </p:nvPr>
        </p:nvSpPr>
        <p:spPr>
          <a:xfrm>
            <a:off x="194733" y="6210300"/>
            <a:ext cx="609600" cy="457200"/>
          </a:xfrm>
          <a:prstGeom prst="ellipse">
            <a:avLst/>
          </a:prstGeom>
          <a:solidFill>
            <a:schemeClr val="accent1"/>
          </a:solidFill>
        </p:spPr>
        <p:txBody>
          <a:bodyPr vert="horz" wrap="none" lIns="0" tIns="0" rIns="0" bIns="0" numCol="1" anchor="ctr" anchorCtr="1" compatLnSpc="1">
            <a:prstTxWarp prst="textNoShape">
              <a:avLst/>
            </a:prstTxWarp>
            <a:noAutofit/>
          </a:bodyPr>
          <a:lstStyle>
            <a:lvl1pPr algn="ctr">
              <a:defRPr sz="1400">
                <a:solidFill>
                  <a:srgbClr val="FFFFFF"/>
                </a:solidFill>
                <a:latin typeface="Franklin Gothic Book" panose="020B0503020102020204" pitchFamily="34" charset="0"/>
              </a:defRPr>
            </a:lvl1pPr>
          </a:lstStyle>
          <a:p>
            <a:fld id="{D77237F0-1B99-41B5-A965-E1B8A03E44BA}" type="slidenum">
              <a:rPr lang="en-US" altLang="en-US"/>
              <a:pPr/>
              <a:t>‹#›</a:t>
            </a:fld>
            <a:endParaRPr lang="en-US" altLang="en-US"/>
          </a:p>
        </p:txBody>
      </p:sp>
    </p:spTree>
    <p:extLst>
      <p:ext uri="{BB962C8B-B14F-4D97-AF65-F5344CB8AC3E}">
        <p14:creationId xmlns:p14="http://schemas.microsoft.com/office/powerpoint/2010/main" val="2174887765"/>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Lst>
  <p:txStyles>
    <p:titleStyle>
      <a:lvl1pPr algn="l" rtl="0" fontAlgn="base">
        <a:spcBef>
          <a:spcPct val="0"/>
        </a:spcBef>
        <a:spcAft>
          <a:spcPct val="0"/>
        </a:spcAft>
        <a:defRPr sz="4000" kern="1200">
          <a:solidFill>
            <a:schemeClr val="tx2"/>
          </a:solidFill>
          <a:latin typeface="+mj-lt"/>
          <a:ea typeface="+mj-ea"/>
          <a:cs typeface="+mj-cs"/>
        </a:defRPr>
      </a:lvl1pPr>
      <a:lvl2pPr algn="l" rtl="0" fontAlgn="base">
        <a:spcBef>
          <a:spcPct val="0"/>
        </a:spcBef>
        <a:spcAft>
          <a:spcPct val="0"/>
        </a:spcAft>
        <a:defRPr sz="4000">
          <a:solidFill>
            <a:schemeClr val="tx2"/>
          </a:solidFill>
          <a:latin typeface="Franklin Gothic Book" panose="020B0503020102020204" pitchFamily="34" charset="0"/>
        </a:defRPr>
      </a:lvl2pPr>
      <a:lvl3pPr algn="l" rtl="0" fontAlgn="base">
        <a:spcBef>
          <a:spcPct val="0"/>
        </a:spcBef>
        <a:spcAft>
          <a:spcPct val="0"/>
        </a:spcAft>
        <a:defRPr sz="4000">
          <a:solidFill>
            <a:schemeClr val="tx2"/>
          </a:solidFill>
          <a:latin typeface="Franklin Gothic Book" panose="020B0503020102020204" pitchFamily="34" charset="0"/>
        </a:defRPr>
      </a:lvl3pPr>
      <a:lvl4pPr algn="l" rtl="0" fontAlgn="base">
        <a:spcBef>
          <a:spcPct val="0"/>
        </a:spcBef>
        <a:spcAft>
          <a:spcPct val="0"/>
        </a:spcAft>
        <a:defRPr sz="4000">
          <a:solidFill>
            <a:schemeClr val="tx2"/>
          </a:solidFill>
          <a:latin typeface="Franklin Gothic Book" panose="020B0503020102020204" pitchFamily="34" charset="0"/>
        </a:defRPr>
      </a:lvl4pPr>
      <a:lvl5pPr algn="l" rtl="0" fontAlgn="base">
        <a:spcBef>
          <a:spcPct val="0"/>
        </a:spcBef>
        <a:spcAft>
          <a:spcPct val="0"/>
        </a:spcAft>
        <a:defRPr sz="4000">
          <a:solidFill>
            <a:schemeClr val="tx2"/>
          </a:solidFill>
          <a:latin typeface="Franklin Gothic Book" panose="020B0503020102020204" pitchFamily="34" charset="0"/>
        </a:defRPr>
      </a:lvl5pPr>
      <a:lvl6pPr marL="457200" algn="l" rtl="0" fontAlgn="base">
        <a:spcBef>
          <a:spcPct val="0"/>
        </a:spcBef>
        <a:spcAft>
          <a:spcPct val="0"/>
        </a:spcAft>
        <a:defRPr sz="4000">
          <a:solidFill>
            <a:schemeClr val="tx2"/>
          </a:solidFill>
          <a:latin typeface="Franklin Gothic Book" panose="020B0503020102020204" pitchFamily="34" charset="0"/>
        </a:defRPr>
      </a:lvl6pPr>
      <a:lvl7pPr marL="914400" algn="l" rtl="0" fontAlgn="base">
        <a:spcBef>
          <a:spcPct val="0"/>
        </a:spcBef>
        <a:spcAft>
          <a:spcPct val="0"/>
        </a:spcAft>
        <a:defRPr sz="4000">
          <a:solidFill>
            <a:schemeClr val="tx2"/>
          </a:solidFill>
          <a:latin typeface="Franklin Gothic Book" panose="020B0503020102020204" pitchFamily="34" charset="0"/>
        </a:defRPr>
      </a:lvl7pPr>
      <a:lvl8pPr marL="1371600" algn="l" rtl="0" fontAlgn="base">
        <a:spcBef>
          <a:spcPct val="0"/>
        </a:spcBef>
        <a:spcAft>
          <a:spcPct val="0"/>
        </a:spcAft>
        <a:defRPr sz="4000">
          <a:solidFill>
            <a:schemeClr val="tx2"/>
          </a:solidFill>
          <a:latin typeface="Franklin Gothic Book" panose="020B0503020102020204" pitchFamily="34" charset="0"/>
        </a:defRPr>
      </a:lvl8pPr>
      <a:lvl9pPr marL="1828800" algn="l" rtl="0" fontAlgn="base">
        <a:spcBef>
          <a:spcPct val="0"/>
        </a:spcBef>
        <a:spcAft>
          <a:spcPct val="0"/>
        </a:spcAft>
        <a:defRPr sz="4000">
          <a:solidFill>
            <a:schemeClr val="tx2"/>
          </a:solidFill>
          <a:latin typeface="Franklin Gothic Book" panose="020B0503020102020204" pitchFamily="34" charset="0"/>
        </a:defRPr>
      </a:lvl9pPr>
    </p:titleStyle>
    <p:bodyStyle>
      <a:lvl1pPr marL="273050" indent="-273050" algn="l" rtl="0" fontAlgn="base">
        <a:spcBef>
          <a:spcPts val="575"/>
        </a:spcBef>
        <a:spcAft>
          <a:spcPct val="0"/>
        </a:spcAft>
        <a:buClr>
          <a:schemeClr val="accent1"/>
        </a:buClr>
        <a:buSzPct val="85000"/>
        <a:buFont typeface="Wingdings 2" panose="05020102010507070707" pitchFamily="18" charset="2"/>
        <a:buChar char=""/>
        <a:defRPr sz="2600" kern="1200">
          <a:solidFill>
            <a:schemeClr val="tx1"/>
          </a:solidFill>
          <a:latin typeface="+mn-lt"/>
          <a:ea typeface="+mn-ea"/>
          <a:cs typeface="+mn-cs"/>
        </a:defRPr>
      </a:lvl1pPr>
      <a:lvl2pPr marL="547688" indent="-228600" algn="l" rtl="0" fontAlgn="base">
        <a:spcBef>
          <a:spcPts val="375"/>
        </a:spcBef>
        <a:spcAft>
          <a:spcPct val="0"/>
        </a:spcAft>
        <a:buClr>
          <a:schemeClr val="accent2"/>
        </a:buClr>
        <a:buSzPct val="85000"/>
        <a:buFont typeface="Wingdings 2" panose="05020102010507070707" pitchFamily="18" charset="2"/>
        <a:buChar char=""/>
        <a:defRPr sz="2400" kern="1200">
          <a:solidFill>
            <a:schemeClr val="tx1"/>
          </a:solidFill>
          <a:latin typeface="+mn-lt"/>
          <a:ea typeface="+mn-ea"/>
          <a:cs typeface="+mn-cs"/>
        </a:defRPr>
      </a:lvl2pPr>
      <a:lvl3pPr marL="822325" indent="-228600" algn="l" rtl="0" fontAlgn="base">
        <a:spcBef>
          <a:spcPts val="375"/>
        </a:spcBef>
        <a:spcAft>
          <a:spcPct val="0"/>
        </a:spcAft>
        <a:buClr>
          <a:srgbClr val="E6B1AB"/>
        </a:buClr>
        <a:buSzPct val="85000"/>
        <a:buFont typeface="Wingdings 2" panose="05020102010507070707" pitchFamily="18" charset="2"/>
        <a:buChar char=""/>
        <a:defRPr sz="2000" kern="1200">
          <a:solidFill>
            <a:schemeClr val="tx1"/>
          </a:solidFill>
          <a:latin typeface="+mn-lt"/>
          <a:ea typeface="+mn-ea"/>
          <a:cs typeface="+mn-cs"/>
        </a:defRPr>
      </a:lvl3pPr>
      <a:lvl4pPr marL="1096963" indent="-228600" algn="l" rtl="0" fontAlgn="base">
        <a:spcBef>
          <a:spcPts val="375"/>
        </a:spcBef>
        <a:spcAft>
          <a:spcPct val="0"/>
        </a:spcAft>
        <a:buClr>
          <a:srgbClr val="A28E6A"/>
        </a:buClr>
        <a:buSzPct val="80000"/>
        <a:buFont typeface="Wingdings 2" panose="05020102010507070707" pitchFamily="18" charset="2"/>
        <a:buChar char=""/>
        <a:defRPr sz="2000" kern="1200">
          <a:solidFill>
            <a:schemeClr val="tx1"/>
          </a:solidFill>
          <a:latin typeface="+mn-lt"/>
          <a:ea typeface="+mn-ea"/>
          <a:cs typeface="+mn-cs"/>
        </a:defRPr>
      </a:lvl4pPr>
      <a:lvl5pPr marL="1371600" indent="-228600" algn="l" rtl="0" fontAlgn="base">
        <a:spcBef>
          <a:spcPts val="375"/>
        </a:spcBef>
        <a:spcAft>
          <a:spcPct val="0"/>
        </a:spcAft>
        <a:buClr>
          <a:srgbClr val="A28E6A"/>
        </a:buClr>
        <a:buChar char="o"/>
        <a:defRPr sz="2000" kern="1200">
          <a:solidFill>
            <a:schemeClr val="tx1"/>
          </a:solidFill>
          <a:latin typeface="+mn-lt"/>
          <a:ea typeface="+mn-ea"/>
          <a:cs typeface="+mn-cs"/>
        </a:defRPr>
      </a:lvl5pPr>
      <a:lvl6pPr marL="1645920" indent="-228600" algn="l" rtl="0" eaLnBrk="1" latinLnBrk="0" hangingPunct="1">
        <a:spcBef>
          <a:spcPts val="370"/>
        </a:spcBef>
        <a:buClr>
          <a:schemeClr val="accent3"/>
        </a:buClr>
        <a:buChar char="•"/>
        <a:defRPr kumimoji="0" sz="1800" kern="1200" baseline="0">
          <a:solidFill>
            <a:schemeClr val="tx1"/>
          </a:solidFill>
          <a:latin typeface="+mn-lt"/>
          <a:ea typeface="+mn-ea"/>
          <a:cs typeface="+mn-cs"/>
        </a:defRPr>
      </a:lvl6pPr>
      <a:lvl7pPr marL="1920240" indent="-228600" algn="l" rtl="0" eaLnBrk="1" latinLnBrk="0" hangingPunct="1">
        <a:spcBef>
          <a:spcPts val="370"/>
        </a:spcBef>
        <a:buClr>
          <a:schemeClr val="accent2"/>
        </a:buClr>
        <a:buChar char="•"/>
        <a:defRPr kumimoji="0" sz="1800" kern="1200">
          <a:solidFill>
            <a:schemeClr val="tx1"/>
          </a:solidFill>
          <a:latin typeface="+mn-lt"/>
          <a:ea typeface="+mn-ea"/>
          <a:cs typeface="+mn-cs"/>
        </a:defRPr>
      </a:lvl7pPr>
      <a:lvl8pPr marL="2194560" indent="-228600" algn="l" rtl="0" eaLnBrk="1" latinLnBrk="0" hangingPunct="1">
        <a:spcBef>
          <a:spcPts val="370"/>
        </a:spcBef>
        <a:buClr>
          <a:schemeClr val="accent1">
            <a:tint val="60000"/>
          </a:schemeClr>
        </a:buClr>
        <a:buChar char="•"/>
        <a:defRPr kumimoji="0" sz="1800" kern="1200">
          <a:solidFill>
            <a:schemeClr val="tx1"/>
          </a:solidFill>
          <a:latin typeface="+mn-lt"/>
          <a:ea typeface="+mn-ea"/>
          <a:cs typeface="+mn-cs"/>
        </a:defRPr>
      </a:lvl8pPr>
      <a:lvl9pPr marL="2468880" indent="-228600" algn="l" rtl="0" eaLnBrk="1" latinLnBrk="0" hangingPunct="1">
        <a:spcBef>
          <a:spcPts val="370"/>
        </a:spcBef>
        <a:buClr>
          <a:schemeClr val="accent2">
            <a:tint val="60000"/>
          </a:schemeClr>
        </a:buClr>
        <a:buChar char="•"/>
        <a:defRPr kumimoji="0" sz="1800" kern="1200">
          <a:solidFill>
            <a:schemeClr val="tx1"/>
          </a:solidFill>
          <a:latin typeface="+mn-lt"/>
          <a:ea typeface="+mn-ea"/>
          <a:cs typeface="+mn-cs"/>
        </a:defRPr>
      </a:lvl9pPr>
    </p:bodyStyle>
    <p:otherStyle>
      <a:lvl1pPr marL="0" algn="l" rtl="0" eaLnBrk="1" latinLnBrk="0" hangingPunct="1">
        <a:defRPr kumimoji="0" kern="1200">
          <a:solidFill>
            <a:schemeClr val="tx1"/>
          </a:solidFill>
          <a:latin typeface="+mn-lt"/>
          <a:ea typeface="+mn-ea"/>
          <a:cs typeface="+mn-cs"/>
        </a:defRPr>
      </a:lvl1pPr>
      <a:lvl2pPr marL="457200" algn="l" rtl="0" eaLnBrk="1" latinLnBrk="0" hangingPunct="1">
        <a:defRPr kumimoji="0" kern="1200">
          <a:solidFill>
            <a:schemeClr val="tx1"/>
          </a:solidFill>
          <a:latin typeface="+mn-lt"/>
          <a:ea typeface="+mn-ea"/>
          <a:cs typeface="+mn-cs"/>
        </a:defRPr>
      </a:lvl2pPr>
      <a:lvl3pPr marL="914400" algn="l" rtl="0" eaLnBrk="1" latinLnBrk="0" hangingPunct="1">
        <a:defRPr kumimoji="0" kern="1200">
          <a:solidFill>
            <a:schemeClr val="tx1"/>
          </a:solidFill>
          <a:latin typeface="+mn-lt"/>
          <a:ea typeface="+mn-ea"/>
          <a:cs typeface="+mn-cs"/>
        </a:defRPr>
      </a:lvl3pPr>
      <a:lvl4pPr marL="1371600" algn="l" rtl="0" eaLnBrk="1" latinLnBrk="0" hangingPunct="1">
        <a:defRPr kumimoji="0" kern="1200">
          <a:solidFill>
            <a:schemeClr val="tx1"/>
          </a:solidFill>
          <a:latin typeface="+mn-lt"/>
          <a:ea typeface="+mn-ea"/>
          <a:cs typeface="+mn-cs"/>
        </a:defRPr>
      </a:lvl4pPr>
      <a:lvl5pPr marL="1828800" algn="l" rtl="0" eaLnBrk="1" latinLnBrk="0" hangingPunct="1">
        <a:defRPr kumimoji="0" kern="1200">
          <a:solidFill>
            <a:schemeClr val="tx1"/>
          </a:solidFill>
          <a:latin typeface="+mn-lt"/>
          <a:ea typeface="+mn-ea"/>
          <a:cs typeface="+mn-cs"/>
        </a:defRPr>
      </a:lvl5pPr>
      <a:lvl6pPr marL="2286000" algn="l" rtl="0" eaLnBrk="1" latinLnBrk="0" hangingPunct="1">
        <a:defRPr kumimoji="0" kern="1200">
          <a:solidFill>
            <a:schemeClr val="tx1"/>
          </a:solidFill>
          <a:latin typeface="+mn-lt"/>
          <a:ea typeface="+mn-ea"/>
          <a:cs typeface="+mn-cs"/>
        </a:defRPr>
      </a:lvl6pPr>
      <a:lvl7pPr marL="2743200" algn="l" rtl="0" eaLnBrk="1" latinLnBrk="0" hangingPunct="1">
        <a:defRPr kumimoji="0" kern="1200">
          <a:solidFill>
            <a:schemeClr val="tx1"/>
          </a:solidFill>
          <a:latin typeface="+mn-lt"/>
          <a:ea typeface="+mn-ea"/>
          <a:cs typeface="+mn-cs"/>
        </a:defRPr>
      </a:lvl7pPr>
      <a:lvl8pPr marL="3200400" algn="l" rtl="0" eaLnBrk="1" latinLnBrk="0" hangingPunct="1">
        <a:defRPr kumimoji="0" kern="1200">
          <a:solidFill>
            <a:schemeClr val="tx1"/>
          </a:solidFill>
          <a:latin typeface="+mn-lt"/>
          <a:ea typeface="+mn-ea"/>
          <a:cs typeface="+mn-cs"/>
        </a:defRPr>
      </a:lvl8pPr>
      <a:lvl9pPr marL="3657600" algn="l" rtl="0" eaLnBrk="1" latinLnBrk="0" hangingPunct="1">
        <a:defRPr kumimoji="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blipFill dpi="0" rotWithShape="0">
          <a:blip r:embed="rId14"/>
          <a:srcRect/>
          <a:stretch>
            <a:fillRect/>
          </a:stretch>
        </a:blipFill>
        <a:effectLst/>
      </p:bgPr>
    </p:bg>
    <p:spTree>
      <p:nvGrpSpPr>
        <p:cNvPr id="1" name=""/>
        <p:cNvGrpSpPr/>
        <p:nvPr/>
      </p:nvGrpSpPr>
      <p:grpSpPr>
        <a:xfrm>
          <a:off x="0" y="0"/>
          <a:ext cx="0" cy="0"/>
          <a:chOff x="0" y="0"/>
          <a:chExt cx="0" cy="0"/>
        </a:xfrm>
      </p:grpSpPr>
      <p:sp>
        <p:nvSpPr>
          <p:cNvPr id="1026" name="Title Placeholder 1">
            <a:extLst>
              <a:ext uri="{FF2B5EF4-FFF2-40B4-BE49-F238E27FC236}">
                <a16:creationId xmlns:a16="http://schemas.microsoft.com/office/drawing/2014/main" id="{30CE5AE0-9ECF-43C0-B1C2-C8204E5318AB}"/>
              </a:ext>
            </a:extLst>
          </p:cNvPr>
          <p:cNvSpPr>
            <a:spLocks noGrp="1"/>
          </p:cNvSpPr>
          <p:nvPr>
            <p:ph type="title"/>
          </p:nvPr>
        </p:nvSpPr>
        <p:spPr bwMode="auto">
          <a:xfrm>
            <a:off x="609600" y="274638"/>
            <a:ext cx="109728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1027" name="Text Placeholder 2">
            <a:extLst>
              <a:ext uri="{FF2B5EF4-FFF2-40B4-BE49-F238E27FC236}">
                <a16:creationId xmlns:a16="http://schemas.microsoft.com/office/drawing/2014/main" id="{8441826A-8487-443B-BA43-9242FF8E974E}"/>
              </a:ext>
            </a:extLst>
          </p:cNvPr>
          <p:cNvSpPr>
            <a:spLocks noGrp="1"/>
          </p:cNvSpPr>
          <p:nvPr>
            <p:ph type="body" idx="1"/>
          </p:nvPr>
        </p:nvSpPr>
        <p:spPr bwMode="auto">
          <a:xfrm>
            <a:off x="609600" y="1600201"/>
            <a:ext cx="109728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4" name="Date Placeholder 3">
            <a:extLst>
              <a:ext uri="{FF2B5EF4-FFF2-40B4-BE49-F238E27FC236}">
                <a16:creationId xmlns:a16="http://schemas.microsoft.com/office/drawing/2014/main" id="{E8282357-A123-44BD-A67E-54C8E0FEFA42}"/>
              </a:ext>
            </a:extLst>
          </p:cNvPr>
          <p:cNvSpPr>
            <a:spLocks noGrp="1"/>
          </p:cNvSpPr>
          <p:nvPr>
            <p:ph type="dt" sz="half" idx="2"/>
          </p:nvPr>
        </p:nvSpPr>
        <p:spPr>
          <a:xfrm>
            <a:off x="609600" y="6356351"/>
            <a:ext cx="2844800" cy="365125"/>
          </a:xfrm>
          <a:prstGeom prst="rect">
            <a:avLst/>
          </a:prstGeom>
        </p:spPr>
        <p:txBody>
          <a:bodyPr vert="horz" lIns="91440" tIns="45720" rIns="91440" bIns="45720" rtlCol="0" anchor="ctr"/>
          <a:lstStyle>
            <a:lvl1pPr algn="l" fontAlgn="auto">
              <a:spcBef>
                <a:spcPts val="0"/>
              </a:spcBef>
              <a:spcAft>
                <a:spcPts val="0"/>
              </a:spcAft>
              <a:defRPr sz="1200" smtClean="0">
                <a:solidFill>
                  <a:schemeClr val="tx1">
                    <a:tint val="75000"/>
                  </a:schemeClr>
                </a:solidFill>
                <a:latin typeface="+mn-lt"/>
                <a:cs typeface="+mn-cs"/>
              </a:defRPr>
            </a:lvl1pPr>
          </a:lstStyle>
          <a:p>
            <a:pPr>
              <a:defRPr/>
            </a:pPr>
            <a:fld id="{69408052-C704-42C9-92DA-28B17384B5EF}" type="datetimeFigureOut">
              <a:rPr lang="en-US"/>
              <a:pPr>
                <a:defRPr/>
              </a:pPr>
              <a:t>12/6/2019</a:t>
            </a:fld>
            <a:endParaRPr lang="en-US" dirty="0"/>
          </a:p>
        </p:txBody>
      </p:sp>
      <p:sp>
        <p:nvSpPr>
          <p:cNvPr id="5" name="Footer Placeholder 4">
            <a:extLst>
              <a:ext uri="{FF2B5EF4-FFF2-40B4-BE49-F238E27FC236}">
                <a16:creationId xmlns:a16="http://schemas.microsoft.com/office/drawing/2014/main" id="{7FAFD2AF-B37D-46D8-BAED-8684A6573E64}"/>
              </a:ext>
            </a:extLst>
          </p:cNvPr>
          <p:cNvSpPr>
            <a:spLocks noGrp="1"/>
          </p:cNvSpPr>
          <p:nvPr>
            <p:ph type="ftr" sz="quarter" idx="3"/>
          </p:nvPr>
        </p:nvSpPr>
        <p:spPr>
          <a:xfrm>
            <a:off x="4165600" y="6356351"/>
            <a:ext cx="3860800" cy="365125"/>
          </a:xfrm>
          <a:prstGeom prst="rect">
            <a:avLst/>
          </a:prstGeom>
        </p:spPr>
        <p:txBody>
          <a:bodyPr vert="horz" lIns="91440" tIns="45720" rIns="91440" bIns="45720" rtlCol="0" anchor="ctr"/>
          <a:lstStyle>
            <a:lvl1pPr algn="ctr" fontAlgn="auto">
              <a:spcBef>
                <a:spcPts val="0"/>
              </a:spcBef>
              <a:spcAft>
                <a:spcPts val="0"/>
              </a:spcAft>
              <a:defRPr sz="1200" dirty="0">
                <a:solidFill>
                  <a:schemeClr val="tx1">
                    <a:tint val="75000"/>
                  </a:schemeClr>
                </a:solidFill>
                <a:latin typeface="+mn-lt"/>
                <a:cs typeface="+mn-cs"/>
              </a:defRPr>
            </a:lvl1pPr>
          </a:lstStyle>
          <a:p>
            <a:pPr>
              <a:defRPr/>
            </a:pPr>
            <a:endParaRPr lang="en-US"/>
          </a:p>
        </p:txBody>
      </p:sp>
      <p:sp>
        <p:nvSpPr>
          <p:cNvPr id="6" name="Slide Number Placeholder 5">
            <a:extLst>
              <a:ext uri="{FF2B5EF4-FFF2-40B4-BE49-F238E27FC236}">
                <a16:creationId xmlns:a16="http://schemas.microsoft.com/office/drawing/2014/main" id="{A7D5B7D8-112C-42F5-B1B0-42043F4BB411}"/>
              </a:ext>
            </a:extLst>
          </p:cNvPr>
          <p:cNvSpPr>
            <a:spLocks noGrp="1"/>
          </p:cNvSpPr>
          <p:nvPr>
            <p:ph type="sldNum" sz="quarter" idx="4"/>
          </p:nvPr>
        </p:nvSpPr>
        <p:spPr>
          <a:xfrm>
            <a:off x="8737600" y="6356351"/>
            <a:ext cx="28448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defRPr>
            </a:lvl1pPr>
          </a:lstStyle>
          <a:p>
            <a:fld id="{FD4EB6D5-068D-4B61-8DD2-D7B9B06D3E3E}" type="slidenum">
              <a:rPr lang="en-US" altLang="en-US"/>
              <a:pPr/>
              <a:t>‹#›</a:t>
            </a:fld>
            <a:endParaRPr lang="en-US" altLang="en-US"/>
          </a:p>
        </p:txBody>
      </p:sp>
    </p:spTree>
    <p:extLst>
      <p:ext uri="{BB962C8B-B14F-4D97-AF65-F5344CB8AC3E}">
        <p14:creationId xmlns:p14="http://schemas.microsoft.com/office/powerpoint/2010/main" val="3176975730"/>
      </p:ext>
    </p:extLst>
  </p:cSld>
  <p:clrMap bg1="dk1" tx1="lt1" bg2="dk2" tx2="lt2" accent1="accent1" accent2="accent2" accent3="accent3" accent4="accent4" accent5="accent5" accent6="accent6" hlink="hlink" folHlink="folHlink"/>
  <p:sldLayoutIdLst>
    <p:sldLayoutId id="2147483676" r:id="rId1"/>
    <p:sldLayoutId id="2147483677" r:id="rId2"/>
    <p:sldLayoutId id="2147483678" r:id="rId3"/>
    <p:sldLayoutId id="2147483679" r:id="rId4"/>
    <p:sldLayoutId id="2147483680" r:id="rId5"/>
    <p:sldLayoutId id="2147483681" r:id="rId6"/>
    <p:sldLayoutId id="2147483682" r:id="rId7"/>
    <p:sldLayoutId id="2147483683" r:id="rId8"/>
    <p:sldLayoutId id="2147483684" r:id="rId9"/>
    <p:sldLayoutId id="2147483685" r:id="rId10"/>
    <p:sldLayoutId id="2147483686" r:id="rId11"/>
    <p:sldLayoutId id="2147483687" r:id="rId12"/>
  </p:sldLayoutIdLst>
  <p:hf sldNum="0" hdr="0" dt="0"/>
  <p:txStyles>
    <p:titleStyle>
      <a:lvl1pPr algn="ctr" rtl="0" fontAlgn="base">
        <a:spcBef>
          <a:spcPct val="0"/>
        </a:spcBef>
        <a:spcAft>
          <a:spcPct val="0"/>
        </a:spcAft>
        <a:defRPr sz="4400" kern="1200">
          <a:solidFill>
            <a:schemeClr val="tx1"/>
          </a:solidFill>
          <a:latin typeface="+mj-lt"/>
          <a:ea typeface="+mj-ea"/>
          <a:cs typeface="+mj-cs"/>
        </a:defRPr>
      </a:lvl1pPr>
      <a:lvl2pPr algn="ctr" rtl="0" fontAlgn="base">
        <a:spcBef>
          <a:spcPct val="0"/>
        </a:spcBef>
        <a:spcAft>
          <a:spcPct val="0"/>
        </a:spcAft>
        <a:defRPr sz="4400">
          <a:solidFill>
            <a:schemeClr val="tx1"/>
          </a:solidFill>
          <a:latin typeface="Calibri" panose="020F0502020204030204" pitchFamily="34" charset="0"/>
        </a:defRPr>
      </a:lvl2pPr>
      <a:lvl3pPr algn="ctr" rtl="0" fontAlgn="base">
        <a:spcBef>
          <a:spcPct val="0"/>
        </a:spcBef>
        <a:spcAft>
          <a:spcPct val="0"/>
        </a:spcAft>
        <a:defRPr sz="4400">
          <a:solidFill>
            <a:schemeClr val="tx1"/>
          </a:solidFill>
          <a:latin typeface="Calibri" panose="020F0502020204030204" pitchFamily="34" charset="0"/>
        </a:defRPr>
      </a:lvl3pPr>
      <a:lvl4pPr algn="ctr" rtl="0" fontAlgn="base">
        <a:spcBef>
          <a:spcPct val="0"/>
        </a:spcBef>
        <a:spcAft>
          <a:spcPct val="0"/>
        </a:spcAft>
        <a:defRPr sz="4400">
          <a:solidFill>
            <a:schemeClr val="tx1"/>
          </a:solidFill>
          <a:latin typeface="Calibri" panose="020F0502020204030204" pitchFamily="34" charset="0"/>
        </a:defRPr>
      </a:lvl4pPr>
      <a:lvl5pPr algn="ctr" rtl="0" fontAlgn="base">
        <a:spcBef>
          <a:spcPct val="0"/>
        </a:spcBef>
        <a:spcAft>
          <a:spcPct val="0"/>
        </a:spcAft>
        <a:defRPr sz="4400">
          <a:solidFill>
            <a:schemeClr val="tx1"/>
          </a:solidFill>
          <a:latin typeface="Calibri" panose="020F0502020204030204" pitchFamily="34" charset="0"/>
        </a:defRPr>
      </a:lvl5pPr>
      <a:lvl6pPr marL="457200" algn="ctr" rtl="0" fontAlgn="base">
        <a:spcBef>
          <a:spcPct val="0"/>
        </a:spcBef>
        <a:spcAft>
          <a:spcPct val="0"/>
        </a:spcAft>
        <a:defRPr sz="4400">
          <a:solidFill>
            <a:schemeClr val="tx1"/>
          </a:solidFill>
          <a:latin typeface="Calibri" panose="020F0502020204030204" pitchFamily="34" charset="0"/>
        </a:defRPr>
      </a:lvl6pPr>
      <a:lvl7pPr marL="914400" algn="ctr" rtl="0" fontAlgn="base">
        <a:spcBef>
          <a:spcPct val="0"/>
        </a:spcBef>
        <a:spcAft>
          <a:spcPct val="0"/>
        </a:spcAft>
        <a:defRPr sz="4400">
          <a:solidFill>
            <a:schemeClr val="tx1"/>
          </a:solidFill>
          <a:latin typeface="Calibri" panose="020F0502020204030204" pitchFamily="34" charset="0"/>
        </a:defRPr>
      </a:lvl7pPr>
      <a:lvl8pPr marL="1371600" algn="ctr" rtl="0" fontAlgn="base">
        <a:spcBef>
          <a:spcPct val="0"/>
        </a:spcBef>
        <a:spcAft>
          <a:spcPct val="0"/>
        </a:spcAft>
        <a:defRPr sz="4400">
          <a:solidFill>
            <a:schemeClr val="tx1"/>
          </a:solidFill>
          <a:latin typeface="Calibri" panose="020F0502020204030204" pitchFamily="34" charset="0"/>
        </a:defRPr>
      </a:lvl8pPr>
      <a:lvl9pPr marL="1828800" algn="ctr" rtl="0" fontAlgn="base">
        <a:spcBef>
          <a:spcPct val="0"/>
        </a:spcBef>
        <a:spcAft>
          <a:spcPct val="0"/>
        </a:spcAft>
        <a:defRPr sz="4400">
          <a:solidFill>
            <a:schemeClr val="tx1"/>
          </a:solidFill>
          <a:latin typeface="Calibri" panose="020F0502020204030204" pitchFamily="34" charset="0"/>
        </a:defRPr>
      </a:lvl9pPr>
    </p:titleStyle>
    <p:bodyStyle>
      <a:lvl1pPr marL="342900" indent="-342900" algn="l" rtl="0" fontAlgn="base">
        <a:spcBef>
          <a:spcPct val="20000"/>
        </a:spcBef>
        <a:spcAft>
          <a:spcPct val="0"/>
        </a:spcAft>
        <a:buFont typeface="Arial" panose="020B0604020202020204" pitchFamily="34" charset="0"/>
        <a:buChar char="•"/>
        <a:defRPr sz="3200" kern="1200">
          <a:solidFill>
            <a:schemeClr val="tx1"/>
          </a:solidFill>
          <a:latin typeface="+mn-lt"/>
          <a:ea typeface="+mn-ea"/>
          <a:cs typeface="+mn-cs"/>
        </a:defRPr>
      </a:lvl1pPr>
      <a:lvl2pPr marL="742950" indent="-285750" algn="l" rtl="0" fontAlgn="base">
        <a:spcBef>
          <a:spcPct val="20000"/>
        </a:spcBef>
        <a:spcAft>
          <a:spcPct val="0"/>
        </a:spcAft>
        <a:buFont typeface="Arial" panose="020B0604020202020204" pitchFamily="34" charset="0"/>
        <a:buChar char="–"/>
        <a:defRPr sz="2800" kern="1200">
          <a:solidFill>
            <a:schemeClr val="tx1"/>
          </a:solidFill>
          <a:latin typeface="+mn-lt"/>
          <a:ea typeface="+mn-ea"/>
          <a:cs typeface="+mn-cs"/>
        </a:defRPr>
      </a:lvl2pPr>
      <a:lvl3pPr marL="1143000" indent="-228600" algn="l" rtl="0" fontAlgn="base">
        <a:spcBef>
          <a:spcPct val="20000"/>
        </a:spcBef>
        <a:spcAft>
          <a:spcPct val="0"/>
        </a:spcAft>
        <a:buFont typeface="Arial" panose="020B0604020202020204" pitchFamily="34" charset="0"/>
        <a:buChar char="•"/>
        <a:defRPr sz="2400" kern="1200">
          <a:solidFill>
            <a:schemeClr val="tx1"/>
          </a:solidFill>
          <a:latin typeface="+mn-lt"/>
          <a:ea typeface="+mn-ea"/>
          <a:cs typeface="+mn-cs"/>
        </a:defRPr>
      </a:lvl3pPr>
      <a:lvl4pPr marL="1600200" indent="-228600" algn="l" rtl="0" fontAlgn="base">
        <a:spcBef>
          <a:spcPct val="20000"/>
        </a:spcBef>
        <a:spcAft>
          <a:spcPct val="0"/>
        </a:spcAft>
        <a:buFont typeface="Arial" panose="020B0604020202020204" pitchFamily="34" charset="0"/>
        <a:buChar char="–"/>
        <a:defRPr sz="2000" kern="1200">
          <a:solidFill>
            <a:schemeClr val="tx1"/>
          </a:solidFill>
          <a:latin typeface="+mn-lt"/>
          <a:ea typeface="+mn-ea"/>
          <a:cs typeface="+mn-cs"/>
        </a:defRPr>
      </a:lvl4pPr>
      <a:lvl5pPr marL="2057400" indent="-228600" algn="l" rtl="0" fontAlgn="base">
        <a:spcBef>
          <a:spcPct val="20000"/>
        </a:spcBef>
        <a:spcAft>
          <a:spcPct val="0"/>
        </a:spcAft>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6850" name="Rectangle 2">
            <a:extLst>
              <a:ext uri="{FF2B5EF4-FFF2-40B4-BE49-F238E27FC236}">
                <a16:creationId xmlns:a16="http://schemas.microsoft.com/office/drawing/2014/main" id="{AFE30932-A8AD-4FFF-82DF-E1B78F0928B9}"/>
              </a:ext>
            </a:extLst>
          </p:cNvPr>
          <p:cNvSpPr>
            <a:spLocks noGrp="1" noChangeArrowheads="1"/>
          </p:cNvSpPr>
          <p:nvPr>
            <p:ph type="dt" sz="half" idx="2"/>
          </p:nvPr>
        </p:nvSpPr>
        <p:spPr bwMode="auto">
          <a:xfrm>
            <a:off x="609600" y="6251575"/>
            <a:ext cx="2844800" cy="47625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eaLnBrk="1" hangingPunct="1">
              <a:defRPr sz="1200">
                <a:solidFill>
                  <a:srgbClr val="FFFFFF"/>
                </a:solidFill>
                <a:latin typeface="Arial" charset="0"/>
                <a:cs typeface="+mn-cs"/>
              </a:defRPr>
            </a:lvl1pPr>
          </a:lstStyle>
          <a:p>
            <a:pPr>
              <a:defRPr/>
            </a:pPr>
            <a:endParaRPr lang="en-US"/>
          </a:p>
        </p:txBody>
      </p:sp>
      <p:sp>
        <p:nvSpPr>
          <p:cNvPr id="206851" name="Rectangle 3">
            <a:extLst>
              <a:ext uri="{FF2B5EF4-FFF2-40B4-BE49-F238E27FC236}">
                <a16:creationId xmlns:a16="http://schemas.microsoft.com/office/drawing/2014/main" id="{603F1AC1-79FD-4D91-A223-D7C7F1213130}"/>
              </a:ext>
            </a:extLst>
          </p:cNvPr>
          <p:cNvSpPr>
            <a:spLocks noGrp="1" noChangeArrowheads="1"/>
          </p:cNvSpPr>
          <p:nvPr>
            <p:ph type="sldNum" sz="quarter" idx="4"/>
          </p:nvPr>
        </p:nvSpPr>
        <p:spPr bwMode="auto">
          <a:xfrm>
            <a:off x="8737600" y="6248400"/>
            <a:ext cx="2844800" cy="47625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a:defRPr sz="1200">
                <a:solidFill>
                  <a:srgbClr val="FFFFFF"/>
                </a:solidFill>
                <a:latin typeface="Arial" panose="020B0604020202020204" pitchFamily="34" charset="0"/>
              </a:defRPr>
            </a:lvl1pPr>
          </a:lstStyle>
          <a:p>
            <a:fld id="{ED997E33-EB6D-4BE5-A572-284408D68F1D}" type="slidenum">
              <a:rPr lang="en-US" altLang="en-US"/>
              <a:pPr/>
              <a:t>‹#›</a:t>
            </a:fld>
            <a:endParaRPr lang="en-US" altLang="en-US"/>
          </a:p>
        </p:txBody>
      </p:sp>
      <p:grpSp>
        <p:nvGrpSpPr>
          <p:cNvPr id="1028" name="Group 4">
            <a:extLst>
              <a:ext uri="{FF2B5EF4-FFF2-40B4-BE49-F238E27FC236}">
                <a16:creationId xmlns:a16="http://schemas.microsoft.com/office/drawing/2014/main" id="{3A237AE9-A60A-4CFF-BBA2-B515BB837FEA}"/>
              </a:ext>
            </a:extLst>
          </p:cNvPr>
          <p:cNvGrpSpPr>
            <a:grpSpLocks/>
          </p:cNvGrpSpPr>
          <p:nvPr/>
        </p:nvGrpSpPr>
        <p:grpSpPr bwMode="auto">
          <a:xfrm>
            <a:off x="1" y="1"/>
            <a:ext cx="12187767" cy="6850063"/>
            <a:chOff x="0" y="0"/>
            <a:chExt cx="5758" cy="4315"/>
          </a:xfrm>
        </p:grpSpPr>
        <p:grpSp>
          <p:nvGrpSpPr>
            <p:cNvPr id="1035" name="Group 5">
              <a:extLst>
                <a:ext uri="{FF2B5EF4-FFF2-40B4-BE49-F238E27FC236}">
                  <a16:creationId xmlns:a16="http://schemas.microsoft.com/office/drawing/2014/main" id="{2BBB6799-BA21-4A6C-85A4-3449070725E7}"/>
                </a:ext>
              </a:extLst>
            </p:cNvPr>
            <p:cNvGrpSpPr>
              <a:grpSpLocks/>
            </p:cNvGrpSpPr>
            <p:nvPr userDrawn="1"/>
          </p:nvGrpSpPr>
          <p:grpSpPr bwMode="auto">
            <a:xfrm>
              <a:off x="1728" y="2230"/>
              <a:ext cx="4027" cy="2085"/>
              <a:chOff x="1728" y="2230"/>
              <a:chExt cx="4027" cy="2085"/>
            </a:xfrm>
          </p:grpSpPr>
          <p:sp>
            <p:nvSpPr>
              <p:cNvPr id="206854" name="Freeform 6">
                <a:extLst>
                  <a:ext uri="{FF2B5EF4-FFF2-40B4-BE49-F238E27FC236}">
                    <a16:creationId xmlns:a16="http://schemas.microsoft.com/office/drawing/2014/main" id="{8696B8BC-EF83-4F56-89D4-A7C4DE4151E8}"/>
                  </a:ext>
                </a:extLst>
              </p:cNvPr>
              <p:cNvSpPr>
                <a:spLocks/>
              </p:cNvSpPr>
              <p:nvPr/>
            </p:nvSpPr>
            <p:spPr bwMode="hidden">
              <a:xfrm>
                <a:off x="1728" y="2644"/>
                <a:ext cx="2882" cy="1671"/>
              </a:xfrm>
              <a:custGeom>
                <a:avLst/>
                <a:gdLst/>
                <a:ahLst/>
                <a:cxnLst>
                  <a:cxn ang="0">
                    <a:pos x="2740" y="528"/>
                  </a:cxn>
                  <a:cxn ang="0">
                    <a:pos x="2632" y="484"/>
                  </a:cxn>
                  <a:cxn ang="0">
                    <a:pos x="2480" y="424"/>
                  </a:cxn>
                  <a:cxn ang="0">
                    <a:pos x="2203" y="343"/>
                  </a:cxn>
                  <a:cxn ang="0">
                    <a:pos x="1970" y="277"/>
                  </a:cxn>
                  <a:cxn ang="0">
                    <a:pos x="1807" y="212"/>
                  </a:cxn>
                  <a:cxn ang="0">
                    <a:pos x="1693" y="152"/>
                  </a:cxn>
                  <a:cxn ang="0">
                    <a:pos x="1628" y="103"/>
                  </a:cxn>
                  <a:cxn ang="0">
                    <a:pos x="1590" y="60"/>
                  </a:cxn>
                  <a:cxn ang="0">
                    <a:pos x="1579" y="27"/>
                  </a:cxn>
                  <a:cxn ang="0">
                    <a:pos x="1585" y="0"/>
                  </a:cxn>
                  <a:cxn ang="0">
                    <a:pos x="1557" y="49"/>
                  </a:cxn>
                  <a:cxn ang="0">
                    <a:pos x="1568" y="98"/>
                  </a:cxn>
                  <a:cxn ang="0">
                    <a:pos x="1617" y="141"/>
                  </a:cxn>
                  <a:cxn ang="0">
                    <a:pos x="1688" y="185"/>
                  </a:cxn>
                  <a:cxn ang="0">
                    <a:pos x="1791" y="228"/>
                  </a:cxn>
                  <a:cxn ang="0">
                    <a:pos x="2040" y="310"/>
                  </a:cxn>
                  <a:cxn ang="0">
                    <a:pos x="2285" y="381"/>
                  </a:cxn>
                  <a:cxn ang="0">
                    <a:pos x="2464" y="435"/>
                  </a:cxn>
                  <a:cxn ang="0">
                    <a:pos x="2605" y="484"/>
                  </a:cxn>
                  <a:cxn ang="0">
                    <a:pos x="2708" y="528"/>
                  </a:cxn>
                  <a:cxn ang="0">
                    <a:pos x="2768" y="560"/>
                  </a:cxn>
                  <a:cxn ang="0">
                    <a:pos x="2795" y="593"/>
                  </a:cxn>
                  <a:cxn ang="0">
                    <a:pos x="2795" y="642"/>
                  </a:cxn>
                  <a:cxn ang="0">
                    <a:pos x="2762" y="691"/>
                  </a:cxn>
                  <a:cxn ang="0">
                    <a:pos x="2692" y="735"/>
                  </a:cxn>
                  <a:cxn ang="0">
                    <a:pos x="2589" y="778"/>
                  </a:cxn>
                  <a:cxn ang="0">
                    <a:pos x="2458" y="822"/>
                  </a:cxn>
                  <a:cxn ang="0">
                    <a:pos x="2301" y="865"/>
                  </a:cxn>
                  <a:cxn ang="0">
                    <a:pos x="2030" y="930"/>
                  </a:cxn>
                  <a:cxn ang="0">
                    <a:pos x="1606" y="1034"/>
                  </a:cxn>
                  <a:cxn ang="0">
                    <a:pos x="1145" y="1164"/>
                  </a:cxn>
                  <a:cxn ang="0">
                    <a:pos x="673" y="1328"/>
                  </a:cxn>
                  <a:cxn ang="0">
                    <a:pos x="217" y="1545"/>
                  </a:cxn>
                  <a:cxn ang="0">
                    <a:pos x="353" y="1671"/>
                  </a:cxn>
                  <a:cxn ang="0">
                    <a:pos x="754" y="1469"/>
                  </a:cxn>
                  <a:cxn ang="0">
                    <a:pos x="1145" y="1311"/>
                  </a:cxn>
                  <a:cxn ang="0">
                    <a:pos x="1519" y="1186"/>
                  </a:cxn>
                  <a:cxn ang="0">
                    <a:pos x="1861" y="1083"/>
                  </a:cxn>
                  <a:cxn ang="0">
                    <a:pos x="2165" y="1007"/>
                  </a:cxn>
                  <a:cxn ang="0">
                    <a:pos x="2426" y="947"/>
                  </a:cxn>
                  <a:cxn ang="0">
                    <a:pos x="2626" y="892"/>
                  </a:cxn>
                  <a:cxn ang="0">
                    <a:pos x="2762" y="838"/>
                  </a:cxn>
                  <a:cxn ang="0">
                    <a:pos x="2827" y="794"/>
                  </a:cxn>
                  <a:cxn ang="0">
                    <a:pos x="2865" y="745"/>
                  </a:cxn>
                  <a:cxn ang="0">
                    <a:pos x="2882" y="702"/>
                  </a:cxn>
                  <a:cxn ang="0">
                    <a:pos x="2854" y="620"/>
                  </a:cxn>
                  <a:cxn ang="0">
                    <a:pos x="2800" y="560"/>
                  </a:cxn>
                  <a:cxn ang="0">
                    <a:pos x="2773" y="544"/>
                  </a:cxn>
                </a:cxnLst>
                <a:rect l="0" t="0" r="r" b="b"/>
                <a:pathLst>
                  <a:path w="2882" h="1671">
                    <a:moveTo>
                      <a:pt x="2773" y="544"/>
                    </a:moveTo>
                    <a:lnTo>
                      <a:pt x="2740" y="528"/>
                    </a:lnTo>
                    <a:lnTo>
                      <a:pt x="2692" y="506"/>
                    </a:lnTo>
                    <a:lnTo>
                      <a:pt x="2632" y="484"/>
                    </a:lnTo>
                    <a:lnTo>
                      <a:pt x="2561" y="457"/>
                    </a:lnTo>
                    <a:lnTo>
                      <a:pt x="2480" y="424"/>
                    </a:lnTo>
                    <a:lnTo>
                      <a:pt x="2388" y="397"/>
                    </a:lnTo>
                    <a:lnTo>
                      <a:pt x="2203" y="343"/>
                    </a:lnTo>
                    <a:lnTo>
                      <a:pt x="2078" y="310"/>
                    </a:lnTo>
                    <a:lnTo>
                      <a:pt x="1970" y="277"/>
                    </a:lnTo>
                    <a:lnTo>
                      <a:pt x="1878" y="245"/>
                    </a:lnTo>
                    <a:lnTo>
                      <a:pt x="1807" y="212"/>
                    </a:lnTo>
                    <a:lnTo>
                      <a:pt x="1742" y="179"/>
                    </a:lnTo>
                    <a:lnTo>
                      <a:pt x="1693" y="152"/>
                    </a:lnTo>
                    <a:lnTo>
                      <a:pt x="1655" y="125"/>
                    </a:lnTo>
                    <a:lnTo>
                      <a:pt x="1628" y="103"/>
                    </a:lnTo>
                    <a:lnTo>
                      <a:pt x="1606" y="81"/>
                    </a:lnTo>
                    <a:lnTo>
                      <a:pt x="1590" y="60"/>
                    </a:lnTo>
                    <a:lnTo>
                      <a:pt x="1585" y="43"/>
                    </a:lnTo>
                    <a:lnTo>
                      <a:pt x="1579" y="27"/>
                    </a:lnTo>
                    <a:lnTo>
                      <a:pt x="1585" y="5"/>
                    </a:lnTo>
                    <a:lnTo>
                      <a:pt x="1585" y="0"/>
                    </a:lnTo>
                    <a:lnTo>
                      <a:pt x="1568" y="27"/>
                    </a:lnTo>
                    <a:lnTo>
                      <a:pt x="1557" y="49"/>
                    </a:lnTo>
                    <a:lnTo>
                      <a:pt x="1557" y="76"/>
                    </a:lnTo>
                    <a:lnTo>
                      <a:pt x="1568" y="98"/>
                    </a:lnTo>
                    <a:lnTo>
                      <a:pt x="1590" y="120"/>
                    </a:lnTo>
                    <a:lnTo>
                      <a:pt x="1617" y="141"/>
                    </a:lnTo>
                    <a:lnTo>
                      <a:pt x="1650" y="163"/>
                    </a:lnTo>
                    <a:lnTo>
                      <a:pt x="1688" y="185"/>
                    </a:lnTo>
                    <a:lnTo>
                      <a:pt x="1737" y="207"/>
                    </a:lnTo>
                    <a:lnTo>
                      <a:pt x="1791" y="228"/>
                    </a:lnTo>
                    <a:lnTo>
                      <a:pt x="1905" y="267"/>
                    </a:lnTo>
                    <a:lnTo>
                      <a:pt x="2040" y="310"/>
                    </a:lnTo>
                    <a:lnTo>
                      <a:pt x="2182" y="348"/>
                    </a:lnTo>
                    <a:lnTo>
                      <a:pt x="2285" y="381"/>
                    </a:lnTo>
                    <a:lnTo>
                      <a:pt x="2382" y="408"/>
                    </a:lnTo>
                    <a:lnTo>
                      <a:pt x="2464" y="435"/>
                    </a:lnTo>
                    <a:lnTo>
                      <a:pt x="2540" y="462"/>
                    </a:lnTo>
                    <a:lnTo>
                      <a:pt x="2605" y="484"/>
                    </a:lnTo>
                    <a:lnTo>
                      <a:pt x="2659" y="506"/>
                    </a:lnTo>
                    <a:lnTo>
                      <a:pt x="2708" y="528"/>
                    </a:lnTo>
                    <a:lnTo>
                      <a:pt x="2740" y="544"/>
                    </a:lnTo>
                    <a:lnTo>
                      <a:pt x="2768" y="560"/>
                    </a:lnTo>
                    <a:lnTo>
                      <a:pt x="2784" y="577"/>
                    </a:lnTo>
                    <a:lnTo>
                      <a:pt x="2795" y="593"/>
                    </a:lnTo>
                    <a:lnTo>
                      <a:pt x="2800" y="615"/>
                    </a:lnTo>
                    <a:lnTo>
                      <a:pt x="2795" y="642"/>
                    </a:lnTo>
                    <a:lnTo>
                      <a:pt x="2784" y="664"/>
                    </a:lnTo>
                    <a:lnTo>
                      <a:pt x="2762" y="691"/>
                    </a:lnTo>
                    <a:lnTo>
                      <a:pt x="2730" y="713"/>
                    </a:lnTo>
                    <a:lnTo>
                      <a:pt x="2692" y="735"/>
                    </a:lnTo>
                    <a:lnTo>
                      <a:pt x="2643" y="756"/>
                    </a:lnTo>
                    <a:lnTo>
                      <a:pt x="2589" y="778"/>
                    </a:lnTo>
                    <a:lnTo>
                      <a:pt x="2529" y="800"/>
                    </a:lnTo>
                    <a:lnTo>
                      <a:pt x="2458" y="822"/>
                    </a:lnTo>
                    <a:lnTo>
                      <a:pt x="2382" y="843"/>
                    </a:lnTo>
                    <a:lnTo>
                      <a:pt x="2301" y="865"/>
                    </a:lnTo>
                    <a:lnTo>
                      <a:pt x="2214" y="887"/>
                    </a:lnTo>
                    <a:lnTo>
                      <a:pt x="2030" y="930"/>
                    </a:lnTo>
                    <a:lnTo>
                      <a:pt x="1823" y="979"/>
                    </a:lnTo>
                    <a:lnTo>
                      <a:pt x="1606" y="1034"/>
                    </a:lnTo>
                    <a:lnTo>
                      <a:pt x="1378" y="1094"/>
                    </a:lnTo>
                    <a:lnTo>
                      <a:pt x="1145" y="1164"/>
                    </a:lnTo>
                    <a:lnTo>
                      <a:pt x="912" y="1241"/>
                    </a:lnTo>
                    <a:lnTo>
                      <a:pt x="673" y="1328"/>
                    </a:lnTo>
                    <a:lnTo>
                      <a:pt x="440" y="1431"/>
                    </a:lnTo>
                    <a:lnTo>
                      <a:pt x="217" y="1545"/>
                    </a:lnTo>
                    <a:lnTo>
                      <a:pt x="0" y="1671"/>
                    </a:lnTo>
                    <a:lnTo>
                      <a:pt x="353" y="1671"/>
                    </a:lnTo>
                    <a:lnTo>
                      <a:pt x="554" y="1567"/>
                    </a:lnTo>
                    <a:lnTo>
                      <a:pt x="754" y="1469"/>
                    </a:lnTo>
                    <a:lnTo>
                      <a:pt x="955" y="1388"/>
                    </a:lnTo>
                    <a:lnTo>
                      <a:pt x="1145" y="1311"/>
                    </a:lnTo>
                    <a:lnTo>
                      <a:pt x="1335" y="1241"/>
                    </a:lnTo>
                    <a:lnTo>
                      <a:pt x="1519" y="1186"/>
                    </a:lnTo>
                    <a:lnTo>
                      <a:pt x="1693" y="1132"/>
                    </a:lnTo>
                    <a:lnTo>
                      <a:pt x="1861" y="1083"/>
                    </a:lnTo>
                    <a:lnTo>
                      <a:pt x="2019" y="1045"/>
                    </a:lnTo>
                    <a:lnTo>
                      <a:pt x="2165" y="1007"/>
                    </a:lnTo>
                    <a:lnTo>
                      <a:pt x="2301" y="974"/>
                    </a:lnTo>
                    <a:lnTo>
                      <a:pt x="2426" y="947"/>
                    </a:lnTo>
                    <a:lnTo>
                      <a:pt x="2534" y="914"/>
                    </a:lnTo>
                    <a:lnTo>
                      <a:pt x="2626" y="892"/>
                    </a:lnTo>
                    <a:lnTo>
                      <a:pt x="2702" y="865"/>
                    </a:lnTo>
                    <a:lnTo>
                      <a:pt x="2762" y="838"/>
                    </a:lnTo>
                    <a:lnTo>
                      <a:pt x="2800" y="816"/>
                    </a:lnTo>
                    <a:lnTo>
                      <a:pt x="2827" y="794"/>
                    </a:lnTo>
                    <a:lnTo>
                      <a:pt x="2849" y="767"/>
                    </a:lnTo>
                    <a:lnTo>
                      <a:pt x="2865" y="745"/>
                    </a:lnTo>
                    <a:lnTo>
                      <a:pt x="2876" y="724"/>
                    </a:lnTo>
                    <a:lnTo>
                      <a:pt x="2882" y="702"/>
                    </a:lnTo>
                    <a:lnTo>
                      <a:pt x="2876" y="658"/>
                    </a:lnTo>
                    <a:lnTo>
                      <a:pt x="2854" y="620"/>
                    </a:lnTo>
                    <a:lnTo>
                      <a:pt x="2833" y="588"/>
                    </a:lnTo>
                    <a:lnTo>
                      <a:pt x="2800" y="560"/>
                    </a:lnTo>
                    <a:lnTo>
                      <a:pt x="2773" y="544"/>
                    </a:lnTo>
                    <a:lnTo>
                      <a:pt x="2773" y="544"/>
                    </a:lnTo>
                    <a:close/>
                  </a:path>
                </a:pathLst>
              </a:custGeom>
              <a:gradFill rotWithShape="0">
                <a:gsLst>
                  <a:gs pos="0">
                    <a:schemeClr val="bg1"/>
                  </a:gs>
                  <a:gs pos="100000">
                    <a:schemeClr val="bg1">
                      <a:gamma/>
                      <a:shade val="90980"/>
                      <a:invGamma/>
                    </a:schemeClr>
                  </a:gs>
                </a:gsLst>
                <a:lin ang="0" scaled="1"/>
              </a:gradFill>
              <a:ln w="9525">
                <a:noFill/>
                <a:round/>
                <a:headEnd/>
                <a:tailEnd/>
              </a:ln>
            </p:spPr>
            <p:txBody>
              <a:bodyPr/>
              <a:lstStyle/>
              <a:p>
                <a:pPr eaLnBrk="0" hangingPunct="0">
                  <a:defRPr/>
                </a:pPr>
                <a:endParaRPr lang="en-US" sz="1800">
                  <a:solidFill>
                    <a:srgbClr val="FFFFFF"/>
                  </a:solidFill>
                  <a:latin typeface="+mn-lt"/>
                  <a:cs typeface="Arial" charset="0"/>
                </a:endParaRPr>
              </a:p>
            </p:txBody>
          </p:sp>
          <p:sp>
            <p:nvSpPr>
              <p:cNvPr id="206855" name="Freeform 7">
                <a:extLst>
                  <a:ext uri="{FF2B5EF4-FFF2-40B4-BE49-F238E27FC236}">
                    <a16:creationId xmlns:a16="http://schemas.microsoft.com/office/drawing/2014/main" id="{E571A6EF-745F-477D-90BC-3B850C1DE77E}"/>
                  </a:ext>
                </a:extLst>
              </p:cNvPr>
              <p:cNvSpPr>
                <a:spLocks/>
              </p:cNvSpPr>
              <p:nvPr/>
            </p:nvSpPr>
            <p:spPr bwMode="hidden">
              <a:xfrm>
                <a:off x="4170" y="2671"/>
                <a:ext cx="1259" cy="811"/>
              </a:xfrm>
              <a:custGeom>
                <a:avLst/>
                <a:gdLst/>
                <a:ahLst/>
                <a:cxnLst>
                  <a:cxn ang="0">
                    <a:pos x="1259" y="615"/>
                  </a:cxn>
                  <a:cxn ang="0">
                    <a:pos x="1248" y="588"/>
                  </a:cxn>
                  <a:cxn ang="0">
                    <a:pos x="1237" y="566"/>
                  </a:cxn>
                  <a:cxn ang="0">
                    <a:pos x="1216" y="539"/>
                  </a:cxn>
                  <a:cxn ang="0">
                    <a:pos x="1188" y="517"/>
                  </a:cxn>
                  <a:cxn ang="0">
                    <a:pos x="1123" y="479"/>
                  </a:cxn>
                  <a:cxn ang="0">
                    <a:pos x="1042" y="441"/>
                  </a:cxn>
                  <a:cxn ang="0">
                    <a:pos x="944" y="408"/>
                  </a:cxn>
                  <a:cxn ang="0">
                    <a:pos x="841" y="381"/>
                  </a:cxn>
                  <a:cxn ang="0">
                    <a:pos x="727" y="348"/>
                  </a:cxn>
                  <a:cxn ang="0">
                    <a:pos x="613" y="321"/>
                  </a:cxn>
                  <a:cxn ang="0">
                    <a:pos x="499" y="294"/>
                  </a:cxn>
                  <a:cxn ang="0">
                    <a:pos x="391" y="261"/>
                  </a:cxn>
                  <a:cxn ang="0">
                    <a:pos x="288" y="229"/>
                  </a:cxn>
                  <a:cxn ang="0">
                    <a:pos x="195" y="196"/>
                  </a:cxn>
                  <a:cxn ang="0">
                    <a:pos x="119" y="152"/>
                  </a:cxn>
                  <a:cxn ang="0">
                    <a:pos x="54" y="109"/>
                  </a:cxn>
                  <a:cxn ang="0">
                    <a:pos x="33" y="87"/>
                  </a:cxn>
                  <a:cxn ang="0">
                    <a:pos x="16" y="60"/>
                  </a:cxn>
                  <a:cxn ang="0">
                    <a:pos x="5" y="33"/>
                  </a:cxn>
                  <a:cxn ang="0">
                    <a:pos x="0" y="0"/>
                  </a:cxn>
                  <a:cxn ang="0">
                    <a:pos x="0" y="6"/>
                  </a:cxn>
                  <a:cxn ang="0">
                    <a:pos x="0" y="11"/>
                  </a:cxn>
                  <a:cxn ang="0">
                    <a:pos x="0" y="38"/>
                  </a:cxn>
                  <a:cxn ang="0">
                    <a:pos x="5" y="60"/>
                  </a:cxn>
                  <a:cxn ang="0">
                    <a:pos x="16" y="87"/>
                  </a:cxn>
                  <a:cxn ang="0">
                    <a:pos x="33" y="114"/>
                  </a:cxn>
                  <a:cxn ang="0">
                    <a:pos x="54" y="142"/>
                  </a:cxn>
                  <a:cxn ang="0">
                    <a:pos x="87" y="174"/>
                  </a:cxn>
                  <a:cxn ang="0">
                    <a:pos x="125" y="207"/>
                  </a:cxn>
                  <a:cxn ang="0">
                    <a:pos x="179" y="240"/>
                  </a:cxn>
                  <a:cxn ang="0">
                    <a:pos x="244" y="278"/>
                  </a:cxn>
                  <a:cxn ang="0">
                    <a:pos x="326" y="310"/>
                  </a:cxn>
                  <a:cxn ang="0">
                    <a:pos x="418" y="348"/>
                  </a:cxn>
                  <a:cxn ang="0">
                    <a:pos x="526" y="381"/>
                  </a:cxn>
                  <a:cxn ang="0">
                    <a:pos x="657" y="414"/>
                  </a:cxn>
                  <a:cxn ang="0">
                    <a:pos x="749" y="435"/>
                  </a:cxn>
                  <a:cxn ang="0">
                    <a:pos x="830" y="463"/>
                  </a:cxn>
                  <a:cxn ang="0">
                    <a:pos x="901" y="490"/>
                  </a:cxn>
                  <a:cxn ang="0">
                    <a:pos x="966" y="512"/>
                  </a:cxn>
                  <a:cxn ang="0">
                    <a:pos x="1015" y="539"/>
                  </a:cxn>
                  <a:cxn ang="0">
                    <a:pos x="1053" y="566"/>
                  </a:cxn>
                  <a:cxn ang="0">
                    <a:pos x="1080" y="593"/>
                  </a:cxn>
                  <a:cxn ang="0">
                    <a:pos x="1102" y="620"/>
                  </a:cxn>
                  <a:cxn ang="0">
                    <a:pos x="1112" y="648"/>
                  </a:cxn>
                  <a:cxn ang="0">
                    <a:pos x="1118" y="675"/>
                  </a:cxn>
                  <a:cxn ang="0">
                    <a:pos x="1112" y="697"/>
                  </a:cxn>
                  <a:cxn ang="0">
                    <a:pos x="1096" y="724"/>
                  </a:cxn>
                  <a:cxn ang="0">
                    <a:pos x="1080" y="746"/>
                  </a:cxn>
                  <a:cxn ang="0">
                    <a:pos x="1053" y="767"/>
                  </a:cxn>
                  <a:cxn ang="0">
                    <a:pos x="1015" y="789"/>
                  </a:cxn>
                  <a:cxn ang="0">
                    <a:pos x="977" y="811"/>
                  </a:cxn>
                  <a:cxn ang="0">
                    <a:pos x="1047" y="789"/>
                  </a:cxn>
                  <a:cxn ang="0">
                    <a:pos x="1107" y="767"/>
                  </a:cxn>
                  <a:cxn ang="0">
                    <a:pos x="1156" y="746"/>
                  </a:cxn>
                  <a:cxn ang="0">
                    <a:pos x="1199" y="724"/>
                  </a:cxn>
                  <a:cxn ang="0">
                    <a:pos x="1226" y="702"/>
                  </a:cxn>
                  <a:cxn ang="0">
                    <a:pos x="1248" y="675"/>
                  </a:cxn>
                  <a:cxn ang="0">
                    <a:pos x="1259" y="648"/>
                  </a:cxn>
                  <a:cxn ang="0">
                    <a:pos x="1259" y="615"/>
                  </a:cxn>
                  <a:cxn ang="0">
                    <a:pos x="1259" y="615"/>
                  </a:cxn>
                </a:cxnLst>
                <a:rect l="0" t="0" r="r" b="b"/>
                <a:pathLst>
                  <a:path w="1259" h="811">
                    <a:moveTo>
                      <a:pt x="1259" y="615"/>
                    </a:moveTo>
                    <a:lnTo>
                      <a:pt x="1248" y="588"/>
                    </a:lnTo>
                    <a:lnTo>
                      <a:pt x="1237" y="566"/>
                    </a:lnTo>
                    <a:lnTo>
                      <a:pt x="1216" y="539"/>
                    </a:lnTo>
                    <a:lnTo>
                      <a:pt x="1188" y="517"/>
                    </a:lnTo>
                    <a:lnTo>
                      <a:pt x="1123" y="479"/>
                    </a:lnTo>
                    <a:lnTo>
                      <a:pt x="1042" y="441"/>
                    </a:lnTo>
                    <a:lnTo>
                      <a:pt x="944" y="408"/>
                    </a:lnTo>
                    <a:lnTo>
                      <a:pt x="841" y="381"/>
                    </a:lnTo>
                    <a:lnTo>
                      <a:pt x="727" y="348"/>
                    </a:lnTo>
                    <a:lnTo>
                      <a:pt x="613" y="321"/>
                    </a:lnTo>
                    <a:lnTo>
                      <a:pt x="499" y="294"/>
                    </a:lnTo>
                    <a:lnTo>
                      <a:pt x="391" y="261"/>
                    </a:lnTo>
                    <a:lnTo>
                      <a:pt x="288" y="229"/>
                    </a:lnTo>
                    <a:lnTo>
                      <a:pt x="195" y="196"/>
                    </a:lnTo>
                    <a:lnTo>
                      <a:pt x="119" y="152"/>
                    </a:lnTo>
                    <a:lnTo>
                      <a:pt x="54" y="109"/>
                    </a:lnTo>
                    <a:lnTo>
                      <a:pt x="33" y="87"/>
                    </a:lnTo>
                    <a:lnTo>
                      <a:pt x="16" y="60"/>
                    </a:lnTo>
                    <a:lnTo>
                      <a:pt x="5" y="33"/>
                    </a:lnTo>
                    <a:lnTo>
                      <a:pt x="0" y="0"/>
                    </a:lnTo>
                    <a:lnTo>
                      <a:pt x="0" y="6"/>
                    </a:lnTo>
                    <a:lnTo>
                      <a:pt x="0" y="11"/>
                    </a:lnTo>
                    <a:lnTo>
                      <a:pt x="0" y="38"/>
                    </a:lnTo>
                    <a:lnTo>
                      <a:pt x="5" y="60"/>
                    </a:lnTo>
                    <a:lnTo>
                      <a:pt x="16" y="87"/>
                    </a:lnTo>
                    <a:lnTo>
                      <a:pt x="33" y="114"/>
                    </a:lnTo>
                    <a:lnTo>
                      <a:pt x="54" y="142"/>
                    </a:lnTo>
                    <a:lnTo>
                      <a:pt x="87" y="174"/>
                    </a:lnTo>
                    <a:lnTo>
                      <a:pt x="125" y="207"/>
                    </a:lnTo>
                    <a:lnTo>
                      <a:pt x="179" y="240"/>
                    </a:lnTo>
                    <a:lnTo>
                      <a:pt x="244" y="278"/>
                    </a:lnTo>
                    <a:lnTo>
                      <a:pt x="326" y="310"/>
                    </a:lnTo>
                    <a:lnTo>
                      <a:pt x="418" y="348"/>
                    </a:lnTo>
                    <a:lnTo>
                      <a:pt x="526" y="381"/>
                    </a:lnTo>
                    <a:lnTo>
                      <a:pt x="657" y="414"/>
                    </a:lnTo>
                    <a:lnTo>
                      <a:pt x="749" y="435"/>
                    </a:lnTo>
                    <a:lnTo>
                      <a:pt x="830" y="463"/>
                    </a:lnTo>
                    <a:lnTo>
                      <a:pt x="901" y="490"/>
                    </a:lnTo>
                    <a:lnTo>
                      <a:pt x="966" y="512"/>
                    </a:lnTo>
                    <a:lnTo>
                      <a:pt x="1015" y="539"/>
                    </a:lnTo>
                    <a:lnTo>
                      <a:pt x="1053" y="566"/>
                    </a:lnTo>
                    <a:lnTo>
                      <a:pt x="1080" y="593"/>
                    </a:lnTo>
                    <a:lnTo>
                      <a:pt x="1102" y="620"/>
                    </a:lnTo>
                    <a:lnTo>
                      <a:pt x="1112" y="648"/>
                    </a:lnTo>
                    <a:lnTo>
                      <a:pt x="1118" y="675"/>
                    </a:lnTo>
                    <a:lnTo>
                      <a:pt x="1112" y="697"/>
                    </a:lnTo>
                    <a:lnTo>
                      <a:pt x="1096" y="724"/>
                    </a:lnTo>
                    <a:lnTo>
                      <a:pt x="1080" y="746"/>
                    </a:lnTo>
                    <a:lnTo>
                      <a:pt x="1053" y="767"/>
                    </a:lnTo>
                    <a:lnTo>
                      <a:pt x="1015" y="789"/>
                    </a:lnTo>
                    <a:lnTo>
                      <a:pt x="977" y="811"/>
                    </a:lnTo>
                    <a:lnTo>
                      <a:pt x="1047" y="789"/>
                    </a:lnTo>
                    <a:lnTo>
                      <a:pt x="1107" y="767"/>
                    </a:lnTo>
                    <a:lnTo>
                      <a:pt x="1156" y="746"/>
                    </a:lnTo>
                    <a:lnTo>
                      <a:pt x="1199" y="724"/>
                    </a:lnTo>
                    <a:lnTo>
                      <a:pt x="1226" y="702"/>
                    </a:lnTo>
                    <a:lnTo>
                      <a:pt x="1248" y="675"/>
                    </a:lnTo>
                    <a:lnTo>
                      <a:pt x="1259" y="648"/>
                    </a:lnTo>
                    <a:lnTo>
                      <a:pt x="1259" y="615"/>
                    </a:lnTo>
                    <a:lnTo>
                      <a:pt x="1259" y="615"/>
                    </a:lnTo>
                    <a:close/>
                  </a:path>
                </a:pathLst>
              </a:custGeom>
              <a:gradFill rotWithShape="0">
                <a:gsLst>
                  <a:gs pos="0">
                    <a:schemeClr val="bg1"/>
                  </a:gs>
                  <a:gs pos="100000">
                    <a:schemeClr val="bg1">
                      <a:gamma/>
                      <a:shade val="90980"/>
                      <a:invGamma/>
                    </a:schemeClr>
                  </a:gs>
                </a:gsLst>
                <a:lin ang="2700000" scaled="1"/>
              </a:gradFill>
              <a:ln w="9525">
                <a:noFill/>
                <a:round/>
                <a:headEnd/>
                <a:tailEnd/>
              </a:ln>
            </p:spPr>
            <p:txBody>
              <a:bodyPr/>
              <a:lstStyle/>
              <a:p>
                <a:pPr eaLnBrk="0" hangingPunct="0">
                  <a:defRPr/>
                </a:pPr>
                <a:endParaRPr lang="en-US" sz="1800">
                  <a:solidFill>
                    <a:srgbClr val="FFFFFF"/>
                  </a:solidFill>
                  <a:latin typeface="+mn-lt"/>
                  <a:cs typeface="Arial" charset="0"/>
                </a:endParaRPr>
              </a:p>
            </p:txBody>
          </p:sp>
          <p:sp>
            <p:nvSpPr>
              <p:cNvPr id="206856" name="Freeform 8">
                <a:extLst>
                  <a:ext uri="{FF2B5EF4-FFF2-40B4-BE49-F238E27FC236}">
                    <a16:creationId xmlns:a16="http://schemas.microsoft.com/office/drawing/2014/main" id="{6B39D07C-5DE1-41DA-B0BC-A70EAAA6CD44}"/>
                  </a:ext>
                </a:extLst>
              </p:cNvPr>
              <p:cNvSpPr>
                <a:spLocks/>
              </p:cNvSpPr>
              <p:nvPr/>
            </p:nvSpPr>
            <p:spPr bwMode="hidden">
              <a:xfrm>
                <a:off x="2900" y="3346"/>
                <a:ext cx="2849" cy="969"/>
              </a:xfrm>
              <a:custGeom>
                <a:avLst/>
                <a:gdLst/>
                <a:ahLst/>
                <a:cxnLst>
                  <a:cxn ang="0">
                    <a:pos x="92" y="958"/>
                  </a:cxn>
                  <a:cxn ang="0">
                    <a:pos x="0" y="969"/>
                  </a:cxn>
                  <a:cxn ang="0">
                    <a:pos x="391" y="969"/>
                  </a:cxn>
                  <a:cxn ang="0">
                    <a:pos x="434" y="947"/>
                  </a:cxn>
                  <a:cxn ang="0">
                    <a:pos x="483" y="914"/>
                  </a:cxn>
                  <a:cxn ang="0">
                    <a:pos x="554" y="876"/>
                  </a:cxn>
                  <a:cxn ang="0">
                    <a:pos x="635" y="838"/>
                  </a:cxn>
                  <a:cxn ang="0">
                    <a:pos x="727" y="794"/>
                  </a:cxn>
                  <a:cxn ang="0">
                    <a:pos x="836" y="745"/>
                  </a:cxn>
                  <a:cxn ang="0">
                    <a:pos x="961" y="696"/>
                  </a:cxn>
                  <a:cxn ang="0">
                    <a:pos x="1102" y="642"/>
                  </a:cxn>
                  <a:cxn ang="0">
                    <a:pos x="1259" y="582"/>
                  </a:cxn>
                  <a:cxn ang="0">
                    <a:pos x="1433" y="522"/>
                  </a:cxn>
                  <a:cxn ang="0">
                    <a:pos x="1623" y="462"/>
                  </a:cxn>
                  <a:cxn ang="0">
                    <a:pos x="1829" y="403"/>
                  </a:cxn>
                  <a:cxn ang="0">
                    <a:pos x="2057" y="343"/>
                  </a:cxn>
                  <a:cxn ang="0">
                    <a:pos x="2301" y="283"/>
                  </a:cxn>
                  <a:cxn ang="0">
                    <a:pos x="2567" y="223"/>
                  </a:cxn>
                  <a:cxn ang="0">
                    <a:pos x="2849" y="163"/>
                  </a:cxn>
                  <a:cxn ang="0">
                    <a:pos x="2849" y="0"/>
                  </a:cxn>
                  <a:cxn ang="0">
                    <a:pos x="2817" y="16"/>
                  </a:cxn>
                  <a:cxn ang="0">
                    <a:pos x="2773" y="33"/>
                  </a:cxn>
                  <a:cxn ang="0">
                    <a:pos x="2719" y="54"/>
                  </a:cxn>
                  <a:cxn ang="0">
                    <a:pos x="2648" y="76"/>
                  </a:cxn>
                  <a:cxn ang="0">
                    <a:pos x="2572" y="98"/>
                  </a:cxn>
                  <a:cxn ang="0">
                    <a:pos x="2491" y="120"/>
                  </a:cxn>
                  <a:cxn ang="0">
                    <a:pos x="2399" y="147"/>
                  </a:cxn>
                  <a:cxn ang="0">
                    <a:pos x="2301" y="169"/>
                  </a:cxn>
                  <a:cxn ang="0">
                    <a:pos x="2095" y="223"/>
                  </a:cxn>
                  <a:cxn ang="0">
                    <a:pos x="1889" y="277"/>
                  </a:cxn>
                  <a:cxn ang="0">
                    <a:pos x="1688" y="326"/>
                  </a:cxn>
                  <a:cxn ang="0">
                    <a:pos x="1590" y="354"/>
                  </a:cxn>
                  <a:cxn ang="0">
                    <a:pos x="1503" y="381"/>
                  </a:cxn>
                  <a:cxn ang="0">
                    <a:pos x="1107" y="506"/>
                  </a:cxn>
                  <a:cxn ang="0">
                    <a:pos x="912" y="577"/>
                  </a:cxn>
                  <a:cxn ang="0">
                    <a:pos x="727" y="647"/>
                  </a:cxn>
                  <a:cxn ang="0">
                    <a:pos x="548" y="718"/>
                  </a:cxn>
                  <a:cxn ang="0">
                    <a:pos x="380" y="794"/>
                  </a:cxn>
                  <a:cxn ang="0">
                    <a:pos x="228" y="876"/>
                  </a:cxn>
                  <a:cxn ang="0">
                    <a:pos x="92" y="958"/>
                  </a:cxn>
                  <a:cxn ang="0">
                    <a:pos x="92" y="958"/>
                  </a:cxn>
                </a:cxnLst>
                <a:rect l="0" t="0" r="r" b="b"/>
                <a:pathLst>
                  <a:path w="2849" h="969">
                    <a:moveTo>
                      <a:pt x="92" y="958"/>
                    </a:moveTo>
                    <a:lnTo>
                      <a:pt x="0" y="969"/>
                    </a:lnTo>
                    <a:lnTo>
                      <a:pt x="391" y="969"/>
                    </a:lnTo>
                    <a:lnTo>
                      <a:pt x="434" y="947"/>
                    </a:lnTo>
                    <a:lnTo>
                      <a:pt x="483" y="914"/>
                    </a:lnTo>
                    <a:lnTo>
                      <a:pt x="554" y="876"/>
                    </a:lnTo>
                    <a:lnTo>
                      <a:pt x="635" y="838"/>
                    </a:lnTo>
                    <a:lnTo>
                      <a:pt x="727" y="794"/>
                    </a:lnTo>
                    <a:lnTo>
                      <a:pt x="836" y="745"/>
                    </a:lnTo>
                    <a:lnTo>
                      <a:pt x="961" y="696"/>
                    </a:lnTo>
                    <a:lnTo>
                      <a:pt x="1102" y="642"/>
                    </a:lnTo>
                    <a:lnTo>
                      <a:pt x="1259" y="582"/>
                    </a:lnTo>
                    <a:lnTo>
                      <a:pt x="1433" y="522"/>
                    </a:lnTo>
                    <a:lnTo>
                      <a:pt x="1623" y="462"/>
                    </a:lnTo>
                    <a:lnTo>
                      <a:pt x="1829" y="403"/>
                    </a:lnTo>
                    <a:lnTo>
                      <a:pt x="2057" y="343"/>
                    </a:lnTo>
                    <a:lnTo>
                      <a:pt x="2301" y="283"/>
                    </a:lnTo>
                    <a:lnTo>
                      <a:pt x="2567" y="223"/>
                    </a:lnTo>
                    <a:lnTo>
                      <a:pt x="2849" y="163"/>
                    </a:lnTo>
                    <a:lnTo>
                      <a:pt x="2849" y="0"/>
                    </a:lnTo>
                    <a:lnTo>
                      <a:pt x="2817" y="16"/>
                    </a:lnTo>
                    <a:lnTo>
                      <a:pt x="2773" y="33"/>
                    </a:lnTo>
                    <a:lnTo>
                      <a:pt x="2719" y="54"/>
                    </a:lnTo>
                    <a:lnTo>
                      <a:pt x="2648" y="76"/>
                    </a:lnTo>
                    <a:lnTo>
                      <a:pt x="2572" y="98"/>
                    </a:lnTo>
                    <a:lnTo>
                      <a:pt x="2491" y="120"/>
                    </a:lnTo>
                    <a:lnTo>
                      <a:pt x="2399" y="147"/>
                    </a:lnTo>
                    <a:lnTo>
                      <a:pt x="2301" y="169"/>
                    </a:lnTo>
                    <a:lnTo>
                      <a:pt x="2095" y="223"/>
                    </a:lnTo>
                    <a:lnTo>
                      <a:pt x="1889" y="277"/>
                    </a:lnTo>
                    <a:lnTo>
                      <a:pt x="1688" y="326"/>
                    </a:lnTo>
                    <a:lnTo>
                      <a:pt x="1590" y="354"/>
                    </a:lnTo>
                    <a:lnTo>
                      <a:pt x="1503" y="381"/>
                    </a:lnTo>
                    <a:lnTo>
                      <a:pt x="1107" y="506"/>
                    </a:lnTo>
                    <a:lnTo>
                      <a:pt x="912" y="577"/>
                    </a:lnTo>
                    <a:lnTo>
                      <a:pt x="727" y="647"/>
                    </a:lnTo>
                    <a:lnTo>
                      <a:pt x="548" y="718"/>
                    </a:lnTo>
                    <a:lnTo>
                      <a:pt x="380" y="794"/>
                    </a:lnTo>
                    <a:lnTo>
                      <a:pt x="228" y="876"/>
                    </a:lnTo>
                    <a:lnTo>
                      <a:pt x="92" y="958"/>
                    </a:lnTo>
                    <a:lnTo>
                      <a:pt x="92" y="958"/>
                    </a:lnTo>
                    <a:close/>
                  </a:path>
                </a:pathLst>
              </a:custGeom>
              <a:gradFill rotWithShape="0">
                <a:gsLst>
                  <a:gs pos="0">
                    <a:schemeClr val="bg1">
                      <a:gamma/>
                      <a:shade val="81961"/>
                      <a:invGamma/>
                    </a:schemeClr>
                  </a:gs>
                  <a:gs pos="100000">
                    <a:schemeClr val="bg1"/>
                  </a:gs>
                </a:gsLst>
                <a:lin ang="5400000" scaled="1"/>
              </a:gradFill>
              <a:ln w="9525">
                <a:noFill/>
                <a:round/>
                <a:headEnd/>
                <a:tailEnd/>
              </a:ln>
            </p:spPr>
            <p:txBody>
              <a:bodyPr/>
              <a:lstStyle/>
              <a:p>
                <a:pPr eaLnBrk="0" hangingPunct="0">
                  <a:defRPr/>
                </a:pPr>
                <a:endParaRPr lang="en-US" sz="1800">
                  <a:solidFill>
                    <a:srgbClr val="FFFFFF"/>
                  </a:solidFill>
                  <a:latin typeface="+mn-lt"/>
                  <a:cs typeface="Arial" charset="0"/>
                </a:endParaRPr>
              </a:p>
            </p:txBody>
          </p:sp>
          <p:sp>
            <p:nvSpPr>
              <p:cNvPr id="1041" name="Freeform 9">
                <a:extLst>
                  <a:ext uri="{FF2B5EF4-FFF2-40B4-BE49-F238E27FC236}">
                    <a16:creationId xmlns:a16="http://schemas.microsoft.com/office/drawing/2014/main" id="{B6364742-DCF0-4A24-82A4-C5B49858C841}"/>
                  </a:ext>
                </a:extLst>
              </p:cNvPr>
              <p:cNvSpPr>
                <a:spLocks/>
              </p:cNvSpPr>
              <p:nvPr/>
            </p:nvSpPr>
            <p:spPr bwMode="hidden">
              <a:xfrm>
                <a:off x="2748" y="2230"/>
                <a:ext cx="3007" cy="2085"/>
              </a:xfrm>
              <a:custGeom>
                <a:avLst/>
                <a:gdLst>
                  <a:gd name="T0" fmla="*/ 1433 w 3007"/>
                  <a:gd name="T1" fmla="*/ 474 h 2085"/>
                  <a:gd name="T2" fmla="*/ 1460 w 3007"/>
                  <a:gd name="T3" fmla="*/ 528 h 2085"/>
                  <a:gd name="T4" fmla="*/ 1541 w 3007"/>
                  <a:gd name="T5" fmla="*/ 593 h 2085"/>
                  <a:gd name="T6" fmla="*/ 1715 w 3007"/>
                  <a:gd name="T7" fmla="*/ 670 h 2085"/>
                  <a:gd name="T8" fmla="*/ 1927 w 3007"/>
                  <a:gd name="T9" fmla="*/ 735 h 2085"/>
                  <a:gd name="T10" fmla="*/ 2155 w 3007"/>
                  <a:gd name="T11" fmla="*/ 789 h 2085"/>
                  <a:gd name="T12" fmla="*/ 2372 w 3007"/>
                  <a:gd name="T13" fmla="*/ 849 h 2085"/>
                  <a:gd name="T14" fmla="*/ 2551 w 3007"/>
                  <a:gd name="T15" fmla="*/ 920 h 2085"/>
                  <a:gd name="T16" fmla="*/ 2638 w 3007"/>
                  <a:gd name="T17" fmla="*/ 980 h 2085"/>
                  <a:gd name="T18" fmla="*/ 2676 w 3007"/>
                  <a:gd name="T19" fmla="*/ 1029 h 2085"/>
                  <a:gd name="T20" fmla="*/ 2681 w 3007"/>
                  <a:gd name="T21" fmla="*/ 1083 h 2085"/>
                  <a:gd name="T22" fmla="*/ 2665 w 3007"/>
                  <a:gd name="T23" fmla="*/ 1127 h 2085"/>
                  <a:gd name="T24" fmla="*/ 2616 w 3007"/>
                  <a:gd name="T25" fmla="*/ 1170 h 2085"/>
                  <a:gd name="T26" fmla="*/ 2545 w 3007"/>
                  <a:gd name="T27" fmla="*/ 1208 h 2085"/>
                  <a:gd name="T28" fmla="*/ 2448 w 3007"/>
                  <a:gd name="T29" fmla="*/ 1241 h 2085"/>
                  <a:gd name="T30" fmla="*/ 2328 w 3007"/>
                  <a:gd name="T31" fmla="*/ 1274 h 2085"/>
                  <a:gd name="T32" fmla="*/ 2106 w 3007"/>
                  <a:gd name="T33" fmla="*/ 1328 h 2085"/>
                  <a:gd name="T34" fmla="*/ 1742 w 3007"/>
                  <a:gd name="T35" fmla="*/ 1421 h 2085"/>
                  <a:gd name="T36" fmla="*/ 1308 w 3007"/>
                  <a:gd name="T37" fmla="*/ 1540 h 2085"/>
                  <a:gd name="T38" fmla="*/ 820 w 3007"/>
                  <a:gd name="T39" fmla="*/ 1709 h 2085"/>
                  <a:gd name="T40" fmla="*/ 282 w 3007"/>
                  <a:gd name="T41" fmla="*/ 1943 h 2085"/>
                  <a:gd name="T42" fmla="*/ 152 w 3007"/>
                  <a:gd name="T43" fmla="*/ 2085 h 2085"/>
                  <a:gd name="T44" fmla="*/ 386 w 3007"/>
                  <a:gd name="T45" fmla="*/ 1992 h 2085"/>
                  <a:gd name="T46" fmla="*/ 700 w 3007"/>
                  <a:gd name="T47" fmla="*/ 1834 h 2085"/>
                  <a:gd name="T48" fmla="*/ 1064 w 3007"/>
                  <a:gd name="T49" fmla="*/ 1693 h 2085"/>
                  <a:gd name="T50" fmla="*/ 1661 w 3007"/>
                  <a:gd name="T51" fmla="*/ 1497 h 2085"/>
                  <a:gd name="T52" fmla="*/ 1845 w 3007"/>
                  <a:gd name="T53" fmla="*/ 1442 h 2085"/>
                  <a:gd name="T54" fmla="*/ 2252 w 3007"/>
                  <a:gd name="T55" fmla="*/ 1339 h 2085"/>
                  <a:gd name="T56" fmla="*/ 2551 w 3007"/>
                  <a:gd name="T57" fmla="*/ 1263 h 2085"/>
                  <a:gd name="T58" fmla="*/ 2730 w 3007"/>
                  <a:gd name="T59" fmla="*/ 1214 h 2085"/>
                  <a:gd name="T60" fmla="*/ 2876 w 3007"/>
                  <a:gd name="T61" fmla="*/ 1170 h 2085"/>
                  <a:gd name="T62" fmla="*/ 2974 w 3007"/>
                  <a:gd name="T63" fmla="*/ 1132 h 2085"/>
                  <a:gd name="T64" fmla="*/ 3007 w 3007"/>
                  <a:gd name="T65" fmla="*/ 871 h 2085"/>
                  <a:gd name="T66" fmla="*/ 2860 w 3007"/>
                  <a:gd name="T67" fmla="*/ 844 h 2085"/>
                  <a:gd name="T68" fmla="*/ 2670 w 3007"/>
                  <a:gd name="T69" fmla="*/ 806 h 2085"/>
                  <a:gd name="T70" fmla="*/ 2458 w 3007"/>
                  <a:gd name="T71" fmla="*/ 757 h 2085"/>
                  <a:gd name="T72" fmla="*/ 2138 w 3007"/>
                  <a:gd name="T73" fmla="*/ 670 h 2085"/>
                  <a:gd name="T74" fmla="*/ 1959 w 3007"/>
                  <a:gd name="T75" fmla="*/ 604 h 2085"/>
                  <a:gd name="T76" fmla="*/ 1824 w 3007"/>
                  <a:gd name="T77" fmla="*/ 534 h 2085"/>
                  <a:gd name="T78" fmla="*/ 1769 w 3007"/>
                  <a:gd name="T79" fmla="*/ 474 h 2085"/>
                  <a:gd name="T80" fmla="*/ 1753 w 3007"/>
                  <a:gd name="T81" fmla="*/ 436 h 2085"/>
                  <a:gd name="T82" fmla="*/ 1780 w 3007"/>
                  <a:gd name="T83" fmla="*/ 381 h 2085"/>
                  <a:gd name="T84" fmla="*/ 1862 w 3007"/>
                  <a:gd name="T85" fmla="*/ 316 h 2085"/>
                  <a:gd name="T86" fmla="*/ 1986 w 3007"/>
                  <a:gd name="T87" fmla="*/ 267 h 2085"/>
                  <a:gd name="T88" fmla="*/ 2149 w 3007"/>
                  <a:gd name="T89" fmla="*/ 229 h 2085"/>
                  <a:gd name="T90" fmla="*/ 2431 w 3007"/>
                  <a:gd name="T91" fmla="*/ 180 h 2085"/>
                  <a:gd name="T92" fmla="*/ 2827 w 3007"/>
                  <a:gd name="T93" fmla="*/ 125 h 2085"/>
                  <a:gd name="T94" fmla="*/ 3007 w 3007"/>
                  <a:gd name="T95" fmla="*/ 87 h 2085"/>
                  <a:gd name="T96" fmla="*/ 2909 w 3007"/>
                  <a:gd name="T97" fmla="*/ 22 h 2085"/>
                  <a:gd name="T98" fmla="*/ 2676 w 3007"/>
                  <a:gd name="T99" fmla="*/ 66 h 2085"/>
                  <a:gd name="T100" fmla="*/ 2285 w 3007"/>
                  <a:gd name="T101" fmla="*/ 120 h 2085"/>
                  <a:gd name="T102" fmla="*/ 2030 w 3007"/>
                  <a:gd name="T103" fmla="*/ 158 h 2085"/>
                  <a:gd name="T104" fmla="*/ 1791 w 3007"/>
                  <a:gd name="T105" fmla="*/ 202 h 2085"/>
                  <a:gd name="T106" fmla="*/ 1601 w 3007"/>
                  <a:gd name="T107" fmla="*/ 261 h 2085"/>
                  <a:gd name="T108" fmla="*/ 1471 w 3007"/>
                  <a:gd name="T109" fmla="*/ 338 h 2085"/>
                  <a:gd name="T110" fmla="*/ 1438 w 3007"/>
                  <a:gd name="T111" fmla="*/ 387 h 2085"/>
                  <a:gd name="T112" fmla="*/ 1427 w 3007"/>
                  <a:gd name="T113" fmla="*/ 441 h 2085"/>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3007" h="2085">
                    <a:moveTo>
                      <a:pt x="1427" y="441"/>
                    </a:moveTo>
                    <a:lnTo>
                      <a:pt x="1433" y="474"/>
                    </a:lnTo>
                    <a:lnTo>
                      <a:pt x="1444" y="501"/>
                    </a:lnTo>
                    <a:lnTo>
                      <a:pt x="1460" y="528"/>
                    </a:lnTo>
                    <a:lnTo>
                      <a:pt x="1482" y="550"/>
                    </a:lnTo>
                    <a:lnTo>
                      <a:pt x="1541" y="593"/>
                    </a:lnTo>
                    <a:lnTo>
                      <a:pt x="1623" y="637"/>
                    </a:lnTo>
                    <a:lnTo>
                      <a:pt x="1715" y="670"/>
                    </a:lnTo>
                    <a:lnTo>
                      <a:pt x="1818" y="702"/>
                    </a:lnTo>
                    <a:lnTo>
                      <a:pt x="1927" y="735"/>
                    </a:lnTo>
                    <a:lnTo>
                      <a:pt x="2041" y="762"/>
                    </a:lnTo>
                    <a:lnTo>
                      <a:pt x="2155" y="789"/>
                    </a:lnTo>
                    <a:lnTo>
                      <a:pt x="2269" y="822"/>
                    </a:lnTo>
                    <a:lnTo>
                      <a:pt x="2372" y="849"/>
                    </a:lnTo>
                    <a:lnTo>
                      <a:pt x="2464" y="882"/>
                    </a:lnTo>
                    <a:lnTo>
                      <a:pt x="2551" y="920"/>
                    </a:lnTo>
                    <a:lnTo>
                      <a:pt x="2616" y="958"/>
                    </a:lnTo>
                    <a:lnTo>
                      <a:pt x="2638" y="980"/>
                    </a:lnTo>
                    <a:lnTo>
                      <a:pt x="2659" y="1007"/>
                    </a:lnTo>
                    <a:lnTo>
                      <a:pt x="2676" y="1029"/>
                    </a:lnTo>
                    <a:lnTo>
                      <a:pt x="2681" y="1056"/>
                    </a:lnTo>
                    <a:lnTo>
                      <a:pt x="2681" y="1083"/>
                    </a:lnTo>
                    <a:lnTo>
                      <a:pt x="2676" y="1105"/>
                    </a:lnTo>
                    <a:lnTo>
                      <a:pt x="2665" y="1127"/>
                    </a:lnTo>
                    <a:lnTo>
                      <a:pt x="2643" y="1149"/>
                    </a:lnTo>
                    <a:lnTo>
                      <a:pt x="2616" y="1170"/>
                    </a:lnTo>
                    <a:lnTo>
                      <a:pt x="2583" y="1187"/>
                    </a:lnTo>
                    <a:lnTo>
                      <a:pt x="2545" y="1208"/>
                    </a:lnTo>
                    <a:lnTo>
                      <a:pt x="2502" y="1225"/>
                    </a:lnTo>
                    <a:lnTo>
                      <a:pt x="2448" y="1241"/>
                    </a:lnTo>
                    <a:lnTo>
                      <a:pt x="2388" y="1257"/>
                    </a:lnTo>
                    <a:lnTo>
                      <a:pt x="2328" y="1274"/>
                    </a:lnTo>
                    <a:lnTo>
                      <a:pt x="2258" y="1290"/>
                    </a:lnTo>
                    <a:lnTo>
                      <a:pt x="2106" y="1328"/>
                    </a:lnTo>
                    <a:lnTo>
                      <a:pt x="1932" y="1372"/>
                    </a:lnTo>
                    <a:lnTo>
                      <a:pt x="1742" y="1421"/>
                    </a:lnTo>
                    <a:lnTo>
                      <a:pt x="1531" y="1475"/>
                    </a:lnTo>
                    <a:lnTo>
                      <a:pt x="1308" y="1540"/>
                    </a:lnTo>
                    <a:lnTo>
                      <a:pt x="1069" y="1617"/>
                    </a:lnTo>
                    <a:lnTo>
                      <a:pt x="820" y="1709"/>
                    </a:lnTo>
                    <a:lnTo>
                      <a:pt x="554" y="1818"/>
                    </a:lnTo>
                    <a:lnTo>
                      <a:pt x="282" y="1943"/>
                    </a:lnTo>
                    <a:lnTo>
                      <a:pt x="0" y="2085"/>
                    </a:lnTo>
                    <a:lnTo>
                      <a:pt x="152" y="2085"/>
                    </a:lnTo>
                    <a:lnTo>
                      <a:pt x="244" y="2074"/>
                    </a:lnTo>
                    <a:lnTo>
                      <a:pt x="386" y="1992"/>
                    </a:lnTo>
                    <a:lnTo>
                      <a:pt x="537" y="1910"/>
                    </a:lnTo>
                    <a:lnTo>
                      <a:pt x="700" y="1834"/>
                    </a:lnTo>
                    <a:lnTo>
                      <a:pt x="879" y="1763"/>
                    </a:lnTo>
                    <a:lnTo>
                      <a:pt x="1064" y="1693"/>
                    </a:lnTo>
                    <a:lnTo>
                      <a:pt x="1259" y="1622"/>
                    </a:lnTo>
                    <a:lnTo>
                      <a:pt x="1661" y="1497"/>
                    </a:lnTo>
                    <a:lnTo>
                      <a:pt x="1748" y="1470"/>
                    </a:lnTo>
                    <a:lnTo>
                      <a:pt x="1845" y="1442"/>
                    </a:lnTo>
                    <a:lnTo>
                      <a:pt x="2046" y="1393"/>
                    </a:lnTo>
                    <a:lnTo>
                      <a:pt x="2252" y="1339"/>
                    </a:lnTo>
                    <a:lnTo>
                      <a:pt x="2458" y="1285"/>
                    </a:lnTo>
                    <a:lnTo>
                      <a:pt x="2551" y="1263"/>
                    </a:lnTo>
                    <a:lnTo>
                      <a:pt x="2643" y="1236"/>
                    </a:lnTo>
                    <a:lnTo>
                      <a:pt x="2730" y="1214"/>
                    </a:lnTo>
                    <a:lnTo>
                      <a:pt x="2806" y="1192"/>
                    </a:lnTo>
                    <a:lnTo>
                      <a:pt x="2876" y="1170"/>
                    </a:lnTo>
                    <a:lnTo>
                      <a:pt x="2931" y="1149"/>
                    </a:lnTo>
                    <a:lnTo>
                      <a:pt x="2974" y="1132"/>
                    </a:lnTo>
                    <a:lnTo>
                      <a:pt x="3007" y="1116"/>
                    </a:lnTo>
                    <a:lnTo>
                      <a:pt x="3007" y="871"/>
                    </a:lnTo>
                    <a:lnTo>
                      <a:pt x="2941" y="860"/>
                    </a:lnTo>
                    <a:lnTo>
                      <a:pt x="2860" y="844"/>
                    </a:lnTo>
                    <a:lnTo>
                      <a:pt x="2773" y="827"/>
                    </a:lnTo>
                    <a:lnTo>
                      <a:pt x="2670" y="806"/>
                    </a:lnTo>
                    <a:lnTo>
                      <a:pt x="2567" y="784"/>
                    </a:lnTo>
                    <a:lnTo>
                      <a:pt x="2458" y="757"/>
                    </a:lnTo>
                    <a:lnTo>
                      <a:pt x="2241" y="702"/>
                    </a:lnTo>
                    <a:lnTo>
                      <a:pt x="2138" y="670"/>
                    </a:lnTo>
                    <a:lnTo>
                      <a:pt x="2046" y="637"/>
                    </a:lnTo>
                    <a:lnTo>
                      <a:pt x="1959" y="604"/>
                    </a:lnTo>
                    <a:lnTo>
                      <a:pt x="1883" y="566"/>
                    </a:lnTo>
                    <a:lnTo>
                      <a:pt x="1824" y="534"/>
                    </a:lnTo>
                    <a:lnTo>
                      <a:pt x="1780" y="495"/>
                    </a:lnTo>
                    <a:lnTo>
                      <a:pt x="1769" y="474"/>
                    </a:lnTo>
                    <a:lnTo>
                      <a:pt x="1758" y="457"/>
                    </a:lnTo>
                    <a:lnTo>
                      <a:pt x="1753" y="436"/>
                    </a:lnTo>
                    <a:lnTo>
                      <a:pt x="1758" y="419"/>
                    </a:lnTo>
                    <a:lnTo>
                      <a:pt x="1780" y="381"/>
                    </a:lnTo>
                    <a:lnTo>
                      <a:pt x="1813" y="343"/>
                    </a:lnTo>
                    <a:lnTo>
                      <a:pt x="1862" y="316"/>
                    </a:lnTo>
                    <a:lnTo>
                      <a:pt x="1921" y="289"/>
                    </a:lnTo>
                    <a:lnTo>
                      <a:pt x="1986" y="267"/>
                    </a:lnTo>
                    <a:lnTo>
                      <a:pt x="2062" y="245"/>
                    </a:lnTo>
                    <a:lnTo>
                      <a:pt x="2149" y="229"/>
                    </a:lnTo>
                    <a:lnTo>
                      <a:pt x="2236" y="213"/>
                    </a:lnTo>
                    <a:lnTo>
                      <a:pt x="2431" y="180"/>
                    </a:lnTo>
                    <a:lnTo>
                      <a:pt x="2627" y="158"/>
                    </a:lnTo>
                    <a:lnTo>
                      <a:pt x="2827" y="125"/>
                    </a:lnTo>
                    <a:lnTo>
                      <a:pt x="2920" y="109"/>
                    </a:lnTo>
                    <a:lnTo>
                      <a:pt x="3007" y="87"/>
                    </a:lnTo>
                    <a:lnTo>
                      <a:pt x="3007" y="0"/>
                    </a:lnTo>
                    <a:lnTo>
                      <a:pt x="2909" y="22"/>
                    </a:lnTo>
                    <a:lnTo>
                      <a:pt x="2795" y="44"/>
                    </a:lnTo>
                    <a:lnTo>
                      <a:pt x="2676" y="66"/>
                    </a:lnTo>
                    <a:lnTo>
                      <a:pt x="2551" y="82"/>
                    </a:lnTo>
                    <a:lnTo>
                      <a:pt x="2285" y="120"/>
                    </a:lnTo>
                    <a:lnTo>
                      <a:pt x="2155" y="136"/>
                    </a:lnTo>
                    <a:lnTo>
                      <a:pt x="2030" y="158"/>
                    </a:lnTo>
                    <a:lnTo>
                      <a:pt x="1905" y="174"/>
                    </a:lnTo>
                    <a:lnTo>
                      <a:pt x="1791" y="202"/>
                    </a:lnTo>
                    <a:lnTo>
                      <a:pt x="1688" y="229"/>
                    </a:lnTo>
                    <a:lnTo>
                      <a:pt x="1601" y="261"/>
                    </a:lnTo>
                    <a:lnTo>
                      <a:pt x="1525" y="300"/>
                    </a:lnTo>
                    <a:lnTo>
                      <a:pt x="1471" y="338"/>
                    </a:lnTo>
                    <a:lnTo>
                      <a:pt x="1455" y="359"/>
                    </a:lnTo>
                    <a:lnTo>
                      <a:pt x="1438" y="387"/>
                    </a:lnTo>
                    <a:lnTo>
                      <a:pt x="1427" y="414"/>
                    </a:lnTo>
                    <a:lnTo>
                      <a:pt x="1427" y="44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800"/>
              </a:p>
            </p:txBody>
          </p:sp>
          <p:sp>
            <p:nvSpPr>
              <p:cNvPr id="206858" name="Freeform 10">
                <a:extLst>
                  <a:ext uri="{FF2B5EF4-FFF2-40B4-BE49-F238E27FC236}">
                    <a16:creationId xmlns:a16="http://schemas.microsoft.com/office/drawing/2014/main" id="{C276B96F-9013-4A04-93D9-E530B01952AE}"/>
                  </a:ext>
                </a:extLst>
              </p:cNvPr>
              <p:cNvSpPr>
                <a:spLocks/>
              </p:cNvSpPr>
              <p:nvPr/>
            </p:nvSpPr>
            <p:spPr bwMode="hidden">
              <a:xfrm>
                <a:off x="4501" y="2317"/>
                <a:ext cx="1248" cy="539"/>
              </a:xfrm>
              <a:custGeom>
                <a:avLst/>
                <a:gdLst/>
                <a:ahLst/>
                <a:cxnLst>
                  <a:cxn ang="0">
                    <a:pos x="0" y="332"/>
                  </a:cxn>
                  <a:cxn ang="0">
                    <a:pos x="0" y="360"/>
                  </a:cxn>
                  <a:cxn ang="0">
                    <a:pos x="5" y="387"/>
                  </a:cxn>
                  <a:cxn ang="0">
                    <a:pos x="27" y="414"/>
                  </a:cxn>
                  <a:cxn ang="0">
                    <a:pos x="54" y="436"/>
                  </a:cxn>
                  <a:cxn ang="0">
                    <a:pos x="92" y="463"/>
                  </a:cxn>
                  <a:cxn ang="0">
                    <a:pos x="141" y="490"/>
                  </a:cxn>
                  <a:cxn ang="0">
                    <a:pos x="195" y="512"/>
                  </a:cxn>
                  <a:cxn ang="0">
                    <a:pos x="255" y="539"/>
                  </a:cxn>
                  <a:cxn ang="0">
                    <a:pos x="212" y="517"/>
                  </a:cxn>
                  <a:cxn ang="0">
                    <a:pos x="179" y="490"/>
                  </a:cxn>
                  <a:cxn ang="0">
                    <a:pos x="157" y="468"/>
                  </a:cxn>
                  <a:cxn ang="0">
                    <a:pos x="141" y="447"/>
                  </a:cxn>
                  <a:cxn ang="0">
                    <a:pos x="136" y="425"/>
                  </a:cxn>
                  <a:cxn ang="0">
                    <a:pos x="136" y="403"/>
                  </a:cxn>
                  <a:cxn ang="0">
                    <a:pos x="141" y="381"/>
                  </a:cxn>
                  <a:cxn ang="0">
                    <a:pos x="157" y="365"/>
                  </a:cxn>
                  <a:cxn ang="0">
                    <a:pos x="179" y="343"/>
                  </a:cxn>
                  <a:cxn ang="0">
                    <a:pos x="201" y="327"/>
                  </a:cxn>
                  <a:cxn ang="0">
                    <a:pos x="266" y="294"/>
                  </a:cxn>
                  <a:cxn ang="0">
                    <a:pos x="353" y="262"/>
                  </a:cxn>
                  <a:cxn ang="0">
                    <a:pos x="445" y="234"/>
                  </a:cxn>
                  <a:cxn ang="0">
                    <a:pos x="554" y="213"/>
                  </a:cxn>
                  <a:cxn ang="0">
                    <a:pos x="662" y="191"/>
                  </a:cxn>
                  <a:cxn ang="0">
                    <a:pos x="890" y="153"/>
                  </a:cxn>
                  <a:cxn ang="0">
                    <a:pos x="993" y="136"/>
                  </a:cxn>
                  <a:cxn ang="0">
                    <a:pos x="1091" y="120"/>
                  </a:cxn>
                  <a:cxn ang="0">
                    <a:pos x="1178" y="115"/>
                  </a:cxn>
                  <a:cxn ang="0">
                    <a:pos x="1248" y="104"/>
                  </a:cxn>
                  <a:cxn ang="0">
                    <a:pos x="1248" y="0"/>
                  </a:cxn>
                  <a:cxn ang="0">
                    <a:pos x="1161" y="22"/>
                  </a:cxn>
                  <a:cxn ang="0">
                    <a:pos x="1069" y="38"/>
                  </a:cxn>
                  <a:cxn ang="0">
                    <a:pos x="874" y="71"/>
                  </a:cxn>
                  <a:cxn ang="0">
                    <a:pos x="673" y="93"/>
                  </a:cxn>
                  <a:cxn ang="0">
                    <a:pos x="483" y="126"/>
                  </a:cxn>
                  <a:cxn ang="0">
                    <a:pos x="391" y="142"/>
                  </a:cxn>
                  <a:cxn ang="0">
                    <a:pos x="309" y="158"/>
                  </a:cxn>
                  <a:cxn ang="0">
                    <a:pos x="228" y="180"/>
                  </a:cxn>
                  <a:cxn ang="0">
                    <a:pos x="163" y="202"/>
                  </a:cxn>
                  <a:cxn ang="0">
                    <a:pos x="103" y="229"/>
                  </a:cxn>
                  <a:cxn ang="0">
                    <a:pos x="54" y="256"/>
                  </a:cxn>
                  <a:cxn ang="0">
                    <a:pos x="22" y="294"/>
                  </a:cxn>
                  <a:cxn ang="0">
                    <a:pos x="0" y="332"/>
                  </a:cxn>
                  <a:cxn ang="0">
                    <a:pos x="0" y="332"/>
                  </a:cxn>
                </a:cxnLst>
                <a:rect l="0" t="0" r="r" b="b"/>
                <a:pathLst>
                  <a:path w="1248" h="539">
                    <a:moveTo>
                      <a:pt x="0" y="332"/>
                    </a:moveTo>
                    <a:lnTo>
                      <a:pt x="0" y="360"/>
                    </a:lnTo>
                    <a:lnTo>
                      <a:pt x="5" y="387"/>
                    </a:lnTo>
                    <a:lnTo>
                      <a:pt x="27" y="414"/>
                    </a:lnTo>
                    <a:lnTo>
                      <a:pt x="54" y="436"/>
                    </a:lnTo>
                    <a:lnTo>
                      <a:pt x="92" y="463"/>
                    </a:lnTo>
                    <a:lnTo>
                      <a:pt x="141" y="490"/>
                    </a:lnTo>
                    <a:lnTo>
                      <a:pt x="195" y="512"/>
                    </a:lnTo>
                    <a:lnTo>
                      <a:pt x="255" y="539"/>
                    </a:lnTo>
                    <a:lnTo>
                      <a:pt x="212" y="517"/>
                    </a:lnTo>
                    <a:lnTo>
                      <a:pt x="179" y="490"/>
                    </a:lnTo>
                    <a:lnTo>
                      <a:pt x="157" y="468"/>
                    </a:lnTo>
                    <a:lnTo>
                      <a:pt x="141" y="447"/>
                    </a:lnTo>
                    <a:lnTo>
                      <a:pt x="136" y="425"/>
                    </a:lnTo>
                    <a:lnTo>
                      <a:pt x="136" y="403"/>
                    </a:lnTo>
                    <a:lnTo>
                      <a:pt x="141" y="381"/>
                    </a:lnTo>
                    <a:lnTo>
                      <a:pt x="157" y="365"/>
                    </a:lnTo>
                    <a:lnTo>
                      <a:pt x="179" y="343"/>
                    </a:lnTo>
                    <a:lnTo>
                      <a:pt x="201" y="327"/>
                    </a:lnTo>
                    <a:lnTo>
                      <a:pt x="266" y="294"/>
                    </a:lnTo>
                    <a:lnTo>
                      <a:pt x="353" y="262"/>
                    </a:lnTo>
                    <a:lnTo>
                      <a:pt x="445" y="234"/>
                    </a:lnTo>
                    <a:lnTo>
                      <a:pt x="554" y="213"/>
                    </a:lnTo>
                    <a:lnTo>
                      <a:pt x="662" y="191"/>
                    </a:lnTo>
                    <a:lnTo>
                      <a:pt x="890" y="153"/>
                    </a:lnTo>
                    <a:lnTo>
                      <a:pt x="993" y="136"/>
                    </a:lnTo>
                    <a:lnTo>
                      <a:pt x="1091" y="120"/>
                    </a:lnTo>
                    <a:lnTo>
                      <a:pt x="1178" y="115"/>
                    </a:lnTo>
                    <a:lnTo>
                      <a:pt x="1248" y="104"/>
                    </a:lnTo>
                    <a:lnTo>
                      <a:pt x="1248" y="0"/>
                    </a:lnTo>
                    <a:lnTo>
                      <a:pt x="1161" y="22"/>
                    </a:lnTo>
                    <a:lnTo>
                      <a:pt x="1069" y="38"/>
                    </a:lnTo>
                    <a:lnTo>
                      <a:pt x="874" y="71"/>
                    </a:lnTo>
                    <a:lnTo>
                      <a:pt x="673" y="93"/>
                    </a:lnTo>
                    <a:lnTo>
                      <a:pt x="483" y="126"/>
                    </a:lnTo>
                    <a:lnTo>
                      <a:pt x="391" y="142"/>
                    </a:lnTo>
                    <a:lnTo>
                      <a:pt x="309" y="158"/>
                    </a:lnTo>
                    <a:lnTo>
                      <a:pt x="228" y="180"/>
                    </a:lnTo>
                    <a:lnTo>
                      <a:pt x="163" y="202"/>
                    </a:lnTo>
                    <a:lnTo>
                      <a:pt x="103" y="229"/>
                    </a:lnTo>
                    <a:lnTo>
                      <a:pt x="54" y="256"/>
                    </a:lnTo>
                    <a:lnTo>
                      <a:pt x="22" y="294"/>
                    </a:lnTo>
                    <a:lnTo>
                      <a:pt x="0" y="332"/>
                    </a:lnTo>
                    <a:lnTo>
                      <a:pt x="0" y="332"/>
                    </a:lnTo>
                    <a:close/>
                  </a:path>
                </a:pathLst>
              </a:custGeom>
              <a:gradFill rotWithShape="0">
                <a:gsLst>
                  <a:gs pos="0">
                    <a:schemeClr val="bg1">
                      <a:gamma/>
                      <a:shade val="87843"/>
                      <a:invGamma/>
                    </a:schemeClr>
                  </a:gs>
                  <a:gs pos="100000">
                    <a:schemeClr val="bg1"/>
                  </a:gs>
                </a:gsLst>
                <a:lin ang="2700000" scaled="1"/>
              </a:gradFill>
              <a:ln w="9525">
                <a:noFill/>
                <a:round/>
                <a:headEnd/>
                <a:tailEnd/>
              </a:ln>
            </p:spPr>
            <p:txBody>
              <a:bodyPr/>
              <a:lstStyle/>
              <a:p>
                <a:pPr eaLnBrk="0" hangingPunct="0">
                  <a:defRPr/>
                </a:pPr>
                <a:endParaRPr lang="en-US" sz="1800">
                  <a:solidFill>
                    <a:srgbClr val="FFFFFF"/>
                  </a:solidFill>
                  <a:latin typeface="+mn-lt"/>
                  <a:cs typeface="Arial" charset="0"/>
                </a:endParaRPr>
              </a:p>
            </p:txBody>
          </p:sp>
        </p:grpSp>
        <p:sp>
          <p:nvSpPr>
            <p:cNvPr id="206859" name="Freeform 11">
              <a:extLst>
                <a:ext uri="{FF2B5EF4-FFF2-40B4-BE49-F238E27FC236}">
                  <a16:creationId xmlns:a16="http://schemas.microsoft.com/office/drawing/2014/main" id="{15F9AD6C-BF93-40E9-BA17-864A0E65A6CD}"/>
                </a:ext>
              </a:extLst>
            </p:cNvPr>
            <p:cNvSpPr>
              <a:spLocks/>
            </p:cNvSpPr>
            <p:nvPr/>
          </p:nvSpPr>
          <p:spPr bwMode="hidden">
            <a:xfrm>
              <a:off x="3322" y="1341"/>
              <a:ext cx="1825" cy="1537"/>
            </a:xfrm>
            <a:custGeom>
              <a:avLst/>
              <a:gdLst/>
              <a:ahLst/>
              <a:cxnLst>
                <a:cxn ang="0">
                  <a:pos x="982" y="1061"/>
                </a:cxn>
                <a:cxn ang="0">
                  <a:pos x="1357" y="1012"/>
                </a:cxn>
                <a:cxn ang="0">
                  <a:pos x="1666" y="957"/>
                </a:cxn>
                <a:cxn ang="0">
                  <a:pos x="1916" y="897"/>
                </a:cxn>
                <a:cxn ang="0">
                  <a:pos x="2100" y="832"/>
                </a:cxn>
                <a:cxn ang="0">
                  <a:pos x="2220" y="756"/>
                </a:cxn>
                <a:cxn ang="0">
                  <a:pos x="2285" y="669"/>
                </a:cxn>
                <a:cxn ang="0">
                  <a:pos x="2290" y="560"/>
                </a:cxn>
                <a:cxn ang="0">
                  <a:pos x="2241" y="457"/>
                </a:cxn>
                <a:cxn ang="0">
                  <a:pos x="2144" y="364"/>
                </a:cxn>
                <a:cxn ang="0">
                  <a:pos x="2008" y="277"/>
                </a:cxn>
                <a:cxn ang="0">
                  <a:pos x="1769" y="157"/>
                </a:cxn>
                <a:cxn ang="0">
                  <a:pos x="1612" y="92"/>
                </a:cxn>
                <a:cxn ang="0">
                  <a:pos x="1476" y="43"/>
                </a:cxn>
                <a:cxn ang="0">
                  <a:pos x="1384" y="10"/>
                </a:cxn>
                <a:cxn ang="0">
                  <a:pos x="1346" y="0"/>
                </a:cxn>
                <a:cxn ang="0">
                  <a:pos x="1655" y="119"/>
                </a:cxn>
                <a:cxn ang="0">
                  <a:pos x="1948" y="255"/>
                </a:cxn>
                <a:cxn ang="0">
                  <a:pos x="2068" y="326"/>
                </a:cxn>
                <a:cxn ang="0">
                  <a:pos x="2171" y="402"/>
                </a:cxn>
                <a:cxn ang="0">
                  <a:pos x="2236" y="478"/>
                </a:cxn>
                <a:cxn ang="0">
                  <a:pos x="2263" y="560"/>
                </a:cxn>
                <a:cxn ang="0">
                  <a:pos x="2241" y="636"/>
                </a:cxn>
                <a:cxn ang="0">
                  <a:pos x="2171" y="702"/>
                </a:cxn>
                <a:cxn ang="0">
                  <a:pos x="2062" y="756"/>
                </a:cxn>
                <a:cxn ang="0">
                  <a:pos x="1921" y="800"/>
                </a:cxn>
                <a:cxn ang="0">
                  <a:pos x="1748" y="843"/>
                </a:cxn>
                <a:cxn ang="0">
                  <a:pos x="1351" y="908"/>
                </a:cxn>
                <a:cxn ang="0">
                  <a:pos x="923" y="968"/>
                </a:cxn>
                <a:cxn ang="0">
                  <a:pos x="521" y="1028"/>
                </a:cxn>
                <a:cxn ang="0">
                  <a:pos x="353" y="1066"/>
                </a:cxn>
                <a:cxn ang="0">
                  <a:pos x="206" y="1104"/>
                </a:cxn>
                <a:cxn ang="0">
                  <a:pos x="92" y="1148"/>
                </a:cxn>
                <a:cxn ang="0">
                  <a:pos x="22" y="1202"/>
                </a:cxn>
                <a:cxn ang="0">
                  <a:pos x="0" y="1262"/>
                </a:cxn>
                <a:cxn ang="0">
                  <a:pos x="27" y="1327"/>
                </a:cxn>
                <a:cxn ang="0">
                  <a:pos x="98" y="1382"/>
                </a:cxn>
                <a:cxn ang="0">
                  <a:pos x="196" y="1425"/>
                </a:cxn>
                <a:cxn ang="0">
                  <a:pos x="326" y="1469"/>
                </a:cxn>
                <a:cxn ang="0">
                  <a:pos x="217" y="1414"/>
                </a:cxn>
                <a:cxn ang="0">
                  <a:pos x="147" y="1360"/>
                </a:cxn>
                <a:cxn ang="0">
                  <a:pos x="120" y="1306"/>
                </a:cxn>
                <a:cxn ang="0">
                  <a:pos x="141" y="1257"/>
                </a:cxn>
                <a:cxn ang="0">
                  <a:pos x="212" y="1208"/>
                </a:cxn>
                <a:cxn ang="0">
                  <a:pos x="342" y="1164"/>
                </a:cxn>
                <a:cxn ang="0">
                  <a:pos x="527" y="1121"/>
                </a:cxn>
                <a:cxn ang="0">
                  <a:pos x="771" y="1088"/>
                </a:cxn>
              </a:cxnLst>
              <a:rect l="0" t="0" r="r" b="b"/>
              <a:pathLst>
                <a:path w="2296" h="1469">
                  <a:moveTo>
                    <a:pt x="771" y="1088"/>
                  </a:moveTo>
                  <a:lnTo>
                    <a:pt x="982" y="1061"/>
                  </a:lnTo>
                  <a:lnTo>
                    <a:pt x="1178" y="1034"/>
                  </a:lnTo>
                  <a:lnTo>
                    <a:pt x="1357" y="1012"/>
                  </a:lnTo>
                  <a:lnTo>
                    <a:pt x="1520" y="985"/>
                  </a:lnTo>
                  <a:lnTo>
                    <a:pt x="1666" y="957"/>
                  </a:lnTo>
                  <a:lnTo>
                    <a:pt x="1796" y="930"/>
                  </a:lnTo>
                  <a:lnTo>
                    <a:pt x="1916" y="897"/>
                  </a:lnTo>
                  <a:lnTo>
                    <a:pt x="2013" y="870"/>
                  </a:lnTo>
                  <a:lnTo>
                    <a:pt x="2100" y="832"/>
                  </a:lnTo>
                  <a:lnTo>
                    <a:pt x="2171" y="800"/>
                  </a:lnTo>
                  <a:lnTo>
                    <a:pt x="2220" y="756"/>
                  </a:lnTo>
                  <a:lnTo>
                    <a:pt x="2263" y="712"/>
                  </a:lnTo>
                  <a:lnTo>
                    <a:pt x="2285" y="669"/>
                  </a:lnTo>
                  <a:lnTo>
                    <a:pt x="2296" y="614"/>
                  </a:lnTo>
                  <a:lnTo>
                    <a:pt x="2290" y="560"/>
                  </a:lnTo>
                  <a:lnTo>
                    <a:pt x="2269" y="500"/>
                  </a:lnTo>
                  <a:lnTo>
                    <a:pt x="2241" y="457"/>
                  </a:lnTo>
                  <a:lnTo>
                    <a:pt x="2198" y="408"/>
                  </a:lnTo>
                  <a:lnTo>
                    <a:pt x="2144" y="364"/>
                  </a:lnTo>
                  <a:lnTo>
                    <a:pt x="2079" y="321"/>
                  </a:lnTo>
                  <a:lnTo>
                    <a:pt x="2008" y="277"/>
                  </a:lnTo>
                  <a:lnTo>
                    <a:pt x="1927" y="234"/>
                  </a:lnTo>
                  <a:lnTo>
                    <a:pt x="1769" y="157"/>
                  </a:lnTo>
                  <a:lnTo>
                    <a:pt x="1688" y="125"/>
                  </a:lnTo>
                  <a:lnTo>
                    <a:pt x="1612" y="92"/>
                  </a:lnTo>
                  <a:lnTo>
                    <a:pt x="1536" y="65"/>
                  </a:lnTo>
                  <a:lnTo>
                    <a:pt x="1476" y="43"/>
                  </a:lnTo>
                  <a:lnTo>
                    <a:pt x="1422" y="27"/>
                  </a:lnTo>
                  <a:lnTo>
                    <a:pt x="1384" y="10"/>
                  </a:lnTo>
                  <a:lnTo>
                    <a:pt x="1357" y="5"/>
                  </a:lnTo>
                  <a:lnTo>
                    <a:pt x="1346" y="0"/>
                  </a:lnTo>
                  <a:lnTo>
                    <a:pt x="1498" y="54"/>
                  </a:lnTo>
                  <a:lnTo>
                    <a:pt x="1655" y="119"/>
                  </a:lnTo>
                  <a:lnTo>
                    <a:pt x="1807" y="185"/>
                  </a:lnTo>
                  <a:lnTo>
                    <a:pt x="1948" y="255"/>
                  </a:lnTo>
                  <a:lnTo>
                    <a:pt x="2013" y="288"/>
                  </a:lnTo>
                  <a:lnTo>
                    <a:pt x="2068" y="326"/>
                  </a:lnTo>
                  <a:lnTo>
                    <a:pt x="2122" y="364"/>
                  </a:lnTo>
                  <a:lnTo>
                    <a:pt x="2171" y="402"/>
                  </a:lnTo>
                  <a:lnTo>
                    <a:pt x="2209" y="440"/>
                  </a:lnTo>
                  <a:lnTo>
                    <a:pt x="2236" y="478"/>
                  </a:lnTo>
                  <a:lnTo>
                    <a:pt x="2252" y="522"/>
                  </a:lnTo>
                  <a:lnTo>
                    <a:pt x="2263" y="560"/>
                  </a:lnTo>
                  <a:lnTo>
                    <a:pt x="2258" y="598"/>
                  </a:lnTo>
                  <a:lnTo>
                    <a:pt x="2241" y="636"/>
                  </a:lnTo>
                  <a:lnTo>
                    <a:pt x="2214" y="669"/>
                  </a:lnTo>
                  <a:lnTo>
                    <a:pt x="2171" y="702"/>
                  </a:lnTo>
                  <a:lnTo>
                    <a:pt x="2122" y="729"/>
                  </a:lnTo>
                  <a:lnTo>
                    <a:pt x="2062" y="756"/>
                  </a:lnTo>
                  <a:lnTo>
                    <a:pt x="1997" y="778"/>
                  </a:lnTo>
                  <a:lnTo>
                    <a:pt x="1921" y="800"/>
                  </a:lnTo>
                  <a:lnTo>
                    <a:pt x="1834" y="821"/>
                  </a:lnTo>
                  <a:lnTo>
                    <a:pt x="1748" y="843"/>
                  </a:lnTo>
                  <a:lnTo>
                    <a:pt x="1552" y="876"/>
                  </a:lnTo>
                  <a:lnTo>
                    <a:pt x="1351" y="908"/>
                  </a:lnTo>
                  <a:lnTo>
                    <a:pt x="1134" y="941"/>
                  </a:lnTo>
                  <a:lnTo>
                    <a:pt x="923" y="968"/>
                  </a:lnTo>
                  <a:lnTo>
                    <a:pt x="716" y="995"/>
                  </a:lnTo>
                  <a:lnTo>
                    <a:pt x="521" y="1028"/>
                  </a:lnTo>
                  <a:lnTo>
                    <a:pt x="434" y="1044"/>
                  </a:lnTo>
                  <a:lnTo>
                    <a:pt x="353" y="1066"/>
                  </a:lnTo>
                  <a:lnTo>
                    <a:pt x="277" y="1082"/>
                  </a:lnTo>
                  <a:lnTo>
                    <a:pt x="206" y="1104"/>
                  </a:lnTo>
                  <a:lnTo>
                    <a:pt x="147" y="1126"/>
                  </a:lnTo>
                  <a:lnTo>
                    <a:pt x="92" y="1148"/>
                  </a:lnTo>
                  <a:lnTo>
                    <a:pt x="54" y="1175"/>
                  </a:lnTo>
                  <a:lnTo>
                    <a:pt x="22" y="1202"/>
                  </a:lnTo>
                  <a:lnTo>
                    <a:pt x="6" y="1229"/>
                  </a:lnTo>
                  <a:lnTo>
                    <a:pt x="0" y="1262"/>
                  </a:lnTo>
                  <a:lnTo>
                    <a:pt x="11" y="1295"/>
                  </a:lnTo>
                  <a:lnTo>
                    <a:pt x="27" y="1327"/>
                  </a:lnTo>
                  <a:lnTo>
                    <a:pt x="54" y="1355"/>
                  </a:lnTo>
                  <a:lnTo>
                    <a:pt x="98" y="1382"/>
                  </a:lnTo>
                  <a:lnTo>
                    <a:pt x="141" y="1404"/>
                  </a:lnTo>
                  <a:lnTo>
                    <a:pt x="196" y="1425"/>
                  </a:lnTo>
                  <a:lnTo>
                    <a:pt x="261" y="1447"/>
                  </a:lnTo>
                  <a:lnTo>
                    <a:pt x="326" y="1469"/>
                  </a:lnTo>
                  <a:lnTo>
                    <a:pt x="266" y="1442"/>
                  </a:lnTo>
                  <a:lnTo>
                    <a:pt x="217" y="1414"/>
                  </a:lnTo>
                  <a:lnTo>
                    <a:pt x="174" y="1387"/>
                  </a:lnTo>
                  <a:lnTo>
                    <a:pt x="147" y="1360"/>
                  </a:lnTo>
                  <a:lnTo>
                    <a:pt x="125" y="1333"/>
                  </a:lnTo>
                  <a:lnTo>
                    <a:pt x="120" y="1306"/>
                  </a:lnTo>
                  <a:lnTo>
                    <a:pt x="125" y="1278"/>
                  </a:lnTo>
                  <a:lnTo>
                    <a:pt x="141" y="1257"/>
                  </a:lnTo>
                  <a:lnTo>
                    <a:pt x="174" y="1229"/>
                  </a:lnTo>
                  <a:lnTo>
                    <a:pt x="212" y="1208"/>
                  </a:lnTo>
                  <a:lnTo>
                    <a:pt x="272" y="1186"/>
                  </a:lnTo>
                  <a:lnTo>
                    <a:pt x="342" y="1164"/>
                  </a:lnTo>
                  <a:lnTo>
                    <a:pt x="423" y="1142"/>
                  </a:lnTo>
                  <a:lnTo>
                    <a:pt x="527" y="1121"/>
                  </a:lnTo>
                  <a:lnTo>
                    <a:pt x="641" y="1104"/>
                  </a:lnTo>
                  <a:lnTo>
                    <a:pt x="771" y="1088"/>
                  </a:lnTo>
                  <a:lnTo>
                    <a:pt x="771" y="1088"/>
                  </a:lnTo>
                  <a:close/>
                </a:path>
              </a:pathLst>
            </a:custGeom>
            <a:gradFill rotWithShape="0">
              <a:gsLst>
                <a:gs pos="0">
                  <a:schemeClr val="bg1">
                    <a:gamma/>
                    <a:shade val="84706"/>
                    <a:invGamma/>
                  </a:schemeClr>
                </a:gs>
                <a:gs pos="100000">
                  <a:schemeClr val="bg1"/>
                </a:gs>
              </a:gsLst>
              <a:lin ang="2700000" scaled="1"/>
            </a:gradFill>
            <a:ln w="9525">
              <a:noFill/>
              <a:round/>
              <a:headEnd/>
              <a:tailEnd/>
            </a:ln>
          </p:spPr>
          <p:txBody>
            <a:bodyPr/>
            <a:lstStyle/>
            <a:p>
              <a:pPr eaLnBrk="0" hangingPunct="0">
                <a:defRPr/>
              </a:pPr>
              <a:endParaRPr lang="en-US" sz="1800">
                <a:solidFill>
                  <a:srgbClr val="FFFFFF"/>
                </a:solidFill>
                <a:latin typeface="+mn-lt"/>
                <a:cs typeface="Arial" charset="0"/>
              </a:endParaRPr>
            </a:p>
          </p:txBody>
        </p:sp>
        <p:sp>
          <p:nvSpPr>
            <p:cNvPr id="1037" name="Freeform 12">
              <a:extLst>
                <a:ext uri="{FF2B5EF4-FFF2-40B4-BE49-F238E27FC236}">
                  <a16:creationId xmlns:a16="http://schemas.microsoft.com/office/drawing/2014/main" id="{1027DCF1-C73A-4227-A3B0-A3BEF2381184}"/>
                </a:ext>
              </a:extLst>
            </p:cNvPr>
            <p:cNvSpPr>
              <a:spLocks/>
            </p:cNvSpPr>
            <p:nvPr/>
          </p:nvSpPr>
          <p:spPr bwMode="hidden">
            <a:xfrm>
              <a:off x="0" y="0"/>
              <a:ext cx="5758" cy="1776"/>
            </a:xfrm>
            <a:custGeom>
              <a:avLst/>
              <a:gdLst>
                <a:gd name="T0" fmla="*/ 0 w 5740"/>
                <a:gd name="T1" fmla="*/ 0 h 1906"/>
                <a:gd name="T2" fmla="*/ 0 w 5740"/>
                <a:gd name="T3" fmla="*/ 1437 h 1906"/>
                <a:gd name="T4" fmla="*/ 5812 w 5740"/>
                <a:gd name="T5" fmla="*/ 1437 h 1906"/>
                <a:gd name="T6" fmla="*/ 5812 w 5740"/>
                <a:gd name="T7" fmla="*/ 0 h 1906"/>
                <a:gd name="T8" fmla="*/ 0 w 5740"/>
                <a:gd name="T9" fmla="*/ 0 h 1906"/>
                <a:gd name="T10" fmla="*/ 0 w 5740"/>
                <a:gd name="T11" fmla="*/ 0 h 190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5740" h="1906">
                  <a:moveTo>
                    <a:pt x="0" y="0"/>
                  </a:moveTo>
                  <a:lnTo>
                    <a:pt x="0" y="1906"/>
                  </a:lnTo>
                  <a:lnTo>
                    <a:pt x="5740" y="1906"/>
                  </a:lnTo>
                  <a:lnTo>
                    <a:pt x="5740" y="0"/>
                  </a:lnTo>
                  <a:lnTo>
                    <a:pt x="0" y="0"/>
                  </a:lnTo>
                  <a:close/>
                </a:path>
              </a:pathLst>
            </a:custGeom>
            <a:gradFill rotWithShape="0">
              <a:gsLst>
                <a:gs pos="0">
                  <a:schemeClr val="bg2"/>
                </a:gs>
                <a:gs pos="100000">
                  <a:schemeClr val="bg1"/>
                </a:gs>
              </a:gsLst>
              <a:lin ang="54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800"/>
            </a:p>
          </p:txBody>
        </p:sp>
      </p:grpSp>
      <p:sp>
        <p:nvSpPr>
          <p:cNvPr id="206861" name="Rectangle 13">
            <a:extLst>
              <a:ext uri="{FF2B5EF4-FFF2-40B4-BE49-F238E27FC236}">
                <a16:creationId xmlns:a16="http://schemas.microsoft.com/office/drawing/2014/main" id="{52C25D8B-36AC-4DEE-88F2-39BC1B644D88}"/>
              </a:ext>
            </a:extLst>
          </p:cNvPr>
          <p:cNvSpPr>
            <a:spLocks noGrp="1" noRot="1" noChangeArrowheads="1"/>
          </p:cNvSpPr>
          <p:nvPr>
            <p:ph type="title"/>
          </p:nvPr>
        </p:nvSpPr>
        <p:spPr bwMode="auto">
          <a:xfrm>
            <a:off x="609600" y="274638"/>
            <a:ext cx="10972800" cy="1143000"/>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bodyPr>
          <a:lstStyle/>
          <a:p>
            <a:pPr lvl="0"/>
            <a:r>
              <a:rPr lang="en-US"/>
              <a:t>Click to edit Master title style</a:t>
            </a:r>
          </a:p>
        </p:txBody>
      </p:sp>
      <p:sp>
        <p:nvSpPr>
          <p:cNvPr id="206862" name="Rectangle 14">
            <a:extLst>
              <a:ext uri="{FF2B5EF4-FFF2-40B4-BE49-F238E27FC236}">
                <a16:creationId xmlns:a16="http://schemas.microsoft.com/office/drawing/2014/main" id="{3E6D6145-BA89-4EC1-ADAB-BCEEC708B059}"/>
              </a:ext>
            </a:extLst>
          </p:cNvPr>
          <p:cNvSpPr>
            <a:spLocks noGrp="1" noChangeArrowheads="1"/>
          </p:cNvSpPr>
          <p:nvPr>
            <p:ph type="ftr" sz="quarter" idx="3"/>
          </p:nvPr>
        </p:nvSpPr>
        <p:spPr bwMode="auto">
          <a:xfrm>
            <a:off x="4165600" y="6248400"/>
            <a:ext cx="3860800" cy="47625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ctr" eaLnBrk="1" hangingPunct="1">
              <a:defRPr sz="1200">
                <a:solidFill>
                  <a:srgbClr val="FFFFFF"/>
                </a:solidFill>
                <a:latin typeface="Arial" charset="0"/>
                <a:cs typeface="+mn-cs"/>
              </a:defRPr>
            </a:lvl1pPr>
          </a:lstStyle>
          <a:p>
            <a:pPr>
              <a:defRPr/>
            </a:pPr>
            <a:endParaRPr lang="en-US"/>
          </a:p>
        </p:txBody>
      </p:sp>
      <p:sp>
        <p:nvSpPr>
          <p:cNvPr id="206863" name="Rectangle 15">
            <a:extLst>
              <a:ext uri="{FF2B5EF4-FFF2-40B4-BE49-F238E27FC236}">
                <a16:creationId xmlns:a16="http://schemas.microsoft.com/office/drawing/2014/main" id="{01CC3336-CF40-4446-8E51-922784AFE7B1}"/>
              </a:ext>
            </a:extLst>
          </p:cNvPr>
          <p:cNvSpPr>
            <a:spLocks noGrp="1" noChangeArrowheads="1"/>
          </p:cNvSpPr>
          <p:nvPr>
            <p:ph type="body" idx="1"/>
          </p:nvPr>
        </p:nvSpPr>
        <p:spPr bwMode="auto">
          <a:xfrm>
            <a:off x="609600" y="1600201"/>
            <a:ext cx="10972800" cy="4525963"/>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aphicFrame>
        <p:nvGraphicFramePr>
          <p:cNvPr id="1032" name="Object 16">
            <a:extLst>
              <a:ext uri="{FF2B5EF4-FFF2-40B4-BE49-F238E27FC236}">
                <a16:creationId xmlns:a16="http://schemas.microsoft.com/office/drawing/2014/main" id="{0ABF228D-0757-4787-ACCF-6899A4E32ED4}"/>
              </a:ext>
            </a:extLst>
          </p:cNvPr>
          <p:cNvGraphicFramePr>
            <a:graphicFrameLocks noChangeAspect="1"/>
          </p:cNvGraphicFramePr>
          <p:nvPr/>
        </p:nvGraphicFramePr>
        <p:xfrm>
          <a:off x="9334501" y="5800726"/>
          <a:ext cx="2857500" cy="1057275"/>
        </p:xfrm>
        <a:graphic>
          <a:graphicData uri="http://schemas.openxmlformats.org/presentationml/2006/ole">
            <mc:AlternateContent xmlns:mc="http://schemas.openxmlformats.org/markup-compatibility/2006">
              <mc:Choice xmlns:v="urn:schemas-microsoft-com:vml" Requires="v">
                <p:oleObj spid="_x0000_s2051" name="Bitmap Image" r:id="rId15" imgW="2142857" imgH="1057423" progId="Paint.Picture">
                  <p:embed/>
                </p:oleObj>
              </mc:Choice>
              <mc:Fallback>
                <p:oleObj name="Bitmap Image" r:id="rId15" imgW="2142857" imgH="1057423" progId="Paint.Picture">
                  <p:embed/>
                  <p:pic>
                    <p:nvPicPr>
                      <p:cNvPr id="1032" name="Object 16">
                        <a:extLst>
                          <a:ext uri="{FF2B5EF4-FFF2-40B4-BE49-F238E27FC236}">
                            <a16:creationId xmlns:a16="http://schemas.microsoft.com/office/drawing/2014/main" id="{0ABF228D-0757-4787-ACCF-6899A4E32ED4}"/>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9334501" y="5800726"/>
                        <a:ext cx="2857500" cy="10572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1033" name="Text Box 17">
            <a:extLst>
              <a:ext uri="{FF2B5EF4-FFF2-40B4-BE49-F238E27FC236}">
                <a16:creationId xmlns:a16="http://schemas.microsoft.com/office/drawing/2014/main" id="{F3C15F8D-A899-4C7A-8742-A922176CC47C}"/>
              </a:ext>
            </a:extLst>
          </p:cNvPr>
          <p:cNvSpPr txBox="1">
            <a:spLocks noChangeArrowheads="1"/>
          </p:cNvSpPr>
          <p:nvPr/>
        </p:nvSpPr>
        <p:spPr bwMode="auto">
          <a:xfrm>
            <a:off x="11176000" y="457201"/>
            <a:ext cx="1016000"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Garamond" pitchFamily="18" charset="0"/>
              </a:defRPr>
            </a:lvl1pPr>
            <a:lvl2pPr marL="742950" indent="-285750">
              <a:defRPr>
                <a:solidFill>
                  <a:schemeClr val="tx1"/>
                </a:solidFill>
                <a:latin typeface="Garamond" pitchFamily="18" charset="0"/>
              </a:defRPr>
            </a:lvl2pPr>
            <a:lvl3pPr marL="1143000" indent="-228600">
              <a:defRPr>
                <a:solidFill>
                  <a:schemeClr val="tx1"/>
                </a:solidFill>
                <a:latin typeface="Garamond" pitchFamily="18" charset="0"/>
              </a:defRPr>
            </a:lvl3pPr>
            <a:lvl4pPr marL="1600200" indent="-228600">
              <a:defRPr>
                <a:solidFill>
                  <a:schemeClr val="tx1"/>
                </a:solidFill>
                <a:latin typeface="Garamond" pitchFamily="18" charset="0"/>
              </a:defRPr>
            </a:lvl4pPr>
            <a:lvl5pPr marL="2057400" indent="-228600">
              <a:defRPr>
                <a:solidFill>
                  <a:schemeClr val="tx1"/>
                </a:solidFill>
                <a:latin typeface="Garamond" pitchFamily="18" charset="0"/>
              </a:defRPr>
            </a:lvl5pPr>
            <a:lvl6pPr marL="2514600" indent="-228600" eaLnBrk="0" fontAlgn="base" hangingPunct="0">
              <a:spcBef>
                <a:spcPct val="0"/>
              </a:spcBef>
              <a:spcAft>
                <a:spcPct val="0"/>
              </a:spcAft>
              <a:defRPr>
                <a:solidFill>
                  <a:schemeClr val="tx1"/>
                </a:solidFill>
                <a:latin typeface="Garamond" pitchFamily="18" charset="0"/>
              </a:defRPr>
            </a:lvl6pPr>
            <a:lvl7pPr marL="2971800" indent="-228600" eaLnBrk="0" fontAlgn="base" hangingPunct="0">
              <a:spcBef>
                <a:spcPct val="0"/>
              </a:spcBef>
              <a:spcAft>
                <a:spcPct val="0"/>
              </a:spcAft>
              <a:defRPr>
                <a:solidFill>
                  <a:schemeClr val="tx1"/>
                </a:solidFill>
                <a:latin typeface="Garamond" pitchFamily="18" charset="0"/>
              </a:defRPr>
            </a:lvl7pPr>
            <a:lvl8pPr marL="3429000" indent="-228600" eaLnBrk="0" fontAlgn="base" hangingPunct="0">
              <a:spcBef>
                <a:spcPct val="0"/>
              </a:spcBef>
              <a:spcAft>
                <a:spcPct val="0"/>
              </a:spcAft>
              <a:defRPr>
                <a:solidFill>
                  <a:schemeClr val="tx1"/>
                </a:solidFill>
                <a:latin typeface="Garamond" pitchFamily="18" charset="0"/>
              </a:defRPr>
            </a:lvl8pPr>
            <a:lvl9pPr marL="3886200" indent="-228600" eaLnBrk="0" fontAlgn="base" hangingPunct="0">
              <a:spcBef>
                <a:spcPct val="0"/>
              </a:spcBef>
              <a:spcAft>
                <a:spcPct val="0"/>
              </a:spcAft>
              <a:defRPr>
                <a:solidFill>
                  <a:schemeClr val="tx1"/>
                </a:solidFill>
                <a:latin typeface="Garamond" pitchFamily="18" charset="0"/>
              </a:defRPr>
            </a:lvl9pPr>
          </a:lstStyle>
          <a:p>
            <a:pPr eaLnBrk="0" hangingPunct="0">
              <a:spcBef>
                <a:spcPct val="50000"/>
              </a:spcBef>
              <a:defRPr/>
            </a:pPr>
            <a:endParaRPr lang="en-US" altLang="en-US" sz="1800">
              <a:solidFill>
                <a:srgbClr val="FFFFFF"/>
              </a:solidFill>
              <a:cs typeface="Arial" charset="0"/>
            </a:endParaRPr>
          </a:p>
        </p:txBody>
      </p:sp>
      <p:sp>
        <p:nvSpPr>
          <p:cNvPr id="1034" name="Text Box 18">
            <a:extLst>
              <a:ext uri="{FF2B5EF4-FFF2-40B4-BE49-F238E27FC236}">
                <a16:creationId xmlns:a16="http://schemas.microsoft.com/office/drawing/2014/main" id="{BCF6176C-E610-403B-949F-CFF57B8A80AE}"/>
              </a:ext>
            </a:extLst>
          </p:cNvPr>
          <p:cNvSpPr txBox="1">
            <a:spLocks noChangeArrowheads="1"/>
          </p:cNvSpPr>
          <p:nvPr/>
        </p:nvSpPr>
        <p:spPr bwMode="auto">
          <a:xfrm>
            <a:off x="11480800" y="5257801"/>
            <a:ext cx="1422400"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Garamond" panose="02020404030301010803" pitchFamily="18" charset="0"/>
              </a:defRPr>
            </a:lvl1pPr>
            <a:lvl2pPr marL="742950" indent="-285750">
              <a:defRPr>
                <a:solidFill>
                  <a:schemeClr val="tx1"/>
                </a:solidFill>
                <a:latin typeface="Garamond" panose="02020404030301010803" pitchFamily="18" charset="0"/>
              </a:defRPr>
            </a:lvl2pPr>
            <a:lvl3pPr marL="1143000" indent="-228600">
              <a:defRPr>
                <a:solidFill>
                  <a:schemeClr val="tx1"/>
                </a:solidFill>
                <a:latin typeface="Garamond" panose="02020404030301010803" pitchFamily="18" charset="0"/>
              </a:defRPr>
            </a:lvl3pPr>
            <a:lvl4pPr marL="1600200" indent="-228600">
              <a:defRPr>
                <a:solidFill>
                  <a:schemeClr val="tx1"/>
                </a:solidFill>
                <a:latin typeface="Garamond" panose="02020404030301010803" pitchFamily="18" charset="0"/>
              </a:defRPr>
            </a:lvl4pPr>
            <a:lvl5pPr marL="2057400" indent="-228600">
              <a:defRPr>
                <a:solidFill>
                  <a:schemeClr val="tx1"/>
                </a:solidFill>
                <a:latin typeface="Garamond" panose="02020404030301010803" pitchFamily="18" charset="0"/>
              </a:defRPr>
            </a:lvl5pPr>
            <a:lvl6pPr marL="2514600" indent="-228600" fontAlgn="base">
              <a:spcBef>
                <a:spcPct val="0"/>
              </a:spcBef>
              <a:spcAft>
                <a:spcPct val="0"/>
              </a:spcAft>
              <a:defRPr>
                <a:solidFill>
                  <a:schemeClr val="tx1"/>
                </a:solidFill>
                <a:latin typeface="Garamond" panose="02020404030301010803" pitchFamily="18" charset="0"/>
              </a:defRPr>
            </a:lvl6pPr>
            <a:lvl7pPr marL="2971800" indent="-228600" fontAlgn="base">
              <a:spcBef>
                <a:spcPct val="0"/>
              </a:spcBef>
              <a:spcAft>
                <a:spcPct val="0"/>
              </a:spcAft>
              <a:defRPr>
                <a:solidFill>
                  <a:schemeClr val="tx1"/>
                </a:solidFill>
                <a:latin typeface="Garamond" panose="02020404030301010803" pitchFamily="18" charset="0"/>
              </a:defRPr>
            </a:lvl7pPr>
            <a:lvl8pPr marL="3429000" indent="-228600" fontAlgn="base">
              <a:spcBef>
                <a:spcPct val="0"/>
              </a:spcBef>
              <a:spcAft>
                <a:spcPct val="0"/>
              </a:spcAft>
              <a:defRPr>
                <a:solidFill>
                  <a:schemeClr val="tx1"/>
                </a:solidFill>
                <a:latin typeface="Garamond" panose="02020404030301010803" pitchFamily="18" charset="0"/>
              </a:defRPr>
            </a:lvl8pPr>
            <a:lvl9pPr marL="3886200" indent="-228600" fontAlgn="base">
              <a:spcBef>
                <a:spcPct val="0"/>
              </a:spcBef>
              <a:spcAft>
                <a:spcPct val="0"/>
              </a:spcAft>
              <a:defRPr>
                <a:solidFill>
                  <a:schemeClr val="tx1"/>
                </a:solidFill>
                <a:latin typeface="Garamond" panose="02020404030301010803" pitchFamily="18" charset="0"/>
              </a:defRPr>
            </a:lvl9pPr>
          </a:lstStyle>
          <a:p>
            <a:pPr eaLnBrk="0" hangingPunct="0">
              <a:spcBef>
                <a:spcPct val="50000"/>
              </a:spcBef>
            </a:pPr>
            <a:fld id="{23E2F1F7-C2C6-4C30-A0FE-ACFA7507D8D8}" type="slidenum">
              <a:rPr lang="en-US" altLang="en-US" sz="1800">
                <a:solidFill>
                  <a:srgbClr val="FFFFFF"/>
                </a:solidFill>
              </a:rPr>
              <a:pPr eaLnBrk="0" hangingPunct="0">
                <a:spcBef>
                  <a:spcPct val="50000"/>
                </a:spcBef>
              </a:pPr>
              <a:t>‹#›</a:t>
            </a:fld>
            <a:endParaRPr lang="en-US" altLang="en-US" sz="1800">
              <a:solidFill>
                <a:srgbClr val="FFFFFF"/>
              </a:solidFill>
            </a:endParaRPr>
          </a:p>
        </p:txBody>
      </p:sp>
    </p:spTree>
    <p:extLst>
      <p:ext uri="{BB962C8B-B14F-4D97-AF65-F5344CB8AC3E}">
        <p14:creationId xmlns:p14="http://schemas.microsoft.com/office/powerpoint/2010/main" val="1451265184"/>
      </p:ext>
    </p:extLst>
  </p:cSld>
  <p:clrMap bg1="dk2" tx1="lt1" bg2="dk1" tx2="lt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5" r:id="rId7"/>
    <p:sldLayoutId id="2147483696" r:id="rId8"/>
    <p:sldLayoutId id="2147483697" r:id="rId9"/>
    <p:sldLayoutId id="2147483698" r:id="rId10"/>
    <p:sldLayoutId id="2147483699" r:id="rId11"/>
    <p:sldLayoutId id="2147483700" r:id="rId12"/>
  </p:sldLayoutIdLst>
  <p:txStyles>
    <p:titleStyle>
      <a:lvl1pPr algn="ctr" rtl="0" eaLnBrk="0" fontAlgn="base" hangingPunct="0">
        <a:spcBef>
          <a:spcPct val="0"/>
        </a:spcBef>
        <a:spcAft>
          <a:spcPct val="0"/>
        </a:spcAft>
        <a:defRPr sz="4400" b="1">
          <a:solidFill>
            <a:schemeClr val="tx2"/>
          </a:solidFill>
          <a:effectLst>
            <a:outerShdw blurRad="38100" dist="38100" dir="2700000" algn="tl">
              <a:srgbClr val="000000"/>
            </a:outerShdw>
          </a:effectLst>
          <a:latin typeface="+mj-lt"/>
          <a:ea typeface="+mj-ea"/>
          <a:cs typeface="+mj-cs"/>
        </a:defRPr>
      </a:lvl1pPr>
      <a:lvl2pPr algn="ctr" rtl="0" eaLnBrk="0" fontAlgn="base" hangingPunct="0">
        <a:spcBef>
          <a:spcPct val="0"/>
        </a:spcBef>
        <a:spcAft>
          <a:spcPct val="0"/>
        </a:spcAft>
        <a:defRPr sz="4400" b="1">
          <a:solidFill>
            <a:schemeClr val="tx2"/>
          </a:solidFill>
          <a:effectLst>
            <a:outerShdw blurRad="38100" dist="38100" dir="2700000" algn="tl">
              <a:srgbClr val="000000"/>
            </a:outerShdw>
          </a:effectLst>
          <a:latin typeface="Garamond" pitchFamily="18" charset="0"/>
        </a:defRPr>
      </a:lvl2pPr>
      <a:lvl3pPr algn="ctr" rtl="0" eaLnBrk="0" fontAlgn="base" hangingPunct="0">
        <a:spcBef>
          <a:spcPct val="0"/>
        </a:spcBef>
        <a:spcAft>
          <a:spcPct val="0"/>
        </a:spcAft>
        <a:defRPr sz="4400" b="1">
          <a:solidFill>
            <a:schemeClr val="tx2"/>
          </a:solidFill>
          <a:effectLst>
            <a:outerShdw blurRad="38100" dist="38100" dir="2700000" algn="tl">
              <a:srgbClr val="000000"/>
            </a:outerShdw>
          </a:effectLst>
          <a:latin typeface="Garamond" pitchFamily="18" charset="0"/>
        </a:defRPr>
      </a:lvl3pPr>
      <a:lvl4pPr algn="ctr" rtl="0" eaLnBrk="0" fontAlgn="base" hangingPunct="0">
        <a:spcBef>
          <a:spcPct val="0"/>
        </a:spcBef>
        <a:spcAft>
          <a:spcPct val="0"/>
        </a:spcAft>
        <a:defRPr sz="4400" b="1">
          <a:solidFill>
            <a:schemeClr val="tx2"/>
          </a:solidFill>
          <a:effectLst>
            <a:outerShdw blurRad="38100" dist="38100" dir="2700000" algn="tl">
              <a:srgbClr val="000000"/>
            </a:outerShdw>
          </a:effectLst>
          <a:latin typeface="Garamond" pitchFamily="18" charset="0"/>
        </a:defRPr>
      </a:lvl4pPr>
      <a:lvl5pPr algn="ctr" rtl="0" eaLnBrk="0" fontAlgn="base" hangingPunct="0">
        <a:spcBef>
          <a:spcPct val="0"/>
        </a:spcBef>
        <a:spcAft>
          <a:spcPct val="0"/>
        </a:spcAft>
        <a:defRPr sz="4400" b="1">
          <a:solidFill>
            <a:schemeClr val="tx2"/>
          </a:solidFill>
          <a:effectLst>
            <a:outerShdw blurRad="38100" dist="38100" dir="2700000" algn="tl">
              <a:srgbClr val="000000"/>
            </a:outerShdw>
          </a:effectLst>
          <a:latin typeface="Garamond" pitchFamily="18" charset="0"/>
        </a:defRPr>
      </a:lvl5pPr>
      <a:lvl6pPr marL="457200" algn="ctr" rtl="0" fontAlgn="base">
        <a:spcBef>
          <a:spcPct val="0"/>
        </a:spcBef>
        <a:spcAft>
          <a:spcPct val="0"/>
        </a:spcAft>
        <a:defRPr sz="4400" b="1">
          <a:solidFill>
            <a:schemeClr val="tx2"/>
          </a:solidFill>
          <a:effectLst>
            <a:outerShdw blurRad="38100" dist="38100" dir="2700000" algn="tl">
              <a:srgbClr val="000000"/>
            </a:outerShdw>
          </a:effectLst>
          <a:latin typeface="Garamond" pitchFamily="18" charset="0"/>
        </a:defRPr>
      </a:lvl6pPr>
      <a:lvl7pPr marL="914400" algn="ctr" rtl="0" fontAlgn="base">
        <a:spcBef>
          <a:spcPct val="0"/>
        </a:spcBef>
        <a:spcAft>
          <a:spcPct val="0"/>
        </a:spcAft>
        <a:defRPr sz="4400" b="1">
          <a:solidFill>
            <a:schemeClr val="tx2"/>
          </a:solidFill>
          <a:effectLst>
            <a:outerShdw blurRad="38100" dist="38100" dir="2700000" algn="tl">
              <a:srgbClr val="000000"/>
            </a:outerShdw>
          </a:effectLst>
          <a:latin typeface="Garamond" pitchFamily="18" charset="0"/>
        </a:defRPr>
      </a:lvl7pPr>
      <a:lvl8pPr marL="1371600" algn="ctr" rtl="0" fontAlgn="base">
        <a:spcBef>
          <a:spcPct val="0"/>
        </a:spcBef>
        <a:spcAft>
          <a:spcPct val="0"/>
        </a:spcAft>
        <a:defRPr sz="4400" b="1">
          <a:solidFill>
            <a:schemeClr val="tx2"/>
          </a:solidFill>
          <a:effectLst>
            <a:outerShdw blurRad="38100" dist="38100" dir="2700000" algn="tl">
              <a:srgbClr val="000000"/>
            </a:outerShdw>
          </a:effectLst>
          <a:latin typeface="Garamond" pitchFamily="18" charset="0"/>
        </a:defRPr>
      </a:lvl8pPr>
      <a:lvl9pPr marL="1828800" algn="ctr" rtl="0" fontAlgn="base">
        <a:spcBef>
          <a:spcPct val="0"/>
        </a:spcBef>
        <a:spcAft>
          <a:spcPct val="0"/>
        </a:spcAft>
        <a:defRPr sz="4400" b="1">
          <a:solidFill>
            <a:schemeClr val="tx2"/>
          </a:solidFill>
          <a:effectLst>
            <a:outerShdw blurRad="38100" dist="38100" dir="2700000" algn="tl">
              <a:srgbClr val="000000"/>
            </a:outerShdw>
          </a:effectLst>
          <a:latin typeface="Garamond" pitchFamily="18" charset="0"/>
        </a:defRPr>
      </a:lvl9pPr>
    </p:titleStyle>
    <p:bodyStyle>
      <a:lvl1pPr marL="342900" indent="-342900" algn="l" rtl="0" eaLnBrk="0" fontAlgn="base" hangingPunct="0">
        <a:spcBef>
          <a:spcPct val="20000"/>
        </a:spcBef>
        <a:spcAft>
          <a:spcPct val="0"/>
        </a:spcAft>
        <a:buClr>
          <a:schemeClr val="hlink"/>
        </a:buClr>
        <a:buSzPct val="70000"/>
        <a:buFont typeface="Wingdings" panose="05000000000000000000" pitchFamily="2" charset="2"/>
        <a:buChar char="n"/>
        <a:defRPr sz="3200">
          <a:solidFill>
            <a:schemeClr val="tx1"/>
          </a:solidFill>
          <a:effectLst>
            <a:outerShdw blurRad="38100" dist="38100" dir="2700000" algn="tl">
              <a:srgbClr val="000000"/>
            </a:outerShdw>
          </a:effectLst>
          <a:latin typeface="+mn-lt"/>
          <a:ea typeface="+mn-ea"/>
          <a:cs typeface="+mn-cs"/>
        </a:defRPr>
      </a:lvl1pPr>
      <a:lvl2pPr marL="742950" indent="-285750" algn="l" rtl="0" eaLnBrk="0" fontAlgn="base" hangingPunct="0">
        <a:spcBef>
          <a:spcPct val="20000"/>
        </a:spcBef>
        <a:spcAft>
          <a:spcPct val="0"/>
        </a:spcAft>
        <a:buClr>
          <a:schemeClr val="accent2"/>
        </a:buClr>
        <a:buSzPct val="70000"/>
        <a:buFont typeface="Wingdings" panose="05000000000000000000" pitchFamily="2" charset="2"/>
        <a:buChar char="n"/>
        <a:defRPr sz="2800">
          <a:solidFill>
            <a:schemeClr val="tx1"/>
          </a:solidFill>
          <a:effectLst>
            <a:outerShdw blurRad="38100" dist="38100" dir="2700000" algn="tl">
              <a:srgbClr val="000000"/>
            </a:outerShdw>
          </a:effectLst>
          <a:latin typeface="+mn-lt"/>
        </a:defRPr>
      </a:lvl2pPr>
      <a:lvl3pPr marL="1143000" indent="-228600" algn="l" rtl="0" eaLnBrk="0" fontAlgn="base" hangingPunct="0">
        <a:spcBef>
          <a:spcPct val="20000"/>
        </a:spcBef>
        <a:spcAft>
          <a:spcPct val="0"/>
        </a:spcAft>
        <a:buClr>
          <a:schemeClr val="tx2"/>
        </a:buClr>
        <a:buSzPct val="70000"/>
        <a:buFont typeface="Wingdings" panose="05000000000000000000" pitchFamily="2" charset="2"/>
        <a:buChar char="n"/>
        <a:defRPr sz="2400">
          <a:solidFill>
            <a:schemeClr val="tx1"/>
          </a:solidFill>
          <a:effectLst>
            <a:outerShdw blurRad="38100" dist="38100" dir="2700000" algn="tl">
              <a:srgbClr val="000000"/>
            </a:outerShdw>
          </a:effectLst>
          <a:latin typeface="+mn-lt"/>
        </a:defRPr>
      </a:lvl3pPr>
      <a:lvl4pPr marL="1600200" indent="-228600" algn="l" rtl="0" eaLnBrk="0" fontAlgn="base" hangingPunct="0">
        <a:spcBef>
          <a:spcPct val="20000"/>
        </a:spcBef>
        <a:spcAft>
          <a:spcPct val="0"/>
        </a:spcAft>
        <a:buClr>
          <a:schemeClr val="accent2"/>
        </a:buClr>
        <a:buSzPct val="70000"/>
        <a:buFont typeface="Wingdings" panose="05000000000000000000" pitchFamily="2" charset="2"/>
        <a:buChar char="n"/>
        <a:defRPr sz="2000">
          <a:solidFill>
            <a:schemeClr val="tx1"/>
          </a:solidFill>
          <a:effectLst>
            <a:outerShdw blurRad="38100" dist="38100" dir="2700000" algn="tl">
              <a:srgbClr val="000000"/>
            </a:outerShdw>
          </a:effectLst>
          <a:latin typeface="+mn-lt"/>
        </a:defRPr>
      </a:lvl4pPr>
      <a:lvl5pPr marL="2057400" indent="-228600" algn="l" rtl="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effectLst>
            <a:outerShdw blurRad="38100" dist="38100" dir="2700000" algn="tl">
              <a:srgbClr val="000000"/>
            </a:outerShdw>
          </a:effectLst>
          <a:latin typeface="+mn-lt"/>
        </a:defRPr>
      </a:lvl5pPr>
      <a:lvl6pPr marL="2514600" indent="-228600" algn="l" rtl="0" fontAlgn="base">
        <a:spcBef>
          <a:spcPct val="20000"/>
        </a:spcBef>
        <a:spcAft>
          <a:spcPct val="0"/>
        </a:spcAft>
        <a:buClr>
          <a:schemeClr val="hlink"/>
        </a:buClr>
        <a:buSzPct val="70000"/>
        <a:buFont typeface="Wingdings" pitchFamily="2" charset="2"/>
        <a:buChar char="n"/>
        <a:defRPr sz="2000">
          <a:solidFill>
            <a:schemeClr val="tx1"/>
          </a:solidFill>
          <a:effectLst>
            <a:outerShdw blurRad="38100" dist="38100" dir="2700000" algn="tl">
              <a:srgbClr val="000000"/>
            </a:outerShdw>
          </a:effectLst>
          <a:latin typeface="+mn-lt"/>
        </a:defRPr>
      </a:lvl6pPr>
      <a:lvl7pPr marL="2971800" indent="-228600" algn="l" rtl="0" fontAlgn="base">
        <a:spcBef>
          <a:spcPct val="20000"/>
        </a:spcBef>
        <a:spcAft>
          <a:spcPct val="0"/>
        </a:spcAft>
        <a:buClr>
          <a:schemeClr val="hlink"/>
        </a:buClr>
        <a:buSzPct val="70000"/>
        <a:buFont typeface="Wingdings" pitchFamily="2" charset="2"/>
        <a:buChar char="n"/>
        <a:defRPr sz="2000">
          <a:solidFill>
            <a:schemeClr val="tx1"/>
          </a:solidFill>
          <a:effectLst>
            <a:outerShdw blurRad="38100" dist="38100" dir="2700000" algn="tl">
              <a:srgbClr val="000000"/>
            </a:outerShdw>
          </a:effectLst>
          <a:latin typeface="+mn-lt"/>
        </a:defRPr>
      </a:lvl7pPr>
      <a:lvl8pPr marL="3429000" indent="-228600" algn="l" rtl="0" fontAlgn="base">
        <a:spcBef>
          <a:spcPct val="20000"/>
        </a:spcBef>
        <a:spcAft>
          <a:spcPct val="0"/>
        </a:spcAft>
        <a:buClr>
          <a:schemeClr val="hlink"/>
        </a:buClr>
        <a:buSzPct val="70000"/>
        <a:buFont typeface="Wingdings" pitchFamily="2" charset="2"/>
        <a:buChar char="n"/>
        <a:defRPr sz="2000">
          <a:solidFill>
            <a:schemeClr val="tx1"/>
          </a:solidFill>
          <a:effectLst>
            <a:outerShdw blurRad="38100" dist="38100" dir="2700000" algn="tl">
              <a:srgbClr val="000000"/>
            </a:outerShdw>
          </a:effectLst>
          <a:latin typeface="+mn-lt"/>
        </a:defRPr>
      </a:lvl8pPr>
      <a:lvl9pPr marL="3886200" indent="-228600" algn="l" rtl="0" fontAlgn="base">
        <a:spcBef>
          <a:spcPct val="20000"/>
        </a:spcBef>
        <a:spcAft>
          <a:spcPct val="0"/>
        </a:spcAft>
        <a:buClr>
          <a:schemeClr val="hlink"/>
        </a:buClr>
        <a:buSzPct val="70000"/>
        <a:buFont typeface="Wingdings" pitchFamily="2" charset="2"/>
        <a:buChar char="n"/>
        <a:defRPr sz="2000">
          <a:solidFill>
            <a:schemeClr val="tx1"/>
          </a:solidFill>
          <a:effectLst>
            <a:outerShdw blurRad="38100" dist="38100" dir="2700000" algn="tl">
              <a:srgbClr val="000000"/>
            </a:outerShdw>
          </a:effectLst>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098" name="Rectangle 2">
            <a:extLst>
              <a:ext uri="{FF2B5EF4-FFF2-40B4-BE49-F238E27FC236}">
                <a16:creationId xmlns:a16="http://schemas.microsoft.com/office/drawing/2014/main" id="{FCA5674A-513E-4A92-B7D7-AD3B928C7166}"/>
              </a:ext>
            </a:extLst>
          </p:cNvPr>
          <p:cNvSpPr>
            <a:spLocks noGrp="1" noChangeArrowheads="1"/>
          </p:cNvSpPr>
          <p:nvPr>
            <p:ph type="dt" sz="half" idx="2"/>
          </p:nvPr>
        </p:nvSpPr>
        <p:spPr bwMode="auto">
          <a:xfrm>
            <a:off x="609600" y="6251575"/>
            <a:ext cx="2844800" cy="47625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eaLnBrk="1" hangingPunct="1">
              <a:defRPr sz="1200">
                <a:solidFill>
                  <a:srgbClr val="FFFFFF"/>
                </a:solidFill>
                <a:latin typeface="Arial" charset="0"/>
                <a:cs typeface="+mn-cs"/>
              </a:defRPr>
            </a:lvl1pPr>
          </a:lstStyle>
          <a:p>
            <a:pPr>
              <a:defRPr/>
            </a:pPr>
            <a:endParaRPr lang="en-US"/>
          </a:p>
        </p:txBody>
      </p:sp>
      <p:sp>
        <p:nvSpPr>
          <p:cNvPr id="4099" name="Rectangle 3">
            <a:extLst>
              <a:ext uri="{FF2B5EF4-FFF2-40B4-BE49-F238E27FC236}">
                <a16:creationId xmlns:a16="http://schemas.microsoft.com/office/drawing/2014/main" id="{C0350892-8E8A-402D-BC3D-C9D83BA6E991}"/>
              </a:ext>
            </a:extLst>
          </p:cNvPr>
          <p:cNvSpPr>
            <a:spLocks noGrp="1" noChangeArrowheads="1"/>
          </p:cNvSpPr>
          <p:nvPr>
            <p:ph type="sldNum" sz="quarter" idx="4"/>
          </p:nvPr>
        </p:nvSpPr>
        <p:spPr bwMode="auto">
          <a:xfrm>
            <a:off x="8737600" y="6248400"/>
            <a:ext cx="2844800" cy="47625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a:defRPr sz="1200">
                <a:solidFill>
                  <a:srgbClr val="FFFFFF"/>
                </a:solidFill>
                <a:latin typeface="Arial" panose="020B0604020202020204" pitchFamily="34" charset="0"/>
              </a:defRPr>
            </a:lvl1pPr>
          </a:lstStyle>
          <a:p>
            <a:fld id="{FE79DD90-366C-4245-985E-6F2BF13068A9}" type="slidenum">
              <a:rPr lang="en-US" altLang="en-US"/>
              <a:pPr/>
              <a:t>‹#›</a:t>
            </a:fld>
            <a:endParaRPr lang="en-US" altLang="en-US"/>
          </a:p>
        </p:txBody>
      </p:sp>
      <p:grpSp>
        <p:nvGrpSpPr>
          <p:cNvPr id="2052" name="Group 4">
            <a:extLst>
              <a:ext uri="{FF2B5EF4-FFF2-40B4-BE49-F238E27FC236}">
                <a16:creationId xmlns:a16="http://schemas.microsoft.com/office/drawing/2014/main" id="{EEE64A57-1FB2-4939-B99C-06A2BD4CD8AD}"/>
              </a:ext>
            </a:extLst>
          </p:cNvPr>
          <p:cNvGrpSpPr>
            <a:grpSpLocks/>
          </p:cNvGrpSpPr>
          <p:nvPr/>
        </p:nvGrpSpPr>
        <p:grpSpPr bwMode="auto">
          <a:xfrm>
            <a:off x="1" y="1"/>
            <a:ext cx="12187767" cy="6850063"/>
            <a:chOff x="0" y="0"/>
            <a:chExt cx="5758" cy="4315"/>
          </a:xfrm>
        </p:grpSpPr>
        <p:grpSp>
          <p:nvGrpSpPr>
            <p:cNvPr id="2059" name="Group 5">
              <a:extLst>
                <a:ext uri="{FF2B5EF4-FFF2-40B4-BE49-F238E27FC236}">
                  <a16:creationId xmlns:a16="http://schemas.microsoft.com/office/drawing/2014/main" id="{8BE6285C-EFD3-4AAC-8DDA-82B38C06D454}"/>
                </a:ext>
              </a:extLst>
            </p:cNvPr>
            <p:cNvGrpSpPr>
              <a:grpSpLocks/>
            </p:cNvGrpSpPr>
            <p:nvPr userDrawn="1"/>
          </p:nvGrpSpPr>
          <p:grpSpPr bwMode="auto">
            <a:xfrm>
              <a:off x="1728" y="2230"/>
              <a:ext cx="4027" cy="2085"/>
              <a:chOff x="1728" y="2230"/>
              <a:chExt cx="4027" cy="2085"/>
            </a:xfrm>
          </p:grpSpPr>
          <p:sp>
            <p:nvSpPr>
              <p:cNvPr id="4102" name="Freeform 6">
                <a:extLst>
                  <a:ext uri="{FF2B5EF4-FFF2-40B4-BE49-F238E27FC236}">
                    <a16:creationId xmlns:a16="http://schemas.microsoft.com/office/drawing/2014/main" id="{16B9BD23-008F-4A50-A040-34454E6F6CA3}"/>
                  </a:ext>
                </a:extLst>
              </p:cNvPr>
              <p:cNvSpPr>
                <a:spLocks/>
              </p:cNvSpPr>
              <p:nvPr/>
            </p:nvSpPr>
            <p:spPr bwMode="hidden">
              <a:xfrm>
                <a:off x="1728" y="2644"/>
                <a:ext cx="2882" cy="1671"/>
              </a:xfrm>
              <a:custGeom>
                <a:avLst/>
                <a:gdLst/>
                <a:ahLst/>
                <a:cxnLst>
                  <a:cxn ang="0">
                    <a:pos x="2740" y="528"/>
                  </a:cxn>
                  <a:cxn ang="0">
                    <a:pos x="2632" y="484"/>
                  </a:cxn>
                  <a:cxn ang="0">
                    <a:pos x="2480" y="424"/>
                  </a:cxn>
                  <a:cxn ang="0">
                    <a:pos x="2203" y="343"/>
                  </a:cxn>
                  <a:cxn ang="0">
                    <a:pos x="1970" y="277"/>
                  </a:cxn>
                  <a:cxn ang="0">
                    <a:pos x="1807" y="212"/>
                  </a:cxn>
                  <a:cxn ang="0">
                    <a:pos x="1693" y="152"/>
                  </a:cxn>
                  <a:cxn ang="0">
                    <a:pos x="1628" y="103"/>
                  </a:cxn>
                  <a:cxn ang="0">
                    <a:pos x="1590" y="60"/>
                  </a:cxn>
                  <a:cxn ang="0">
                    <a:pos x="1579" y="27"/>
                  </a:cxn>
                  <a:cxn ang="0">
                    <a:pos x="1585" y="0"/>
                  </a:cxn>
                  <a:cxn ang="0">
                    <a:pos x="1557" y="49"/>
                  </a:cxn>
                  <a:cxn ang="0">
                    <a:pos x="1568" y="98"/>
                  </a:cxn>
                  <a:cxn ang="0">
                    <a:pos x="1617" y="141"/>
                  </a:cxn>
                  <a:cxn ang="0">
                    <a:pos x="1688" y="185"/>
                  </a:cxn>
                  <a:cxn ang="0">
                    <a:pos x="1791" y="228"/>
                  </a:cxn>
                  <a:cxn ang="0">
                    <a:pos x="2040" y="310"/>
                  </a:cxn>
                  <a:cxn ang="0">
                    <a:pos x="2285" y="381"/>
                  </a:cxn>
                  <a:cxn ang="0">
                    <a:pos x="2464" y="435"/>
                  </a:cxn>
                  <a:cxn ang="0">
                    <a:pos x="2605" y="484"/>
                  </a:cxn>
                  <a:cxn ang="0">
                    <a:pos x="2708" y="528"/>
                  </a:cxn>
                  <a:cxn ang="0">
                    <a:pos x="2768" y="560"/>
                  </a:cxn>
                  <a:cxn ang="0">
                    <a:pos x="2795" y="593"/>
                  </a:cxn>
                  <a:cxn ang="0">
                    <a:pos x="2795" y="642"/>
                  </a:cxn>
                  <a:cxn ang="0">
                    <a:pos x="2762" y="691"/>
                  </a:cxn>
                  <a:cxn ang="0">
                    <a:pos x="2692" y="735"/>
                  </a:cxn>
                  <a:cxn ang="0">
                    <a:pos x="2589" y="778"/>
                  </a:cxn>
                  <a:cxn ang="0">
                    <a:pos x="2458" y="822"/>
                  </a:cxn>
                  <a:cxn ang="0">
                    <a:pos x="2301" y="865"/>
                  </a:cxn>
                  <a:cxn ang="0">
                    <a:pos x="2030" y="930"/>
                  </a:cxn>
                  <a:cxn ang="0">
                    <a:pos x="1606" y="1034"/>
                  </a:cxn>
                  <a:cxn ang="0">
                    <a:pos x="1145" y="1164"/>
                  </a:cxn>
                  <a:cxn ang="0">
                    <a:pos x="673" y="1328"/>
                  </a:cxn>
                  <a:cxn ang="0">
                    <a:pos x="217" y="1545"/>
                  </a:cxn>
                  <a:cxn ang="0">
                    <a:pos x="353" y="1671"/>
                  </a:cxn>
                  <a:cxn ang="0">
                    <a:pos x="754" y="1469"/>
                  </a:cxn>
                  <a:cxn ang="0">
                    <a:pos x="1145" y="1311"/>
                  </a:cxn>
                  <a:cxn ang="0">
                    <a:pos x="1519" y="1186"/>
                  </a:cxn>
                  <a:cxn ang="0">
                    <a:pos x="1861" y="1083"/>
                  </a:cxn>
                  <a:cxn ang="0">
                    <a:pos x="2165" y="1007"/>
                  </a:cxn>
                  <a:cxn ang="0">
                    <a:pos x="2426" y="947"/>
                  </a:cxn>
                  <a:cxn ang="0">
                    <a:pos x="2626" y="892"/>
                  </a:cxn>
                  <a:cxn ang="0">
                    <a:pos x="2762" y="838"/>
                  </a:cxn>
                  <a:cxn ang="0">
                    <a:pos x="2827" y="794"/>
                  </a:cxn>
                  <a:cxn ang="0">
                    <a:pos x="2865" y="745"/>
                  </a:cxn>
                  <a:cxn ang="0">
                    <a:pos x="2882" y="702"/>
                  </a:cxn>
                  <a:cxn ang="0">
                    <a:pos x="2854" y="620"/>
                  </a:cxn>
                  <a:cxn ang="0">
                    <a:pos x="2800" y="560"/>
                  </a:cxn>
                  <a:cxn ang="0">
                    <a:pos x="2773" y="544"/>
                  </a:cxn>
                </a:cxnLst>
                <a:rect l="0" t="0" r="r" b="b"/>
                <a:pathLst>
                  <a:path w="2882" h="1671">
                    <a:moveTo>
                      <a:pt x="2773" y="544"/>
                    </a:moveTo>
                    <a:lnTo>
                      <a:pt x="2740" y="528"/>
                    </a:lnTo>
                    <a:lnTo>
                      <a:pt x="2692" y="506"/>
                    </a:lnTo>
                    <a:lnTo>
                      <a:pt x="2632" y="484"/>
                    </a:lnTo>
                    <a:lnTo>
                      <a:pt x="2561" y="457"/>
                    </a:lnTo>
                    <a:lnTo>
                      <a:pt x="2480" y="424"/>
                    </a:lnTo>
                    <a:lnTo>
                      <a:pt x="2388" y="397"/>
                    </a:lnTo>
                    <a:lnTo>
                      <a:pt x="2203" y="343"/>
                    </a:lnTo>
                    <a:lnTo>
                      <a:pt x="2078" y="310"/>
                    </a:lnTo>
                    <a:lnTo>
                      <a:pt x="1970" y="277"/>
                    </a:lnTo>
                    <a:lnTo>
                      <a:pt x="1878" y="245"/>
                    </a:lnTo>
                    <a:lnTo>
                      <a:pt x="1807" y="212"/>
                    </a:lnTo>
                    <a:lnTo>
                      <a:pt x="1742" y="179"/>
                    </a:lnTo>
                    <a:lnTo>
                      <a:pt x="1693" y="152"/>
                    </a:lnTo>
                    <a:lnTo>
                      <a:pt x="1655" y="125"/>
                    </a:lnTo>
                    <a:lnTo>
                      <a:pt x="1628" y="103"/>
                    </a:lnTo>
                    <a:lnTo>
                      <a:pt x="1606" y="81"/>
                    </a:lnTo>
                    <a:lnTo>
                      <a:pt x="1590" y="60"/>
                    </a:lnTo>
                    <a:lnTo>
                      <a:pt x="1585" y="43"/>
                    </a:lnTo>
                    <a:lnTo>
                      <a:pt x="1579" y="27"/>
                    </a:lnTo>
                    <a:lnTo>
                      <a:pt x="1585" y="5"/>
                    </a:lnTo>
                    <a:lnTo>
                      <a:pt x="1585" y="0"/>
                    </a:lnTo>
                    <a:lnTo>
                      <a:pt x="1568" y="27"/>
                    </a:lnTo>
                    <a:lnTo>
                      <a:pt x="1557" y="49"/>
                    </a:lnTo>
                    <a:lnTo>
                      <a:pt x="1557" y="76"/>
                    </a:lnTo>
                    <a:lnTo>
                      <a:pt x="1568" y="98"/>
                    </a:lnTo>
                    <a:lnTo>
                      <a:pt x="1590" y="120"/>
                    </a:lnTo>
                    <a:lnTo>
                      <a:pt x="1617" y="141"/>
                    </a:lnTo>
                    <a:lnTo>
                      <a:pt x="1650" y="163"/>
                    </a:lnTo>
                    <a:lnTo>
                      <a:pt x="1688" y="185"/>
                    </a:lnTo>
                    <a:lnTo>
                      <a:pt x="1737" y="207"/>
                    </a:lnTo>
                    <a:lnTo>
                      <a:pt x="1791" y="228"/>
                    </a:lnTo>
                    <a:lnTo>
                      <a:pt x="1905" y="267"/>
                    </a:lnTo>
                    <a:lnTo>
                      <a:pt x="2040" y="310"/>
                    </a:lnTo>
                    <a:lnTo>
                      <a:pt x="2182" y="348"/>
                    </a:lnTo>
                    <a:lnTo>
                      <a:pt x="2285" y="381"/>
                    </a:lnTo>
                    <a:lnTo>
                      <a:pt x="2382" y="408"/>
                    </a:lnTo>
                    <a:lnTo>
                      <a:pt x="2464" y="435"/>
                    </a:lnTo>
                    <a:lnTo>
                      <a:pt x="2540" y="462"/>
                    </a:lnTo>
                    <a:lnTo>
                      <a:pt x="2605" y="484"/>
                    </a:lnTo>
                    <a:lnTo>
                      <a:pt x="2659" y="506"/>
                    </a:lnTo>
                    <a:lnTo>
                      <a:pt x="2708" y="528"/>
                    </a:lnTo>
                    <a:lnTo>
                      <a:pt x="2740" y="544"/>
                    </a:lnTo>
                    <a:lnTo>
                      <a:pt x="2768" y="560"/>
                    </a:lnTo>
                    <a:lnTo>
                      <a:pt x="2784" y="577"/>
                    </a:lnTo>
                    <a:lnTo>
                      <a:pt x="2795" y="593"/>
                    </a:lnTo>
                    <a:lnTo>
                      <a:pt x="2800" y="615"/>
                    </a:lnTo>
                    <a:lnTo>
                      <a:pt x="2795" y="642"/>
                    </a:lnTo>
                    <a:lnTo>
                      <a:pt x="2784" y="664"/>
                    </a:lnTo>
                    <a:lnTo>
                      <a:pt x="2762" y="691"/>
                    </a:lnTo>
                    <a:lnTo>
                      <a:pt x="2730" y="713"/>
                    </a:lnTo>
                    <a:lnTo>
                      <a:pt x="2692" y="735"/>
                    </a:lnTo>
                    <a:lnTo>
                      <a:pt x="2643" y="756"/>
                    </a:lnTo>
                    <a:lnTo>
                      <a:pt x="2589" y="778"/>
                    </a:lnTo>
                    <a:lnTo>
                      <a:pt x="2529" y="800"/>
                    </a:lnTo>
                    <a:lnTo>
                      <a:pt x="2458" y="822"/>
                    </a:lnTo>
                    <a:lnTo>
                      <a:pt x="2382" y="843"/>
                    </a:lnTo>
                    <a:lnTo>
                      <a:pt x="2301" y="865"/>
                    </a:lnTo>
                    <a:lnTo>
                      <a:pt x="2214" y="887"/>
                    </a:lnTo>
                    <a:lnTo>
                      <a:pt x="2030" y="930"/>
                    </a:lnTo>
                    <a:lnTo>
                      <a:pt x="1823" y="979"/>
                    </a:lnTo>
                    <a:lnTo>
                      <a:pt x="1606" y="1034"/>
                    </a:lnTo>
                    <a:lnTo>
                      <a:pt x="1378" y="1094"/>
                    </a:lnTo>
                    <a:lnTo>
                      <a:pt x="1145" y="1164"/>
                    </a:lnTo>
                    <a:lnTo>
                      <a:pt x="912" y="1241"/>
                    </a:lnTo>
                    <a:lnTo>
                      <a:pt x="673" y="1328"/>
                    </a:lnTo>
                    <a:lnTo>
                      <a:pt x="440" y="1431"/>
                    </a:lnTo>
                    <a:lnTo>
                      <a:pt x="217" y="1545"/>
                    </a:lnTo>
                    <a:lnTo>
                      <a:pt x="0" y="1671"/>
                    </a:lnTo>
                    <a:lnTo>
                      <a:pt x="353" y="1671"/>
                    </a:lnTo>
                    <a:lnTo>
                      <a:pt x="554" y="1567"/>
                    </a:lnTo>
                    <a:lnTo>
                      <a:pt x="754" y="1469"/>
                    </a:lnTo>
                    <a:lnTo>
                      <a:pt x="955" y="1388"/>
                    </a:lnTo>
                    <a:lnTo>
                      <a:pt x="1145" y="1311"/>
                    </a:lnTo>
                    <a:lnTo>
                      <a:pt x="1335" y="1241"/>
                    </a:lnTo>
                    <a:lnTo>
                      <a:pt x="1519" y="1186"/>
                    </a:lnTo>
                    <a:lnTo>
                      <a:pt x="1693" y="1132"/>
                    </a:lnTo>
                    <a:lnTo>
                      <a:pt x="1861" y="1083"/>
                    </a:lnTo>
                    <a:lnTo>
                      <a:pt x="2019" y="1045"/>
                    </a:lnTo>
                    <a:lnTo>
                      <a:pt x="2165" y="1007"/>
                    </a:lnTo>
                    <a:lnTo>
                      <a:pt x="2301" y="974"/>
                    </a:lnTo>
                    <a:lnTo>
                      <a:pt x="2426" y="947"/>
                    </a:lnTo>
                    <a:lnTo>
                      <a:pt x="2534" y="914"/>
                    </a:lnTo>
                    <a:lnTo>
                      <a:pt x="2626" y="892"/>
                    </a:lnTo>
                    <a:lnTo>
                      <a:pt x="2702" y="865"/>
                    </a:lnTo>
                    <a:lnTo>
                      <a:pt x="2762" y="838"/>
                    </a:lnTo>
                    <a:lnTo>
                      <a:pt x="2800" y="816"/>
                    </a:lnTo>
                    <a:lnTo>
                      <a:pt x="2827" y="794"/>
                    </a:lnTo>
                    <a:lnTo>
                      <a:pt x="2849" y="767"/>
                    </a:lnTo>
                    <a:lnTo>
                      <a:pt x="2865" y="745"/>
                    </a:lnTo>
                    <a:lnTo>
                      <a:pt x="2876" y="724"/>
                    </a:lnTo>
                    <a:lnTo>
                      <a:pt x="2882" y="702"/>
                    </a:lnTo>
                    <a:lnTo>
                      <a:pt x="2876" y="658"/>
                    </a:lnTo>
                    <a:lnTo>
                      <a:pt x="2854" y="620"/>
                    </a:lnTo>
                    <a:lnTo>
                      <a:pt x="2833" y="588"/>
                    </a:lnTo>
                    <a:lnTo>
                      <a:pt x="2800" y="560"/>
                    </a:lnTo>
                    <a:lnTo>
                      <a:pt x="2773" y="544"/>
                    </a:lnTo>
                    <a:lnTo>
                      <a:pt x="2773" y="544"/>
                    </a:lnTo>
                    <a:close/>
                  </a:path>
                </a:pathLst>
              </a:custGeom>
              <a:gradFill rotWithShape="0">
                <a:gsLst>
                  <a:gs pos="0">
                    <a:schemeClr val="bg1"/>
                  </a:gs>
                  <a:gs pos="100000">
                    <a:schemeClr val="bg1">
                      <a:gamma/>
                      <a:shade val="90980"/>
                      <a:invGamma/>
                    </a:schemeClr>
                  </a:gs>
                </a:gsLst>
                <a:lin ang="0" scaled="1"/>
              </a:gradFill>
              <a:ln w="9525">
                <a:noFill/>
                <a:round/>
                <a:headEnd/>
                <a:tailEnd/>
              </a:ln>
            </p:spPr>
            <p:txBody>
              <a:bodyPr/>
              <a:lstStyle/>
              <a:p>
                <a:pPr eaLnBrk="0" hangingPunct="0">
                  <a:defRPr/>
                </a:pPr>
                <a:endParaRPr lang="en-US" sz="1800">
                  <a:solidFill>
                    <a:srgbClr val="FFFFFF"/>
                  </a:solidFill>
                  <a:latin typeface="+mn-lt"/>
                  <a:cs typeface="+mn-cs"/>
                </a:endParaRPr>
              </a:p>
            </p:txBody>
          </p:sp>
          <p:sp>
            <p:nvSpPr>
              <p:cNvPr id="4103" name="Freeform 7">
                <a:extLst>
                  <a:ext uri="{FF2B5EF4-FFF2-40B4-BE49-F238E27FC236}">
                    <a16:creationId xmlns:a16="http://schemas.microsoft.com/office/drawing/2014/main" id="{58034371-F8AA-4D2B-A4E6-8AC1ED8EACCA}"/>
                  </a:ext>
                </a:extLst>
              </p:cNvPr>
              <p:cNvSpPr>
                <a:spLocks/>
              </p:cNvSpPr>
              <p:nvPr/>
            </p:nvSpPr>
            <p:spPr bwMode="hidden">
              <a:xfrm>
                <a:off x="4170" y="2671"/>
                <a:ext cx="1259" cy="811"/>
              </a:xfrm>
              <a:custGeom>
                <a:avLst/>
                <a:gdLst/>
                <a:ahLst/>
                <a:cxnLst>
                  <a:cxn ang="0">
                    <a:pos x="1259" y="615"/>
                  </a:cxn>
                  <a:cxn ang="0">
                    <a:pos x="1248" y="588"/>
                  </a:cxn>
                  <a:cxn ang="0">
                    <a:pos x="1237" y="566"/>
                  </a:cxn>
                  <a:cxn ang="0">
                    <a:pos x="1216" y="539"/>
                  </a:cxn>
                  <a:cxn ang="0">
                    <a:pos x="1188" y="517"/>
                  </a:cxn>
                  <a:cxn ang="0">
                    <a:pos x="1123" y="479"/>
                  </a:cxn>
                  <a:cxn ang="0">
                    <a:pos x="1042" y="441"/>
                  </a:cxn>
                  <a:cxn ang="0">
                    <a:pos x="944" y="408"/>
                  </a:cxn>
                  <a:cxn ang="0">
                    <a:pos x="841" y="381"/>
                  </a:cxn>
                  <a:cxn ang="0">
                    <a:pos x="727" y="348"/>
                  </a:cxn>
                  <a:cxn ang="0">
                    <a:pos x="613" y="321"/>
                  </a:cxn>
                  <a:cxn ang="0">
                    <a:pos x="499" y="294"/>
                  </a:cxn>
                  <a:cxn ang="0">
                    <a:pos x="391" y="261"/>
                  </a:cxn>
                  <a:cxn ang="0">
                    <a:pos x="288" y="229"/>
                  </a:cxn>
                  <a:cxn ang="0">
                    <a:pos x="195" y="196"/>
                  </a:cxn>
                  <a:cxn ang="0">
                    <a:pos x="119" y="152"/>
                  </a:cxn>
                  <a:cxn ang="0">
                    <a:pos x="54" y="109"/>
                  </a:cxn>
                  <a:cxn ang="0">
                    <a:pos x="33" y="87"/>
                  </a:cxn>
                  <a:cxn ang="0">
                    <a:pos x="16" y="60"/>
                  </a:cxn>
                  <a:cxn ang="0">
                    <a:pos x="5" y="33"/>
                  </a:cxn>
                  <a:cxn ang="0">
                    <a:pos x="0" y="0"/>
                  </a:cxn>
                  <a:cxn ang="0">
                    <a:pos x="0" y="6"/>
                  </a:cxn>
                  <a:cxn ang="0">
                    <a:pos x="0" y="11"/>
                  </a:cxn>
                  <a:cxn ang="0">
                    <a:pos x="0" y="38"/>
                  </a:cxn>
                  <a:cxn ang="0">
                    <a:pos x="5" y="60"/>
                  </a:cxn>
                  <a:cxn ang="0">
                    <a:pos x="16" y="87"/>
                  </a:cxn>
                  <a:cxn ang="0">
                    <a:pos x="33" y="114"/>
                  </a:cxn>
                  <a:cxn ang="0">
                    <a:pos x="54" y="142"/>
                  </a:cxn>
                  <a:cxn ang="0">
                    <a:pos x="87" y="174"/>
                  </a:cxn>
                  <a:cxn ang="0">
                    <a:pos x="125" y="207"/>
                  </a:cxn>
                  <a:cxn ang="0">
                    <a:pos x="179" y="240"/>
                  </a:cxn>
                  <a:cxn ang="0">
                    <a:pos x="244" y="278"/>
                  </a:cxn>
                  <a:cxn ang="0">
                    <a:pos x="326" y="310"/>
                  </a:cxn>
                  <a:cxn ang="0">
                    <a:pos x="418" y="348"/>
                  </a:cxn>
                  <a:cxn ang="0">
                    <a:pos x="526" y="381"/>
                  </a:cxn>
                  <a:cxn ang="0">
                    <a:pos x="657" y="414"/>
                  </a:cxn>
                  <a:cxn ang="0">
                    <a:pos x="749" y="435"/>
                  </a:cxn>
                  <a:cxn ang="0">
                    <a:pos x="830" y="463"/>
                  </a:cxn>
                  <a:cxn ang="0">
                    <a:pos x="901" y="490"/>
                  </a:cxn>
                  <a:cxn ang="0">
                    <a:pos x="966" y="512"/>
                  </a:cxn>
                  <a:cxn ang="0">
                    <a:pos x="1015" y="539"/>
                  </a:cxn>
                  <a:cxn ang="0">
                    <a:pos x="1053" y="566"/>
                  </a:cxn>
                  <a:cxn ang="0">
                    <a:pos x="1080" y="593"/>
                  </a:cxn>
                  <a:cxn ang="0">
                    <a:pos x="1102" y="620"/>
                  </a:cxn>
                  <a:cxn ang="0">
                    <a:pos x="1112" y="648"/>
                  </a:cxn>
                  <a:cxn ang="0">
                    <a:pos x="1118" y="675"/>
                  </a:cxn>
                  <a:cxn ang="0">
                    <a:pos x="1112" y="697"/>
                  </a:cxn>
                  <a:cxn ang="0">
                    <a:pos x="1096" y="724"/>
                  </a:cxn>
                  <a:cxn ang="0">
                    <a:pos x="1080" y="746"/>
                  </a:cxn>
                  <a:cxn ang="0">
                    <a:pos x="1053" y="767"/>
                  </a:cxn>
                  <a:cxn ang="0">
                    <a:pos x="1015" y="789"/>
                  </a:cxn>
                  <a:cxn ang="0">
                    <a:pos x="977" y="811"/>
                  </a:cxn>
                  <a:cxn ang="0">
                    <a:pos x="1047" y="789"/>
                  </a:cxn>
                  <a:cxn ang="0">
                    <a:pos x="1107" y="767"/>
                  </a:cxn>
                  <a:cxn ang="0">
                    <a:pos x="1156" y="746"/>
                  </a:cxn>
                  <a:cxn ang="0">
                    <a:pos x="1199" y="724"/>
                  </a:cxn>
                  <a:cxn ang="0">
                    <a:pos x="1226" y="702"/>
                  </a:cxn>
                  <a:cxn ang="0">
                    <a:pos x="1248" y="675"/>
                  </a:cxn>
                  <a:cxn ang="0">
                    <a:pos x="1259" y="648"/>
                  </a:cxn>
                  <a:cxn ang="0">
                    <a:pos x="1259" y="615"/>
                  </a:cxn>
                  <a:cxn ang="0">
                    <a:pos x="1259" y="615"/>
                  </a:cxn>
                </a:cxnLst>
                <a:rect l="0" t="0" r="r" b="b"/>
                <a:pathLst>
                  <a:path w="1259" h="811">
                    <a:moveTo>
                      <a:pt x="1259" y="615"/>
                    </a:moveTo>
                    <a:lnTo>
                      <a:pt x="1248" y="588"/>
                    </a:lnTo>
                    <a:lnTo>
                      <a:pt x="1237" y="566"/>
                    </a:lnTo>
                    <a:lnTo>
                      <a:pt x="1216" y="539"/>
                    </a:lnTo>
                    <a:lnTo>
                      <a:pt x="1188" y="517"/>
                    </a:lnTo>
                    <a:lnTo>
                      <a:pt x="1123" y="479"/>
                    </a:lnTo>
                    <a:lnTo>
                      <a:pt x="1042" y="441"/>
                    </a:lnTo>
                    <a:lnTo>
                      <a:pt x="944" y="408"/>
                    </a:lnTo>
                    <a:lnTo>
                      <a:pt x="841" y="381"/>
                    </a:lnTo>
                    <a:lnTo>
                      <a:pt x="727" y="348"/>
                    </a:lnTo>
                    <a:lnTo>
                      <a:pt x="613" y="321"/>
                    </a:lnTo>
                    <a:lnTo>
                      <a:pt x="499" y="294"/>
                    </a:lnTo>
                    <a:lnTo>
                      <a:pt x="391" y="261"/>
                    </a:lnTo>
                    <a:lnTo>
                      <a:pt x="288" y="229"/>
                    </a:lnTo>
                    <a:lnTo>
                      <a:pt x="195" y="196"/>
                    </a:lnTo>
                    <a:lnTo>
                      <a:pt x="119" y="152"/>
                    </a:lnTo>
                    <a:lnTo>
                      <a:pt x="54" y="109"/>
                    </a:lnTo>
                    <a:lnTo>
                      <a:pt x="33" y="87"/>
                    </a:lnTo>
                    <a:lnTo>
                      <a:pt x="16" y="60"/>
                    </a:lnTo>
                    <a:lnTo>
                      <a:pt x="5" y="33"/>
                    </a:lnTo>
                    <a:lnTo>
                      <a:pt x="0" y="0"/>
                    </a:lnTo>
                    <a:lnTo>
                      <a:pt x="0" y="6"/>
                    </a:lnTo>
                    <a:lnTo>
                      <a:pt x="0" y="11"/>
                    </a:lnTo>
                    <a:lnTo>
                      <a:pt x="0" y="38"/>
                    </a:lnTo>
                    <a:lnTo>
                      <a:pt x="5" y="60"/>
                    </a:lnTo>
                    <a:lnTo>
                      <a:pt x="16" y="87"/>
                    </a:lnTo>
                    <a:lnTo>
                      <a:pt x="33" y="114"/>
                    </a:lnTo>
                    <a:lnTo>
                      <a:pt x="54" y="142"/>
                    </a:lnTo>
                    <a:lnTo>
                      <a:pt x="87" y="174"/>
                    </a:lnTo>
                    <a:lnTo>
                      <a:pt x="125" y="207"/>
                    </a:lnTo>
                    <a:lnTo>
                      <a:pt x="179" y="240"/>
                    </a:lnTo>
                    <a:lnTo>
                      <a:pt x="244" y="278"/>
                    </a:lnTo>
                    <a:lnTo>
                      <a:pt x="326" y="310"/>
                    </a:lnTo>
                    <a:lnTo>
                      <a:pt x="418" y="348"/>
                    </a:lnTo>
                    <a:lnTo>
                      <a:pt x="526" y="381"/>
                    </a:lnTo>
                    <a:lnTo>
                      <a:pt x="657" y="414"/>
                    </a:lnTo>
                    <a:lnTo>
                      <a:pt x="749" y="435"/>
                    </a:lnTo>
                    <a:lnTo>
                      <a:pt x="830" y="463"/>
                    </a:lnTo>
                    <a:lnTo>
                      <a:pt x="901" y="490"/>
                    </a:lnTo>
                    <a:lnTo>
                      <a:pt x="966" y="512"/>
                    </a:lnTo>
                    <a:lnTo>
                      <a:pt x="1015" y="539"/>
                    </a:lnTo>
                    <a:lnTo>
                      <a:pt x="1053" y="566"/>
                    </a:lnTo>
                    <a:lnTo>
                      <a:pt x="1080" y="593"/>
                    </a:lnTo>
                    <a:lnTo>
                      <a:pt x="1102" y="620"/>
                    </a:lnTo>
                    <a:lnTo>
                      <a:pt x="1112" y="648"/>
                    </a:lnTo>
                    <a:lnTo>
                      <a:pt x="1118" y="675"/>
                    </a:lnTo>
                    <a:lnTo>
                      <a:pt x="1112" y="697"/>
                    </a:lnTo>
                    <a:lnTo>
                      <a:pt x="1096" y="724"/>
                    </a:lnTo>
                    <a:lnTo>
                      <a:pt x="1080" y="746"/>
                    </a:lnTo>
                    <a:lnTo>
                      <a:pt x="1053" y="767"/>
                    </a:lnTo>
                    <a:lnTo>
                      <a:pt x="1015" y="789"/>
                    </a:lnTo>
                    <a:lnTo>
                      <a:pt x="977" y="811"/>
                    </a:lnTo>
                    <a:lnTo>
                      <a:pt x="1047" y="789"/>
                    </a:lnTo>
                    <a:lnTo>
                      <a:pt x="1107" y="767"/>
                    </a:lnTo>
                    <a:lnTo>
                      <a:pt x="1156" y="746"/>
                    </a:lnTo>
                    <a:lnTo>
                      <a:pt x="1199" y="724"/>
                    </a:lnTo>
                    <a:lnTo>
                      <a:pt x="1226" y="702"/>
                    </a:lnTo>
                    <a:lnTo>
                      <a:pt x="1248" y="675"/>
                    </a:lnTo>
                    <a:lnTo>
                      <a:pt x="1259" y="648"/>
                    </a:lnTo>
                    <a:lnTo>
                      <a:pt x="1259" y="615"/>
                    </a:lnTo>
                    <a:lnTo>
                      <a:pt x="1259" y="615"/>
                    </a:lnTo>
                    <a:close/>
                  </a:path>
                </a:pathLst>
              </a:custGeom>
              <a:gradFill rotWithShape="0">
                <a:gsLst>
                  <a:gs pos="0">
                    <a:schemeClr val="bg1"/>
                  </a:gs>
                  <a:gs pos="100000">
                    <a:schemeClr val="bg1">
                      <a:gamma/>
                      <a:shade val="90980"/>
                      <a:invGamma/>
                    </a:schemeClr>
                  </a:gs>
                </a:gsLst>
                <a:lin ang="2700000" scaled="1"/>
              </a:gradFill>
              <a:ln w="9525">
                <a:noFill/>
                <a:round/>
                <a:headEnd/>
                <a:tailEnd/>
              </a:ln>
            </p:spPr>
            <p:txBody>
              <a:bodyPr/>
              <a:lstStyle/>
              <a:p>
                <a:pPr eaLnBrk="0" hangingPunct="0">
                  <a:defRPr/>
                </a:pPr>
                <a:endParaRPr lang="en-US" sz="1800">
                  <a:solidFill>
                    <a:srgbClr val="FFFFFF"/>
                  </a:solidFill>
                  <a:latin typeface="+mn-lt"/>
                  <a:cs typeface="+mn-cs"/>
                </a:endParaRPr>
              </a:p>
            </p:txBody>
          </p:sp>
          <p:sp>
            <p:nvSpPr>
              <p:cNvPr id="4104" name="Freeform 8">
                <a:extLst>
                  <a:ext uri="{FF2B5EF4-FFF2-40B4-BE49-F238E27FC236}">
                    <a16:creationId xmlns:a16="http://schemas.microsoft.com/office/drawing/2014/main" id="{B4305F14-0443-4387-9C64-DF2E5CC6133F}"/>
                  </a:ext>
                </a:extLst>
              </p:cNvPr>
              <p:cNvSpPr>
                <a:spLocks/>
              </p:cNvSpPr>
              <p:nvPr/>
            </p:nvSpPr>
            <p:spPr bwMode="hidden">
              <a:xfrm>
                <a:off x="2900" y="3346"/>
                <a:ext cx="2849" cy="969"/>
              </a:xfrm>
              <a:custGeom>
                <a:avLst/>
                <a:gdLst/>
                <a:ahLst/>
                <a:cxnLst>
                  <a:cxn ang="0">
                    <a:pos x="92" y="958"/>
                  </a:cxn>
                  <a:cxn ang="0">
                    <a:pos x="0" y="969"/>
                  </a:cxn>
                  <a:cxn ang="0">
                    <a:pos x="391" y="969"/>
                  </a:cxn>
                  <a:cxn ang="0">
                    <a:pos x="434" y="947"/>
                  </a:cxn>
                  <a:cxn ang="0">
                    <a:pos x="483" y="914"/>
                  </a:cxn>
                  <a:cxn ang="0">
                    <a:pos x="554" y="876"/>
                  </a:cxn>
                  <a:cxn ang="0">
                    <a:pos x="635" y="838"/>
                  </a:cxn>
                  <a:cxn ang="0">
                    <a:pos x="727" y="794"/>
                  </a:cxn>
                  <a:cxn ang="0">
                    <a:pos x="836" y="745"/>
                  </a:cxn>
                  <a:cxn ang="0">
                    <a:pos x="961" y="696"/>
                  </a:cxn>
                  <a:cxn ang="0">
                    <a:pos x="1102" y="642"/>
                  </a:cxn>
                  <a:cxn ang="0">
                    <a:pos x="1259" y="582"/>
                  </a:cxn>
                  <a:cxn ang="0">
                    <a:pos x="1433" y="522"/>
                  </a:cxn>
                  <a:cxn ang="0">
                    <a:pos x="1623" y="462"/>
                  </a:cxn>
                  <a:cxn ang="0">
                    <a:pos x="1829" y="403"/>
                  </a:cxn>
                  <a:cxn ang="0">
                    <a:pos x="2057" y="343"/>
                  </a:cxn>
                  <a:cxn ang="0">
                    <a:pos x="2301" y="283"/>
                  </a:cxn>
                  <a:cxn ang="0">
                    <a:pos x="2567" y="223"/>
                  </a:cxn>
                  <a:cxn ang="0">
                    <a:pos x="2849" y="163"/>
                  </a:cxn>
                  <a:cxn ang="0">
                    <a:pos x="2849" y="0"/>
                  </a:cxn>
                  <a:cxn ang="0">
                    <a:pos x="2817" y="16"/>
                  </a:cxn>
                  <a:cxn ang="0">
                    <a:pos x="2773" y="33"/>
                  </a:cxn>
                  <a:cxn ang="0">
                    <a:pos x="2719" y="54"/>
                  </a:cxn>
                  <a:cxn ang="0">
                    <a:pos x="2648" y="76"/>
                  </a:cxn>
                  <a:cxn ang="0">
                    <a:pos x="2572" y="98"/>
                  </a:cxn>
                  <a:cxn ang="0">
                    <a:pos x="2491" y="120"/>
                  </a:cxn>
                  <a:cxn ang="0">
                    <a:pos x="2399" y="147"/>
                  </a:cxn>
                  <a:cxn ang="0">
                    <a:pos x="2301" y="169"/>
                  </a:cxn>
                  <a:cxn ang="0">
                    <a:pos x="2095" y="223"/>
                  </a:cxn>
                  <a:cxn ang="0">
                    <a:pos x="1889" y="277"/>
                  </a:cxn>
                  <a:cxn ang="0">
                    <a:pos x="1688" y="326"/>
                  </a:cxn>
                  <a:cxn ang="0">
                    <a:pos x="1590" y="354"/>
                  </a:cxn>
                  <a:cxn ang="0">
                    <a:pos x="1503" y="381"/>
                  </a:cxn>
                  <a:cxn ang="0">
                    <a:pos x="1107" y="506"/>
                  </a:cxn>
                  <a:cxn ang="0">
                    <a:pos x="912" y="577"/>
                  </a:cxn>
                  <a:cxn ang="0">
                    <a:pos x="727" y="647"/>
                  </a:cxn>
                  <a:cxn ang="0">
                    <a:pos x="548" y="718"/>
                  </a:cxn>
                  <a:cxn ang="0">
                    <a:pos x="380" y="794"/>
                  </a:cxn>
                  <a:cxn ang="0">
                    <a:pos x="228" y="876"/>
                  </a:cxn>
                  <a:cxn ang="0">
                    <a:pos x="92" y="958"/>
                  </a:cxn>
                  <a:cxn ang="0">
                    <a:pos x="92" y="958"/>
                  </a:cxn>
                </a:cxnLst>
                <a:rect l="0" t="0" r="r" b="b"/>
                <a:pathLst>
                  <a:path w="2849" h="969">
                    <a:moveTo>
                      <a:pt x="92" y="958"/>
                    </a:moveTo>
                    <a:lnTo>
                      <a:pt x="0" y="969"/>
                    </a:lnTo>
                    <a:lnTo>
                      <a:pt x="391" y="969"/>
                    </a:lnTo>
                    <a:lnTo>
                      <a:pt x="434" y="947"/>
                    </a:lnTo>
                    <a:lnTo>
                      <a:pt x="483" y="914"/>
                    </a:lnTo>
                    <a:lnTo>
                      <a:pt x="554" y="876"/>
                    </a:lnTo>
                    <a:lnTo>
                      <a:pt x="635" y="838"/>
                    </a:lnTo>
                    <a:lnTo>
                      <a:pt x="727" y="794"/>
                    </a:lnTo>
                    <a:lnTo>
                      <a:pt x="836" y="745"/>
                    </a:lnTo>
                    <a:lnTo>
                      <a:pt x="961" y="696"/>
                    </a:lnTo>
                    <a:lnTo>
                      <a:pt x="1102" y="642"/>
                    </a:lnTo>
                    <a:lnTo>
                      <a:pt x="1259" y="582"/>
                    </a:lnTo>
                    <a:lnTo>
                      <a:pt x="1433" y="522"/>
                    </a:lnTo>
                    <a:lnTo>
                      <a:pt x="1623" y="462"/>
                    </a:lnTo>
                    <a:lnTo>
                      <a:pt x="1829" y="403"/>
                    </a:lnTo>
                    <a:lnTo>
                      <a:pt x="2057" y="343"/>
                    </a:lnTo>
                    <a:lnTo>
                      <a:pt x="2301" y="283"/>
                    </a:lnTo>
                    <a:lnTo>
                      <a:pt x="2567" y="223"/>
                    </a:lnTo>
                    <a:lnTo>
                      <a:pt x="2849" y="163"/>
                    </a:lnTo>
                    <a:lnTo>
                      <a:pt x="2849" y="0"/>
                    </a:lnTo>
                    <a:lnTo>
                      <a:pt x="2817" y="16"/>
                    </a:lnTo>
                    <a:lnTo>
                      <a:pt x="2773" y="33"/>
                    </a:lnTo>
                    <a:lnTo>
                      <a:pt x="2719" y="54"/>
                    </a:lnTo>
                    <a:lnTo>
                      <a:pt x="2648" y="76"/>
                    </a:lnTo>
                    <a:lnTo>
                      <a:pt x="2572" y="98"/>
                    </a:lnTo>
                    <a:lnTo>
                      <a:pt x="2491" y="120"/>
                    </a:lnTo>
                    <a:lnTo>
                      <a:pt x="2399" y="147"/>
                    </a:lnTo>
                    <a:lnTo>
                      <a:pt x="2301" y="169"/>
                    </a:lnTo>
                    <a:lnTo>
                      <a:pt x="2095" y="223"/>
                    </a:lnTo>
                    <a:lnTo>
                      <a:pt x="1889" y="277"/>
                    </a:lnTo>
                    <a:lnTo>
                      <a:pt x="1688" y="326"/>
                    </a:lnTo>
                    <a:lnTo>
                      <a:pt x="1590" y="354"/>
                    </a:lnTo>
                    <a:lnTo>
                      <a:pt x="1503" y="381"/>
                    </a:lnTo>
                    <a:lnTo>
                      <a:pt x="1107" y="506"/>
                    </a:lnTo>
                    <a:lnTo>
                      <a:pt x="912" y="577"/>
                    </a:lnTo>
                    <a:lnTo>
                      <a:pt x="727" y="647"/>
                    </a:lnTo>
                    <a:lnTo>
                      <a:pt x="548" y="718"/>
                    </a:lnTo>
                    <a:lnTo>
                      <a:pt x="380" y="794"/>
                    </a:lnTo>
                    <a:lnTo>
                      <a:pt x="228" y="876"/>
                    </a:lnTo>
                    <a:lnTo>
                      <a:pt x="92" y="958"/>
                    </a:lnTo>
                    <a:lnTo>
                      <a:pt x="92" y="958"/>
                    </a:lnTo>
                    <a:close/>
                  </a:path>
                </a:pathLst>
              </a:custGeom>
              <a:gradFill rotWithShape="0">
                <a:gsLst>
                  <a:gs pos="0">
                    <a:schemeClr val="bg1">
                      <a:gamma/>
                      <a:shade val="81961"/>
                      <a:invGamma/>
                    </a:schemeClr>
                  </a:gs>
                  <a:gs pos="100000">
                    <a:schemeClr val="bg1"/>
                  </a:gs>
                </a:gsLst>
                <a:lin ang="5400000" scaled="1"/>
              </a:gradFill>
              <a:ln w="9525">
                <a:noFill/>
                <a:round/>
                <a:headEnd/>
                <a:tailEnd/>
              </a:ln>
            </p:spPr>
            <p:txBody>
              <a:bodyPr/>
              <a:lstStyle/>
              <a:p>
                <a:pPr eaLnBrk="0" hangingPunct="0">
                  <a:defRPr/>
                </a:pPr>
                <a:endParaRPr lang="en-US" sz="1800">
                  <a:solidFill>
                    <a:srgbClr val="FFFFFF"/>
                  </a:solidFill>
                  <a:latin typeface="+mn-lt"/>
                  <a:cs typeface="+mn-cs"/>
                </a:endParaRPr>
              </a:p>
            </p:txBody>
          </p:sp>
          <p:sp>
            <p:nvSpPr>
              <p:cNvPr id="2065" name="Freeform 9">
                <a:extLst>
                  <a:ext uri="{FF2B5EF4-FFF2-40B4-BE49-F238E27FC236}">
                    <a16:creationId xmlns:a16="http://schemas.microsoft.com/office/drawing/2014/main" id="{D82A23C2-B531-4A33-9519-DBB6640CA2E5}"/>
                  </a:ext>
                </a:extLst>
              </p:cNvPr>
              <p:cNvSpPr>
                <a:spLocks/>
              </p:cNvSpPr>
              <p:nvPr/>
            </p:nvSpPr>
            <p:spPr bwMode="hidden">
              <a:xfrm>
                <a:off x="2748" y="2230"/>
                <a:ext cx="3007" cy="2085"/>
              </a:xfrm>
              <a:custGeom>
                <a:avLst/>
                <a:gdLst>
                  <a:gd name="T0" fmla="*/ 1433 w 3007"/>
                  <a:gd name="T1" fmla="*/ 474 h 2085"/>
                  <a:gd name="T2" fmla="*/ 1460 w 3007"/>
                  <a:gd name="T3" fmla="*/ 528 h 2085"/>
                  <a:gd name="T4" fmla="*/ 1541 w 3007"/>
                  <a:gd name="T5" fmla="*/ 593 h 2085"/>
                  <a:gd name="T6" fmla="*/ 1715 w 3007"/>
                  <a:gd name="T7" fmla="*/ 670 h 2085"/>
                  <a:gd name="T8" fmla="*/ 1927 w 3007"/>
                  <a:gd name="T9" fmla="*/ 735 h 2085"/>
                  <a:gd name="T10" fmla="*/ 2155 w 3007"/>
                  <a:gd name="T11" fmla="*/ 789 h 2085"/>
                  <a:gd name="T12" fmla="*/ 2372 w 3007"/>
                  <a:gd name="T13" fmla="*/ 849 h 2085"/>
                  <a:gd name="T14" fmla="*/ 2551 w 3007"/>
                  <a:gd name="T15" fmla="*/ 920 h 2085"/>
                  <a:gd name="T16" fmla="*/ 2638 w 3007"/>
                  <a:gd name="T17" fmla="*/ 980 h 2085"/>
                  <a:gd name="T18" fmla="*/ 2676 w 3007"/>
                  <a:gd name="T19" fmla="*/ 1029 h 2085"/>
                  <a:gd name="T20" fmla="*/ 2681 w 3007"/>
                  <a:gd name="T21" fmla="*/ 1083 h 2085"/>
                  <a:gd name="T22" fmla="*/ 2665 w 3007"/>
                  <a:gd name="T23" fmla="*/ 1127 h 2085"/>
                  <a:gd name="T24" fmla="*/ 2616 w 3007"/>
                  <a:gd name="T25" fmla="*/ 1170 h 2085"/>
                  <a:gd name="T26" fmla="*/ 2545 w 3007"/>
                  <a:gd name="T27" fmla="*/ 1208 h 2085"/>
                  <a:gd name="T28" fmla="*/ 2448 w 3007"/>
                  <a:gd name="T29" fmla="*/ 1241 h 2085"/>
                  <a:gd name="T30" fmla="*/ 2328 w 3007"/>
                  <a:gd name="T31" fmla="*/ 1274 h 2085"/>
                  <a:gd name="T32" fmla="*/ 2106 w 3007"/>
                  <a:gd name="T33" fmla="*/ 1328 h 2085"/>
                  <a:gd name="T34" fmla="*/ 1742 w 3007"/>
                  <a:gd name="T35" fmla="*/ 1421 h 2085"/>
                  <a:gd name="T36" fmla="*/ 1308 w 3007"/>
                  <a:gd name="T37" fmla="*/ 1540 h 2085"/>
                  <a:gd name="T38" fmla="*/ 820 w 3007"/>
                  <a:gd name="T39" fmla="*/ 1709 h 2085"/>
                  <a:gd name="T40" fmla="*/ 282 w 3007"/>
                  <a:gd name="T41" fmla="*/ 1943 h 2085"/>
                  <a:gd name="T42" fmla="*/ 152 w 3007"/>
                  <a:gd name="T43" fmla="*/ 2085 h 2085"/>
                  <a:gd name="T44" fmla="*/ 386 w 3007"/>
                  <a:gd name="T45" fmla="*/ 1992 h 2085"/>
                  <a:gd name="T46" fmla="*/ 700 w 3007"/>
                  <a:gd name="T47" fmla="*/ 1834 h 2085"/>
                  <a:gd name="T48" fmla="*/ 1064 w 3007"/>
                  <a:gd name="T49" fmla="*/ 1693 h 2085"/>
                  <a:gd name="T50" fmla="*/ 1661 w 3007"/>
                  <a:gd name="T51" fmla="*/ 1497 h 2085"/>
                  <a:gd name="T52" fmla="*/ 1845 w 3007"/>
                  <a:gd name="T53" fmla="*/ 1442 h 2085"/>
                  <a:gd name="T54" fmla="*/ 2252 w 3007"/>
                  <a:gd name="T55" fmla="*/ 1339 h 2085"/>
                  <a:gd name="T56" fmla="*/ 2551 w 3007"/>
                  <a:gd name="T57" fmla="*/ 1263 h 2085"/>
                  <a:gd name="T58" fmla="*/ 2730 w 3007"/>
                  <a:gd name="T59" fmla="*/ 1214 h 2085"/>
                  <a:gd name="T60" fmla="*/ 2876 w 3007"/>
                  <a:gd name="T61" fmla="*/ 1170 h 2085"/>
                  <a:gd name="T62" fmla="*/ 2974 w 3007"/>
                  <a:gd name="T63" fmla="*/ 1132 h 2085"/>
                  <a:gd name="T64" fmla="*/ 3007 w 3007"/>
                  <a:gd name="T65" fmla="*/ 871 h 2085"/>
                  <a:gd name="T66" fmla="*/ 2860 w 3007"/>
                  <a:gd name="T67" fmla="*/ 844 h 2085"/>
                  <a:gd name="T68" fmla="*/ 2670 w 3007"/>
                  <a:gd name="T69" fmla="*/ 806 h 2085"/>
                  <a:gd name="T70" fmla="*/ 2458 w 3007"/>
                  <a:gd name="T71" fmla="*/ 757 h 2085"/>
                  <a:gd name="T72" fmla="*/ 2138 w 3007"/>
                  <a:gd name="T73" fmla="*/ 670 h 2085"/>
                  <a:gd name="T74" fmla="*/ 1959 w 3007"/>
                  <a:gd name="T75" fmla="*/ 604 h 2085"/>
                  <a:gd name="T76" fmla="*/ 1824 w 3007"/>
                  <a:gd name="T77" fmla="*/ 534 h 2085"/>
                  <a:gd name="T78" fmla="*/ 1769 w 3007"/>
                  <a:gd name="T79" fmla="*/ 474 h 2085"/>
                  <a:gd name="T80" fmla="*/ 1753 w 3007"/>
                  <a:gd name="T81" fmla="*/ 436 h 2085"/>
                  <a:gd name="T82" fmla="*/ 1780 w 3007"/>
                  <a:gd name="T83" fmla="*/ 381 h 2085"/>
                  <a:gd name="T84" fmla="*/ 1862 w 3007"/>
                  <a:gd name="T85" fmla="*/ 316 h 2085"/>
                  <a:gd name="T86" fmla="*/ 1986 w 3007"/>
                  <a:gd name="T87" fmla="*/ 267 h 2085"/>
                  <a:gd name="T88" fmla="*/ 2149 w 3007"/>
                  <a:gd name="T89" fmla="*/ 229 h 2085"/>
                  <a:gd name="T90" fmla="*/ 2431 w 3007"/>
                  <a:gd name="T91" fmla="*/ 180 h 2085"/>
                  <a:gd name="T92" fmla="*/ 2827 w 3007"/>
                  <a:gd name="T93" fmla="*/ 125 h 2085"/>
                  <a:gd name="T94" fmla="*/ 3007 w 3007"/>
                  <a:gd name="T95" fmla="*/ 87 h 2085"/>
                  <a:gd name="T96" fmla="*/ 2909 w 3007"/>
                  <a:gd name="T97" fmla="*/ 22 h 2085"/>
                  <a:gd name="T98" fmla="*/ 2676 w 3007"/>
                  <a:gd name="T99" fmla="*/ 66 h 2085"/>
                  <a:gd name="T100" fmla="*/ 2285 w 3007"/>
                  <a:gd name="T101" fmla="*/ 120 h 2085"/>
                  <a:gd name="T102" fmla="*/ 2030 w 3007"/>
                  <a:gd name="T103" fmla="*/ 158 h 2085"/>
                  <a:gd name="T104" fmla="*/ 1791 w 3007"/>
                  <a:gd name="T105" fmla="*/ 202 h 2085"/>
                  <a:gd name="T106" fmla="*/ 1601 w 3007"/>
                  <a:gd name="T107" fmla="*/ 261 h 2085"/>
                  <a:gd name="T108" fmla="*/ 1471 w 3007"/>
                  <a:gd name="T109" fmla="*/ 338 h 2085"/>
                  <a:gd name="T110" fmla="*/ 1438 w 3007"/>
                  <a:gd name="T111" fmla="*/ 387 h 2085"/>
                  <a:gd name="T112" fmla="*/ 1427 w 3007"/>
                  <a:gd name="T113" fmla="*/ 441 h 2085"/>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3007" h="2085">
                    <a:moveTo>
                      <a:pt x="1427" y="441"/>
                    </a:moveTo>
                    <a:lnTo>
                      <a:pt x="1433" y="474"/>
                    </a:lnTo>
                    <a:lnTo>
                      <a:pt x="1444" y="501"/>
                    </a:lnTo>
                    <a:lnTo>
                      <a:pt x="1460" y="528"/>
                    </a:lnTo>
                    <a:lnTo>
                      <a:pt x="1482" y="550"/>
                    </a:lnTo>
                    <a:lnTo>
                      <a:pt x="1541" y="593"/>
                    </a:lnTo>
                    <a:lnTo>
                      <a:pt x="1623" y="637"/>
                    </a:lnTo>
                    <a:lnTo>
                      <a:pt x="1715" y="670"/>
                    </a:lnTo>
                    <a:lnTo>
                      <a:pt x="1818" y="702"/>
                    </a:lnTo>
                    <a:lnTo>
                      <a:pt x="1927" y="735"/>
                    </a:lnTo>
                    <a:lnTo>
                      <a:pt x="2041" y="762"/>
                    </a:lnTo>
                    <a:lnTo>
                      <a:pt x="2155" y="789"/>
                    </a:lnTo>
                    <a:lnTo>
                      <a:pt x="2269" y="822"/>
                    </a:lnTo>
                    <a:lnTo>
                      <a:pt x="2372" y="849"/>
                    </a:lnTo>
                    <a:lnTo>
                      <a:pt x="2464" y="882"/>
                    </a:lnTo>
                    <a:lnTo>
                      <a:pt x="2551" y="920"/>
                    </a:lnTo>
                    <a:lnTo>
                      <a:pt x="2616" y="958"/>
                    </a:lnTo>
                    <a:lnTo>
                      <a:pt x="2638" y="980"/>
                    </a:lnTo>
                    <a:lnTo>
                      <a:pt x="2659" y="1007"/>
                    </a:lnTo>
                    <a:lnTo>
                      <a:pt x="2676" y="1029"/>
                    </a:lnTo>
                    <a:lnTo>
                      <a:pt x="2681" y="1056"/>
                    </a:lnTo>
                    <a:lnTo>
                      <a:pt x="2681" y="1083"/>
                    </a:lnTo>
                    <a:lnTo>
                      <a:pt x="2676" y="1105"/>
                    </a:lnTo>
                    <a:lnTo>
                      <a:pt x="2665" y="1127"/>
                    </a:lnTo>
                    <a:lnTo>
                      <a:pt x="2643" y="1149"/>
                    </a:lnTo>
                    <a:lnTo>
                      <a:pt x="2616" y="1170"/>
                    </a:lnTo>
                    <a:lnTo>
                      <a:pt x="2583" y="1187"/>
                    </a:lnTo>
                    <a:lnTo>
                      <a:pt x="2545" y="1208"/>
                    </a:lnTo>
                    <a:lnTo>
                      <a:pt x="2502" y="1225"/>
                    </a:lnTo>
                    <a:lnTo>
                      <a:pt x="2448" y="1241"/>
                    </a:lnTo>
                    <a:lnTo>
                      <a:pt x="2388" y="1257"/>
                    </a:lnTo>
                    <a:lnTo>
                      <a:pt x="2328" y="1274"/>
                    </a:lnTo>
                    <a:lnTo>
                      <a:pt x="2258" y="1290"/>
                    </a:lnTo>
                    <a:lnTo>
                      <a:pt x="2106" y="1328"/>
                    </a:lnTo>
                    <a:lnTo>
                      <a:pt x="1932" y="1372"/>
                    </a:lnTo>
                    <a:lnTo>
                      <a:pt x="1742" y="1421"/>
                    </a:lnTo>
                    <a:lnTo>
                      <a:pt x="1531" y="1475"/>
                    </a:lnTo>
                    <a:lnTo>
                      <a:pt x="1308" y="1540"/>
                    </a:lnTo>
                    <a:lnTo>
                      <a:pt x="1069" y="1617"/>
                    </a:lnTo>
                    <a:lnTo>
                      <a:pt x="820" y="1709"/>
                    </a:lnTo>
                    <a:lnTo>
                      <a:pt x="554" y="1818"/>
                    </a:lnTo>
                    <a:lnTo>
                      <a:pt x="282" y="1943"/>
                    </a:lnTo>
                    <a:lnTo>
                      <a:pt x="0" y="2085"/>
                    </a:lnTo>
                    <a:lnTo>
                      <a:pt x="152" y="2085"/>
                    </a:lnTo>
                    <a:lnTo>
                      <a:pt x="244" y="2074"/>
                    </a:lnTo>
                    <a:lnTo>
                      <a:pt x="386" y="1992"/>
                    </a:lnTo>
                    <a:lnTo>
                      <a:pt x="537" y="1910"/>
                    </a:lnTo>
                    <a:lnTo>
                      <a:pt x="700" y="1834"/>
                    </a:lnTo>
                    <a:lnTo>
                      <a:pt x="879" y="1763"/>
                    </a:lnTo>
                    <a:lnTo>
                      <a:pt x="1064" y="1693"/>
                    </a:lnTo>
                    <a:lnTo>
                      <a:pt x="1259" y="1622"/>
                    </a:lnTo>
                    <a:lnTo>
                      <a:pt x="1661" y="1497"/>
                    </a:lnTo>
                    <a:lnTo>
                      <a:pt x="1748" y="1470"/>
                    </a:lnTo>
                    <a:lnTo>
                      <a:pt x="1845" y="1442"/>
                    </a:lnTo>
                    <a:lnTo>
                      <a:pt x="2046" y="1393"/>
                    </a:lnTo>
                    <a:lnTo>
                      <a:pt x="2252" y="1339"/>
                    </a:lnTo>
                    <a:lnTo>
                      <a:pt x="2458" y="1285"/>
                    </a:lnTo>
                    <a:lnTo>
                      <a:pt x="2551" y="1263"/>
                    </a:lnTo>
                    <a:lnTo>
                      <a:pt x="2643" y="1236"/>
                    </a:lnTo>
                    <a:lnTo>
                      <a:pt x="2730" y="1214"/>
                    </a:lnTo>
                    <a:lnTo>
                      <a:pt x="2806" y="1192"/>
                    </a:lnTo>
                    <a:lnTo>
                      <a:pt x="2876" y="1170"/>
                    </a:lnTo>
                    <a:lnTo>
                      <a:pt x="2931" y="1149"/>
                    </a:lnTo>
                    <a:lnTo>
                      <a:pt x="2974" y="1132"/>
                    </a:lnTo>
                    <a:lnTo>
                      <a:pt x="3007" y="1116"/>
                    </a:lnTo>
                    <a:lnTo>
                      <a:pt x="3007" y="871"/>
                    </a:lnTo>
                    <a:lnTo>
                      <a:pt x="2941" y="860"/>
                    </a:lnTo>
                    <a:lnTo>
                      <a:pt x="2860" y="844"/>
                    </a:lnTo>
                    <a:lnTo>
                      <a:pt x="2773" y="827"/>
                    </a:lnTo>
                    <a:lnTo>
                      <a:pt x="2670" y="806"/>
                    </a:lnTo>
                    <a:lnTo>
                      <a:pt x="2567" y="784"/>
                    </a:lnTo>
                    <a:lnTo>
                      <a:pt x="2458" y="757"/>
                    </a:lnTo>
                    <a:lnTo>
                      <a:pt x="2241" y="702"/>
                    </a:lnTo>
                    <a:lnTo>
                      <a:pt x="2138" y="670"/>
                    </a:lnTo>
                    <a:lnTo>
                      <a:pt x="2046" y="637"/>
                    </a:lnTo>
                    <a:lnTo>
                      <a:pt x="1959" y="604"/>
                    </a:lnTo>
                    <a:lnTo>
                      <a:pt x="1883" y="566"/>
                    </a:lnTo>
                    <a:lnTo>
                      <a:pt x="1824" y="534"/>
                    </a:lnTo>
                    <a:lnTo>
                      <a:pt x="1780" y="495"/>
                    </a:lnTo>
                    <a:lnTo>
                      <a:pt x="1769" y="474"/>
                    </a:lnTo>
                    <a:lnTo>
                      <a:pt x="1758" y="457"/>
                    </a:lnTo>
                    <a:lnTo>
                      <a:pt x="1753" y="436"/>
                    </a:lnTo>
                    <a:lnTo>
                      <a:pt x="1758" y="419"/>
                    </a:lnTo>
                    <a:lnTo>
                      <a:pt x="1780" y="381"/>
                    </a:lnTo>
                    <a:lnTo>
                      <a:pt x="1813" y="343"/>
                    </a:lnTo>
                    <a:lnTo>
                      <a:pt x="1862" y="316"/>
                    </a:lnTo>
                    <a:lnTo>
                      <a:pt x="1921" y="289"/>
                    </a:lnTo>
                    <a:lnTo>
                      <a:pt x="1986" y="267"/>
                    </a:lnTo>
                    <a:lnTo>
                      <a:pt x="2062" y="245"/>
                    </a:lnTo>
                    <a:lnTo>
                      <a:pt x="2149" y="229"/>
                    </a:lnTo>
                    <a:lnTo>
                      <a:pt x="2236" y="213"/>
                    </a:lnTo>
                    <a:lnTo>
                      <a:pt x="2431" y="180"/>
                    </a:lnTo>
                    <a:lnTo>
                      <a:pt x="2627" y="158"/>
                    </a:lnTo>
                    <a:lnTo>
                      <a:pt x="2827" y="125"/>
                    </a:lnTo>
                    <a:lnTo>
                      <a:pt x="2920" y="109"/>
                    </a:lnTo>
                    <a:lnTo>
                      <a:pt x="3007" y="87"/>
                    </a:lnTo>
                    <a:lnTo>
                      <a:pt x="3007" y="0"/>
                    </a:lnTo>
                    <a:lnTo>
                      <a:pt x="2909" y="22"/>
                    </a:lnTo>
                    <a:lnTo>
                      <a:pt x="2795" y="44"/>
                    </a:lnTo>
                    <a:lnTo>
                      <a:pt x="2676" y="66"/>
                    </a:lnTo>
                    <a:lnTo>
                      <a:pt x="2551" y="82"/>
                    </a:lnTo>
                    <a:lnTo>
                      <a:pt x="2285" y="120"/>
                    </a:lnTo>
                    <a:lnTo>
                      <a:pt x="2155" y="136"/>
                    </a:lnTo>
                    <a:lnTo>
                      <a:pt x="2030" y="158"/>
                    </a:lnTo>
                    <a:lnTo>
                      <a:pt x="1905" y="174"/>
                    </a:lnTo>
                    <a:lnTo>
                      <a:pt x="1791" y="202"/>
                    </a:lnTo>
                    <a:lnTo>
                      <a:pt x="1688" y="229"/>
                    </a:lnTo>
                    <a:lnTo>
                      <a:pt x="1601" y="261"/>
                    </a:lnTo>
                    <a:lnTo>
                      <a:pt x="1525" y="300"/>
                    </a:lnTo>
                    <a:lnTo>
                      <a:pt x="1471" y="338"/>
                    </a:lnTo>
                    <a:lnTo>
                      <a:pt x="1455" y="359"/>
                    </a:lnTo>
                    <a:lnTo>
                      <a:pt x="1438" y="387"/>
                    </a:lnTo>
                    <a:lnTo>
                      <a:pt x="1427" y="414"/>
                    </a:lnTo>
                    <a:lnTo>
                      <a:pt x="1427" y="44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800"/>
              </a:p>
            </p:txBody>
          </p:sp>
          <p:sp>
            <p:nvSpPr>
              <p:cNvPr id="4106" name="Freeform 10">
                <a:extLst>
                  <a:ext uri="{FF2B5EF4-FFF2-40B4-BE49-F238E27FC236}">
                    <a16:creationId xmlns:a16="http://schemas.microsoft.com/office/drawing/2014/main" id="{A111FCFF-069F-43BE-AC24-03A400A38E6F}"/>
                  </a:ext>
                </a:extLst>
              </p:cNvPr>
              <p:cNvSpPr>
                <a:spLocks/>
              </p:cNvSpPr>
              <p:nvPr/>
            </p:nvSpPr>
            <p:spPr bwMode="hidden">
              <a:xfrm>
                <a:off x="4501" y="2317"/>
                <a:ext cx="1248" cy="539"/>
              </a:xfrm>
              <a:custGeom>
                <a:avLst/>
                <a:gdLst/>
                <a:ahLst/>
                <a:cxnLst>
                  <a:cxn ang="0">
                    <a:pos x="0" y="332"/>
                  </a:cxn>
                  <a:cxn ang="0">
                    <a:pos x="0" y="360"/>
                  </a:cxn>
                  <a:cxn ang="0">
                    <a:pos x="5" y="387"/>
                  </a:cxn>
                  <a:cxn ang="0">
                    <a:pos x="27" y="414"/>
                  </a:cxn>
                  <a:cxn ang="0">
                    <a:pos x="54" y="436"/>
                  </a:cxn>
                  <a:cxn ang="0">
                    <a:pos x="92" y="463"/>
                  </a:cxn>
                  <a:cxn ang="0">
                    <a:pos x="141" y="490"/>
                  </a:cxn>
                  <a:cxn ang="0">
                    <a:pos x="195" y="512"/>
                  </a:cxn>
                  <a:cxn ang="0">
                    <a:pos x="255" y="539"/>
                  </a:cxn>
                  <a:cxn ang="0">
                    <a:pos x="212" y="517"/>
                  </a:cxn>
                  <a:cxn ang="0">
                    <a:pos x="179" y="490"/>
                  </a:cxn>
                  <a:cxn ang="0">
                    <a:pos x="157" y="468"/>
                  </a:cxn>
                  <a:cxn ang="0">
                    <a:pos x="141" y="447"/>
                  </a:cxn>
                  <a:cxn ang="0">
                    <a:pos x="136" y="425"/>
                  </a:cxn>
                  <a:cxn ang="0">
                    <a:pos x="136" y="403"/>
                  </a:cxn>
                  <a:cxn ang="0">
                    <a:pos x="141" y="381"/>
                  </a:cxn>
                  <a:cxn ang="0">
                    <a:pos x="157" y="365"/>
                  </a:cxn>
                  <a:cxn ang="0">
                    <a:pos x="179" y="343"/>
                  </a:cxn>
                  <a:cxn ang="0">
                    <a:pos x="201" y="327"/>
                  </a:cxn>
                  <a:cxn ang="0">
                    <a:pos x="266" y="294"/>
                  </a:cxn>
                  <a:cxn ang="0">
                    <a:pos x="353" y="262"/>
                  </a:cxn>
                  <a:cxn ang="0">
                    <a:pos x="445" y="234"/>
                  </a:cxn>
                  <a:cxn ang="0">
                    <a:pos x="554" y="213"/>
                  </a:cxn>
                  <a:cxn ang="0">
                    <a:pos x="662" y="191"/>
                  </a:cxn>
                  <a:cxn ang="0">
                    <a:pos x="890" y="153"/>
                  </a:cxn>
                  <a:cxn ang="0">
                    <a:pos x="993" y="136"/>
                  </a:cxn>
                  <a:cxn ang="0">
                    <a:pos x="1091" y="120"/>
                  </a:cxn>
                  <a:cxn ang="0">
                    <a:pos x="1178" y="115"/>
                  </a:cxn>
                  <a:cxn ang="0">
                    <a:pos x="1248" y="104"/>
                  </a:cxn>
                  <a:cxn ang="0">
                    <a:pos x="1248" y="0"/>
                  </a:cxn>
                  <a:cxn ang="0">
                    <a:pos x="1161" y="22"/>
                  </a:cxn>
                  <a:cxn ang="0">
                    <a:pos x="1069" y="38"/>
                  </a:cxn>
                  <a:cxn ang="0">
                    <a:pos x="874" y="71"/>
                  </a:cxn>
                  <a:cxn ang="0">
                    <a:pos x="673" y="93"/>
                  </a:cxn>
                  <a:cxn ang="0">
                    <a:pos x="483" y="126"/>
                  </a:cxn>
                  <a:cxn ang="0">
                    <a:pos x="391" y="142"/>
                  </a:cxn>
                  <a:cxn ang="0">
                    <a:pos x="309" y="158"/>
                  </a:cxn>
                  <a:cxn ang="0">
                    <a:pos x="228" y="180"/>
                  </a:cxn>
                  <a:cxn ang="0">
                    <a:pos x="163" y="202"/>
                  </a:cxn>
                  <a:cxn ang="0">
                    <a:pos x="103" y="229"/>
                  </a:cxn>
                  <a:cxn ang="0">
                    <a:pos x="54" y="256"/>
                  </a:cxn>
                  <a:cxn ang="0">
                    <a:pos x="22" y="294"/>
                  </a:cxn>
                  <a:cxn ang="0">
                    <a:pos x="0" y="332"/>
                  </a:cxn>
                  <a:cxn ang="0">
                    <a:pos x="0" y="332"/>
                  </a:cxn>
                </a:cxnLst>
                <a:rect l="0" t="0" r="r" b="b"/>
                <a:pathLst>
                  <a:path w="1248" h="539">
                    <a:moveTo>
                      <a:pt x="0" y="332"/>
                    </a:moveTo>
                    <a:lnTo>
                      <a:pt x="0" y="360"/>
                    </a:lnTo>
                    <a:lnTo>
                      <a:pt x="5" y="387"/>
                    </a:lnTo>
                    <a:lnTo>
                      <a:pt x="27" y="414"/>
                    </a:lnTo>
                    <a:lnTo>
                      <a:pt x="54" y="436"/>
                    </a:lnTo>
                    <a:lnTo>
                      <a:pt x="92" y="463"/>
                    </a:lnTo>
                    <a:lnTo>
                      <a:pt x="141" y="490"/>
                    </a:lnTo>
                    <a:lnTo>
                      <a:pt x="195" y="512"/>
                    </a:lnTo>
                    <a:lnTo>
                      <a:pt x="255" y="539"/>
                    </a:lnTo>
                    <a:lnTo>
                      <a:pt x="212" y="517"/>
                    </a:lnTo>
                    <a:lnTo>
                      <a:pt x="179" y="490"/>
                    </a:lnTo>
                    <a:lnTo>
                      <a:pt x="157" y="468"/>
                    </a:lnTo>
                    <a:lnTo>
                      <a:pt x="141" y="447"/>
                    </a:lnTo>
                    <a:lnTo>
                      <a:pt x="136" y="425"/>
                    </a:lnTo>
                    <a:lnTo>
                      <a:pt x="136" y="403"/>
                    </a:lnTo>
                    <a:lnTo>
                      <a:pt x="141" y="381"/>
                    </a:lnTo>
                    <a:lnTo>
                      <a:pt x="157" y="365"/>
                    </a:lnTo>
                    <a:lnTo>
                      <a:pt x="179" y="343"/>
                    </a:lnTo>
                    <a:lnTo>
                      <a:pt x="201" y="327"/>
                    </a:lnTo>
                    <a:lnTo>
                      <a:pt x="266" y="294"/>
                    </a:lnTo>
                    <a:lnTo>
                      <a:pt x="353" y="262"/>
                    </a:lnTo>
                    <a:lnTo>
                      <a:pt x="445" y="234"/>
                    </a:lnTo>
                    <a:lnTo>
                      <a:pt x="554" y="213"/>
                    </a:lnTo>
                    <a:lnTo>
                      <a:pt x="662" y="191"/>
                    </a:lnTo>
                    <a:lnTo>
                      <a:pt x="890" y="153"/>
                    </a:lnTo>
                    <a:lnTo>
                      <a:pt x="993" y="136"/>
                    </a:lnTo>
                    <a:lnTo>
                      <a:pt x="1091" y="120"/>
                    </a:lnTo>
                    <a:lnTo>
                      <a:pt x="1178" y="115"/>
                    </a:lnTo>
                    <a:lnTo>
                      <a:pt x="1248" y="104"/>
                    </a:lnTo>
                    <a:lnTo>
                      <a:pt x="1248" y="0"/>
                    </a:lnTo>
                    <a:lnTo>
                      <a:pt x="1161" y="22"/>
                    </a:lnTo>
                    <a:lnTo>
                      <a:pt x="1069" y="38"/>
                    </a:lnTo>
                    <a:lnTo>
                      <a:pt x="874" y="71"/>
                    </a:lnTo>
                    <a:lnTo>
                      <a:pt x="673" y="93"/>
                    </a:lnTo>
                    <a:lnTo>
                      <a:pt x="483" y="126"/>
                    </a:lnTo>
                    <a:lnTo>
                      <a:pt x="391" y="142"/>
                    </a:lnTo>
                    <a:lnTo>
                      <a:pt x="309" y="158"/>
                    </a:lnTo>
                    <a:lnTo>
                      <a:pt x="228" y="180"/>
                    </a:lnTo>
                    <a:lnTo>
                      <a:pt x="163" y="202"/>
                    </a:lnTo>
                    <a:lnTo>
                      <a:pt x="103" y="229"/>
                    </a:lnTo>
                    <a:lnTo>
                      <a:pt x="54" y="256"/>
                    </a:lnTo>
                    <a:lnTo>
                      <a:pt x="22" y="294"/>
                    </a:lnTo>
                    <a:lnTo>
                      <a:pt x="0" y="332"/>
                    </a:lnTo>
                    <a:lnTo>
                      <a:pt x="0" y="332"/>
                    </a:lnTo>
                    <a:close/>
                  </a:path>
                </a:pathLst>
              </a:custGeom>
              <a:gradFill rotWithShape="0">
                <a:gsLst>
                  <a:gs pos="0">
                    <a:schemeClr val="bg1">
                      <a:gamma/>
                      <a:shade val="87843"/>
                      <a:invGamma/>
                    </a:schemeClr>
                  </a:gs>
                  <a:gs pos="100000">
                    <a:schemeClr val="bg1"/>
                  </a:gs>
                </a:gsLst>
                <a:lin ang="2700000" scaled="1"/>
              </a:gradFill>
              <a:ln w="9525">
                <a:noFill/>
                <a:round/>
                <a:headEnd/>
                <a:tailEnd/>
              </a:ln>
            </p:spPr>
            <p:txBody>
              <a:bodyPr/>
              <a:lstStyle/>
              <a:p>
                <a:pPr eaLnBrk="0" hangingPunct="0">
                  <a:defRPr/>
                </a:pPr>
                <a:endParaRPr lang="en-US" sz="1800">
                  <a:solidFill>
                    <a:srgbClr val="FFFFFF"/>
                  </a:solidFill>
                  <a:latin typeface="+mn-lt"/>
                  <a:cs typeface="+mn-cs"/>
                </a:endParaRPr>
              </a:p>
            </p:txBody>
          </p:sp>
        </p:grpSp>
        <p:sp>
          <p:nvSpPr>
            <p:cNvPr id="4107" name="Freeform 11">
              <a:extLst>
                <a:ext uri="{FF2B5EF4-FFF2-40B4-BE49-F238E27FC236}">
                  <a16:creationId xmlns:a16="http://schemas.microsoft.com/office/drawing/2014/main" id="{758D108C-310F-44FF-A5B9-D5CB5ACC5893}"/>
                </a:ext>
              </a:extLst>
            </p:cNvPr>
            <p:cNvSpPr>
              <a:spLocks/>
            </p:cNvSpPr>
            <p:nvPr/>
          </p:nvSpPr>
          <p:spPr bwMode="hidden">
            <a:xfrm>
              <a:off x="3322" y="1341"/>
              <a:ext cx="1825" cy="1537"/>
            </a:xfrm>
            <a:custGeom>
              <a:avLst/>
              <a:gdLst/>
              <a:ahLst/>
              <a:cxnLst>
                <a:cxn ang="0">
                  <a:pos x="982" y="1061"/>
                </a:cxn>
                <a:cxn ang="0">
                  <a:pos x="1357" y="1012"/>
                </a:cxn>
                <a:cxn ang="0">
                  <a:pos x="1666" y="957"/>
                </a:cxn>
                <a:cxn ang="0">
                  <a:pos x="1916" y="897"/>
                </a:cxn>
                <a:cxn ang="0">
                  <a:pos x="2100" y="832"/>
                </a:cxn>
                <a:cxn ang="0">
                  <a:pos x="2220" y="756"/>
                </a:cxn>
                <a:cxn ang="0">
                  <a:pos x="2285" y="669"/>
                </a:cxn>
                <a:cxn ang="0">
                  <a:pos x="2290" y="560"/>
                </a:cxn>
                <a:cxn ang="0">
                  <a:pos x="2241" y="457"/>
                </a:cxn>
                <a:cxn ang="0">
                  <a:pos x="2144" y="364"/>
                </a:cxn>
                <a:cxn ang="0">
                  <a:pos x="2008" y="277"/>
                </a:cxn>
                <a:cxn ang="0">
                  <a:pos x="1769" y="157"/>
                </a:cxn>
                <a:cxn ang="0">
                  <a:pos x="1612" y="92"/>
                </a:cxn>
                <a:cxn ang="0">
                  <a:pos x="1476" y="43"/>
                </a:cxn>
                <a:cxn ang="0">
                  <a:pos x="1384" y="10"/>
                </a:cxn>
                <a:cxn ang="0">
                  <a:pos x="1346" y="0"/>
                </a:cxn>
                <a:cxn ang="0">
                  <a:pos x="1655" y="119"/>
                </a:cxn>
                <a:cxn ang="0">
                  <a:pos x="1948" y="255"/>
                </a:cxn>
                <a:cxn ang="0">
                  <a:pos x="2068" y="326"/>
                </a:cxn>
                <a:cxn ang="0">
                  <a:pos x="2171" y="402"/>
                </a:cxn>
                <a:cxn ang="0">
                  <a:pos x="2236" y="478"/>
                </a:cxn>
                <a:cxn ang="0">
                  <a:pos x="2263" y="560"/>
                </a:cxn>
                <a:cxn ang="0">
                  <a:pos x="2241" y="636"/>
                </a:cxn>
                <a:cxn ang="0">
                  <a:pos x="2171" y="702"/>
                </a:cxn>
                <a:cxn ang="0">
                  <a:pos x="2062" y="756"/>
                </a:cxn>
                <a:cxn ang="0">
                  <a:pos x="1921" y="800"/>
                </a:cxn>
                <a:cxn ang="0">
                  <a:pos x="1748" y="843"/>
                </a:cxn>
                <a:cxn ang="0">
                  <a:pos x="1351" y="908"/>
                </a:cxn>
                <a:cxn ang="0">
                  <a:pos x="923" y="968"/>
                </a:cxn>
                <a:cxn ang="0">
                  <a:pos x="521" y="1028"/>
                </a:cxn>
                <a:cxn ang="0">
                  <a:pos x="353" y="1066"/>
                </a:cxn>
                <a:cxn ang="0">
                  <a:pos x="206" y="1104"/>
                </a:cxn>
                <a:cxn ang="0">
                  <a:pos x="92" y="1148"/>
                </a:cxn>
                <a:cxn ang="0">
                  <a:pos x="22" y="1202"/>
                </a:cxn>
                <a:cxn ang="0">
                  <a:pos x="0" y="1262"/>
                </a:cxn>
                <a:cxn ang="0">
                  <a:pos x="27" y="1327"/>
                </a:cxn>
                <a:cxn ang="0">
                  <a:pos x="98" y="1382"/>
                </a:cxn>
                <a:cxn ang="0">
                  <a:pos x="196" y="1425"/>
                </a:cxn>
                <a:cxn ang="0">
                  <a:pos x="326" y="1469"/>
                </a:cxn>
                <a:cxn ang="0">
                  <a:pos x="217" y="1414"/>
                </a:cxn>
                <a:cxn ang="0">
                  <a:pos x="147" y="1360"/>
                </a:cxn>
                <a:cxn ang="0">
                  <a:pos x="120" y="1306"/>
                </a:cxn>
                <a:cxn ang="0">
                  <a:pos x="141" y="1257"/>
                </a:cxn>
                <a:cxn ang="0">
                  <a:pos x="212" y="1208"/>
                </a:cxn>
                <a:cxn ang="0">
                  <a:pos x="342" y="1164"/>
                </a:cxn>
                <a:cxn ang="0">
                  <a:pos x="527" y="1121"/>
                </a:cxn>
                <a:cxn ang="0">
                  <a:pos x="771" y="1088"/>
                </a:cxn>
              </a:cxnLst>
              <a:rect l="0" t="0" r="r" b="b"/>
              <a:pathLst>
                <a:path w="2296" h="1469">
                  <a:moveTo>
                    <a:pt x="771" y="1088"/>
                  </a:moveTo>
                  <a:lnTo>
                    <a:pt x="982" y="1061"/>
                  </a:lnTo>
                  <a:lnTo>
                    <a:pt x="1178" y="1034"/>
                  </a:lnTo>
                  <a:lnTo>
                    <a:pt x="1357" y="1012"/>
                  </a:lnTo>
                  <a:lnTo>
                    <a:pt x="1520" y="985"/>
                  </a:lnTo>
                  <a:lnTo>
                    <a:pt x="1666" y="957"/>
                  </a:lnTo>
                  <a:lnTo>
                    <a:pt x="1796" y="930"/>
                  </a:lnTo>
                  <a:lnTo>
                    <a:pt x="1916" y="897"/>
                  </a:lnTo>
                  <a:lnTo>
                    <a:pt x="2013" y="870"/>
                  </a:lnTo>
                  <a:lnTo>
                    <a:pt x="2100" y="832"/>
                  </a:lnTo>
                  <a:lnTo>
                    <a:pt x="2171" y="800"/>
                  </a:lnTo>
                  <a:lnTo>
                    <a:pt x="2220" y="756"/>
                  </a:lnTo>
                  <a:lnTo>
                    <a:pt x="2263" y="712"/>
                  </a:lnTo>
                  <a:lnTo>
                    <a:pt x="2285" y="669"/>
                  </a:lnTo>
                  <a:lnTo>
                    <a:pt x="2296" y="614"/>
                  </a:lnTo>
                  <a:lnTo>
                    <a:pt x="2290" y="560"/>
                  </a:lnTo>
                  <a:lnTo>
                    <a:pt x="2269" y="500"/>
                  </a:lnTo>
                  <a:lnTo>
                    <a:pt x="2241" y="457"/>
                  </a:lnTo>
                  <a:lnTo>
                    <a:pt x="2198" y="408"/>
                  </a:lnTo>
                  <a:lnTo>
                    <a:pt x="2144" y="364"/>
                  </a:lnTo>
                  <a:lnTo>
                    <a:pt x="2079" y="321"/>
                  </a:lnTo>
                  <a:lnTo>
                    <a:pt x="2008" y="277"/>
                  </a:lnTo>
                  <a:lnTo>
                    <a:pt x="1927" y="234"/>
                  </a:lnTo>
                  <a:lnTo>
                    <a:pt x="1769" y="157"/>
                  </a:lnTo>
                  <a:lnTo>
                    <a:pt x="1688" y="125"/>
                  </a:lnTo>
                  <a:lnTo>
                    <a:pt x="1612" y="92"/>
                  </a:lnTo>
                  <a:lnTo>
                    <a:pt x="1536" y="65"/>
                  </a:lnTo>
                  <a:lnTo>
                    <a:pt x="1476" y="43"/>
                  </a:lnTo>
                  <a:lnTo>
                    <a:pt x="1422" y="27"/>
                  </a:lnTo>
                  <a:lnTo>
                    <a:pt x="1384" y="10"/>
                  </a:lnTo>
                  <a:lnTo>
                    <a:pt x="1357" y="5"/>
                  </a:lnTo>
                  <a:lnTo>
                    <a:pt x="1346" y="0"/>
                  </a:lnTo>
                  <a:lnTo>
                    <a:pt x="1498" y="54"/>
                  </a:lnTo>
                  <a:lnTo>
                    <a:pt x="1655" y="119"/>
                  </a:lnTo>
                  <a:lnTo>
                    <a:pt x="1807" y="185"/>
                  </a:lnTo>
                  <a:lnTo>
                    <a:pt x="1948" y="255"/>
                  </a:lnTo>
                  <a:lnTo>
                    <a:pt x="2013" y="288"/>
                  </a:lnTo>
                  <a:lnTo>
                    <a:pt x="2068" y="326"/>
                  </a:lnTo>
                  <a:lnTo>
                    <a:pt x="2122" y="364"/>
                  </a:lnTo>
                  <a:lnTo>
                    <a:pt x="2171" y="402"/>
                  </a:lnTo>
                  <a:lnTo>
                    <a:pt x="2209" y="440"/>
                  </a:lnTo>
                  <a:lnTo>
                    <a:pt x="2236" y="478"/>
                  </a:lnTo>
                  <a:lnTo>
                    <a:pt x="2252" y="522"/>
                  </a:lnTo>
                  <a:lnTo>
                    <a:pt x="2263" y="560"/>
                  </a:lnTo>
                  <a:lnTo>
                    <a:pt x="2258" y="598"/>
                  </a:lnTo>
                  <a:lnTo>
                    <a:pt x="2241" y="636"/>
                  </a:lnTo>
                  <a:lnTo>
                    <a:pt x="2214" y="669"/>
                  </a:lnTo>
                  <a:lnTo>
                    <a:pt x="2171" y="702"/>
                  </a:lnTo>
                  <a:lnTo>
                    <a:pt x="2122" y="729"/>
                  </a:lnTo>
                  <a:lnTo>
                    <a:pt x="2062" y="756"/>
                  </a:lnTo>
                  <a:lnTo>
                    <a:pt x="1997" y="778"/>
                  </a:lnTo>
                  <a:lnTo>
                    <a:pt x="1921" y="800"/>
                  </a:lnTo>
                  <a:lnTo>
                    <a:pt x="1834" y="821"/>
                  </a:lnTo>
                  <a:lnTo>
                    <a:pt x="1748" y="843"/>
                  </a:lnTo>
                  <a:lnTo>
                    <a:pt x="1552" y="876"/>
                  </a:lnTo>
                  <a:lnTo>
                    <a:pt x="1351" y="908"/>
                  </a:lnTo>
                  <a:lnTo>
                    <a:pt x="1134" y="941"/>
                  </a:lnTo>
                  <a:lnTo>
                    <a:pt x="923" y="968"/>
                  </a:lnTo>
                  <a:lnTo>
                    <a:pt x="716" y="995"/>
                  </a:lnTo>
                  <a:lnTo>
                    <a:pt x="521" y="1028"/>
                  </a:lnTo>
                  <a:lnTo>
                    <a:pt x="434" y="1044"/>
                  </a:lnTo>
                  <a:lnTo>
                    <a:pt x="353" y="1066"/>
                  </a:lnTo>
                  <a:lnTo>
                    <a:pt x="277" y="1082"/>
                  </a:lnTo>
                  <a:lnTo>
                    <a:pt x="206" y="1104"/>
                  </a:lnTo>
                  <a:lnTo>
                    <a:pt x="147" y="1126"/>
                  </a:lnTo>
                  <a:lnTo>
                    <a:pt x="92" y="1148"/>
                  </a:lnTo>
                  <a:lnTo>
                    <a:pt x="54" y="1175"/>
                  </a:lnTo>
                  <a:lnTo>
                    <a:pt x="22" y="1202"/>
                  </a:lnTo>
                  <a:lnTo>
                    <a:pt x="6" y="1229"/>
                  </a:lnTo>
                  <a:lnTo>
                    <a:pt x="0" y="1262"/>
                  </a:lnTo>
                  <a:lnTo>
                    <a:pt x="11" y="1295"/>
                  </a:lnTo>
                  <a:lnTo>
                    <a:pt x="27" y="1327"/>
                  </a:lnTo>
                  <a:lnTo>
                    <a:pt x="54" y="1355"/>
                  </a:lnTo>
                  <a:lnTo>
                    <a:pt x="98" y="1382"/>
                  </a:lnTo>
                  <a:lnTo>
                    <a:pt x="141" y="1404"/>
                  </a:lnTo>
                  <a:lnTo>
                    <a:pt x="196" y="1425"/>
                  </a:lnTo>
                  <a:lnTo>
                    <a:pt x="261" y="1447"/>
                  </a:lnTo>
                  <a:lnTo>
                    <a:pt x="326" y="1469"/>
                  </a:lnTo>
                  <a:lnTo>
                    <a:pt x="266" y="1442"/>
                  </a:lnTo>
                  <a:lnTo>
                    <a:pt x="217" y="1414"/>
                  </a:lnTo>
                  <a:lnTo>
                    <a:pt x="174" y="1387"/>
                  </a:lnTo>
                  <a:lnTo>
                    <a:pt x="147" y="1360"/>
                  </a:lnTo>
                  <a:lnTo>
                    <a:pt x="125" y="1333"/>
                  </a:lnTo>
                  <a:lnTo>
                    <a:pt x="120" y="1306"/>
                  </a:lnTo>
                  <a:lnTo>
                    <a:pt x="125" y="1278"/>
                  </a:lnTo>
                  <a:lnTo>
                    <a:pt x="141" y="1257"/>
                  </a:lnTo>
                  <a:lnTo>
                    <a:pt x="174" y="1229"/>
                  </a:lnTo>
                  <a:lnTo>
                    <a:pt x="212" y="1208"/>
                  </a:lnTo>
                  <a:lnTo>
                    <a:pt x="272" y="1186"/>
                  </a:lnTo>
                  <a:lnTo>
                    <a:pt x="342" y="1164"/>
                  </a:lnTo>
                  <a:lnTo>
                    <a:pt x="423" y="1142"/>
                  </a:lnTo>
                  <a:lnTo>
                    <a:pt x="527" y="1121"/>
                  </a:lnTo>
                  <a:lnTo>
                    <a:pt x="641" y="1104"/>
                  </a:lnTo>
                  <a:lnTo>
                    <a:pt x="771" y="1088"/>
                  </a:lnTo>
                  <a:lnTo>
                    <a:pt x="771" y="1088"/>
                  </a:lnTo>
                  <a:close/>
                </a:path>
              </a:pathLst>
            </a:custGeom>
            <a:gradFill rotWithShape="0">
              <a:gsLst>
                <a:gs pos="0">
                  <a:schemeClr val="bg1">
                    <a:gamma/>
                    <a:shade val="84706"/>
                    <a:invGamma/>
                  </a:schemeClr>
                </a:gs>
                <a:gs pos="100000">
                  <a:schemeClr val="bg1"/>
                </a:gs>
              </a:gsLst>
              <a:lin ang="2700000" scaled="1"/>
            </a:gradFill>
            <a:ln w="9525">
              <a:noFill/>
              <a:round/>
              <a:headEnd/>
              <a:tailEnd/>
            </a:ln>
          </p:spPr>
          <p:txBody>
            <a:bodyPr/>
            <a:lstStyle/>
            <a:p>
              <a:pPr eaLnBrk="0" hangingPunct="0">
                <a:defRPr/>
              </a:pPr>
              <a:endParaRPr lang="en-US" sz="1800">
                <a:solidFill>
                  <a:srgbClr val="FFFFFF"/>
                </a:solidFill>
                <a:latin typeface="+mn-lt"/>
                <a:cs typeface="+mn-cs"/>
              </a:endParaRPr>
            </a:p>
          </p:txBody>
        </p:sp>
        <p:sp>
          <p:nvSpPr>
            <p:cNvPr id="2061" name="Freeform 12">
              <a:extLst>
                <a:ext uri="{FF2B5EF4-FFF2-40B4-BE49-F238E27FC236}">
                  <a16:creationId xmlns:a16="http://schemas.microsoft.com/office/drawing/2014/main" id="{7E63F898-0281-4BC7-AF12-AB25B8CB5F2E}"/>
                </a:ext>
              </a:extLst>
            </p:cNvPr>
            <p:cNvSpPr>
              <a:spLocks/>
            </p:cNvSpPr>
            <p:nvPr/>
          </p:nvSpPr>
          <p:spPr bwMode="hidden">
            <a:xfrm>
              <a:off x="0" y="0"/>
              <a:ext cx="5758" cy="1776"/>
            </a:xfrm>
            <a:custGeom>
              <a:avLst/>
              <a:gdLst>
                <a:gd name="T0" fmla="*/ 0 w 5740"/>
                <a:gd name="T1" fmla="*/ 0 h 1906"/>
                <a:gd name="T2" fmla="*/ 0 w 5740"/>
                <a:gd name="T3" fmla="*/ 1776 h 1906"/>
                <a:gd name="T4" fmla="*/ 5758 w 5740"/>
                <a:gd name="T5" fmla="*/ 1776 h 1906"/>
                <a:gd name="T6" fmla="*/ 5758 w 5740"/>
                <a:gd name="T7" fmla="*/ 0 h 1906"/>
                <a:gd name="T8" fmla="*/ 0 w 5740"/>
                <a:gd name="T9" fmla="*/ 0 h 1906"/>
                <a:gd name="T10" fmla="*/ 0 w 5740"/>
                <a:gd name="T11" fmla="*/ 0 h 190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5740" h="1906">
                  <a:moveTo>
                    <a:pt x="0" y="0"/>
                  </a:moveTo>
                  <a:lnTo>
                    <a:pt x="0" y="1906"/>
                  </a:lnTo>
                  <a:lnTo>
                    <a:pt x="5740" y="1906"/>
                  </a:lnTo>
                  <a:lnTo>
                    <a:pt x="5740" y="0"/>
                  </a:lnTo>
                  <a:lnTo>
                    <a:pt x="0" y="0"/>
                  </a:lnTo>
                  <a:close/>
                </a:path>
              </a:pathLst>
            </a:custGeom>
            <a:gradFill rotWithShape="0">
              <a:gsLst>
                <a:gs pos="0">
                  <a:schemeClr val="bg2"/>
                </a:gs>
                <a:gs pos="100000">
                  <a:schemeClr val="bg1"/>
                </a:gs>
              </a:gsLst>
              <a:lin ang="54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800"/>
            </a:p>
          </p:txBody>
        </p:sp>
      </p:grpSp>
      <p:sp>
        <p:nvSpPr>
          <p:cNvPr id="4109" name="Rectangle 13">
            <a:extLst>
              <a:ext uri="{FF2B5EF4-FFF2-40B4-BE49-F238E27FC236}">
                <a16:creationId xmlns:a16="http://schemas.microsoft.com/office/drawing/2014/main" id="{F6109F54-1CFE-4FEF-981C-52DF59ABEDEF}"/>
              </a:ext>
            </a:extLst>
          </p:cNvPr>
          <p:cNvSpPr>
            <a:spLocks noGrp="1" noRot="1" noChangeArrowheads="1"/>
          </p:cNvSpPr>
          <p:nvPr>
            <p:ph type="title"/>
          </p:nvPr>
        </p:nvSpPr>
        <p:spPr bwMode="auto">
          <a:xfrm>
            <a:off x="609600" y="274638"/>
            <a:ext cx="10972800" cy="1143000"/>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bodyPr>
          <a:lstStyle/>
          <a:p>
            <a:pPr lvl="0"/>
            <a:r>
              <a:rPr lang="en-US"/>
              <a:t>Click to edit Master title style</a:t>
            </a:r>
          </a:p>
        </p:txBody>
      </p:sp>
      <p:sp>
        <p:nvSpPr>
          <p:cNvPr id="4110" name="Rectangle 14">
            <a:extLst>
              <a:ext uri="{FF2B5EF4-FFF2-40B4-BE49-F238E27FC236}">
                <a16:creationId xmlns:a16="http://schemas.microsoft.com/office/drawing/2014/main" id="{D2D46C3C-2AFA-4FC3-99B4-1B9C29FB48A3}"/>
              </a:ext>
            </a:extLst>
          </p:cNvPr>
          <p:cNvSpPr>
            <a:spLocks noGrp="1" noChangeArrowheads="1"/>
          </p:cNvSpPr>
          <p:nvPr>
            <p:ph type="ftr" sz="quarter" idx="3"/>
          </p:nvPr>
        </p:nvSpPr>
        <p:spPr bwMode="auto">
          <a:xfrm>
            <a:off x="4165600" y="6248400"/>
            <a:ext cx="3860800" cy="47625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ctr" eaLnBrk="1" hangingPunct="1">
              <a:defRPr sz="1200">
                <a:solidFill>
                  <a:srgbClr val="FFFFFF"/>
                </a:solidFill>
                <a:latin typeface="Arial" charset="0"/>
                <a:cs typeface="+mn-cs"/>
              </a:defRPr>
            </a:lvl1pPr>
          </a:lstStyle>
          <a:p>
            <a:pPr>
              <a:defRPr/>
            </a:pPr>
            <a:endParaRPr lang="en-US"/>
          </a:p>
        </p:txBody>
      </p:sp>
      <p:sp>
        <p:nvSpPr>
          <p:cNvPr id="4111" name="Rectangle 15">
            <a:extLst>
              <a:ext uri="{FF2B5EF4-FFF2-40B4-BE49-F238E27FC236}">
                <a16:creationId xmlns:a16="http://schemas.microsoft.com/office/drawing/2014/main" id="{1E59DB6F-1801-4D4B-999F-89EE2623119A}"/>
              </a:ext>
            </a:extLst>
          </p:cNvPr>
          <p:cNvSpPr>
            <a:spLocks noGrp="1" noChangeArrowheads="1"/>
          </p:cNvSpPr>
          <p:nvPr>
            <p:ph type="body" idx="1"/>
          </p:nvPr>
        </p:nvSpPr>
        <p:spPr bwMode="auto">
          <a:xfrm>
            <a:off x="609600" y="1600201"/>
            <a:ext cx="10972800" cy="4525963"/>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56" name="Text Box 16">
            <a:extLst>
              <a:ext uri="{FF2B5EF4-FFF2-40B4-BE49-F238E27FC236}">
                <a16:creationId xmlns:a16="http://schemas.microsoft.com/office/drawing/2014/main" id="{54966BD9-A306-48BE-A6C2-19B552041F05}"/>
              </a:ext>
            </a:extLst>
          </p:cNvPr>
          <p:cNvSpPr txBox="1">
            <a:spLocks noChangeArrowheads="1"/>
          </p:cNvSpPr>
          <p:nvPr/>
        </p:nvSpPr>
        <p:spPr bwMode="auto">
          <a:xfrm>
            <a:off x="11074400" y="304801"/>
            <a:ext cx="711200"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pPr eaLnBrk="0" hangingPunct="0">
              <a:spcBef>
                <a:spcPct val="50000"/>
              </a:spcBef>
              <a:defRPr/>
            </a:pPr>
            <a:endParaRPr lang="en-US" altLang="en-US" sz="1800">
              <a:solidFill>
                <a:srgbClr val="FFFFFF"/>
              </a:solidFill>
              <a:latin typeface="Garamond" pitchFamily="18" charset="0"/>
            </a:endParaRPr>
          </a:p>
        </p:txBody>
      </p:sp>
      <p:sp>
        <p:nvSpPr>
          <p:cNvPr id="2057" name="Text Box 17">
            <a:extLst>
              <a:ext uri="{FF2B5EF4-FFF2-40B4-BE49-F238E27FC236}">
                <a16:creationId xmlns:a16="http://schemas.microsoft.com/office/drawing/2014/main" id="{E12D11F4-1DE0-4FCE-8638-8F3148199D35}"/>
              </a:ext>
            </a:extLst>
          </p:cNvPr>
          <p:cNvSpPr txBox="1">
            <a:spLocks noChangeArrowheads="1"/>
          </p:cNvSpPr>
          <p:nvPr/>
        </p:nvSpPr>
        <p:spPr bwMode="auto">
          <a:xfrm>
            <a:off x="11582400" y="228601"/>
            <a:ext cx="609600"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Calibri" panose="020F0502020204030204" pitchFamily="34" charset="0"/>
                <a:cs typeface="Arial" panose="020B0604020202020204" pitchFamily="34" charset="0"/>
              </a:defRPr>
            </a:lvl1pPr>
            <a:lvl2pPr marL="742950" indent="-285750" eaLnBrk="0" hangingPunct="0">
              <a:defRPr>
                <a:solidFill>
                  <a:schemeClr val="tx1"/>
                </a:solidFill>
                <a:latin typeface="Calibri" panose="020F0502020204030204" pitchFamily="34" charset="0"/>
                <a:cs typeface="Arial" panose="020B0604020202020204" pitchFamily="34" charset="0"/>
              </a:defRPr>
            </a:lvl2pPr>
            <a:lvl3pPr marL="1143000" indent="-228600" eaLnBrk="0" hangingPunct="0">
              <a:defRPr>
                <a:solidFill>
                  <a:schemeClr val="tx1"/>
                </a:solidFill>
                <a:latin typeface="Calibri" panose="020F0502020204030204" pitchFamily="34" charset="0"/>
                <a:cs typeface="Arial" panose="020B0604020202020204" pitchFamily="34" charset="0"/>
              </a:defRPr>
            </a:lvl3pPr>
            <a:lvl4pPr marL="1600200" indent="-228600" eaLnBrk="0" hangingPunct="0">
              <a:defRPr>
                <a:solidFill>
                  <a:schemeClr val="tx1"/>
                </a:solidFill>
                <a:latin typeface="Calibri" panose="020F0502020204030204" pitchFamily="34" charset="0"/>
                <a:cs typeface="Arial" panose="020B0604020202020204" pitchFamily="34" charset="0"/>
              </a:defRPr>
            </a:lvl4pPr>
            <a:lvl5pPr marL="2057400" indent="-228600" eaLnBrk="0" hangingPunct="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spcBef>
                <a:spcPct val="50000"/>
              </a:spcBef>
            </a:pPr>
            <a:fld id="{53A3F273-149F-4181-BD6E-7D972C5E8255}" type="slidenum">
              <a:rPr lang="en-US" altLang="en-US" sz="1800">
                <a:solidFill>
                  <a:srgbClr val="FFFFFF"/>
                </a:solidFill>
                <a:latin typeface="Garamond" panose="02020404030301010803" pitchFamily="18" charset="0"/>
              </a:rPr>
              <a:pPr>
                <a:spcBef>
                  <a:spcPct val="50000"/>
                </a:spcBef>
              </a:pPr>
              <a:t>‹#›</a:t>
            </a:fld>
            <a:endParaRPr lang="en-US" altLang="en-US" sz="1800">
              <a:solidFill>
                <a:srgbClr val="FFFFFF"/>
              </a:solidFill>
              <a:latin typeface="Garamond" panose="02020404030301010803" pitchFamily="18" charset="0"/>
            </a:endParaRPr>
          </a:p>
        </p:txBody>
      </p:sp>
      <p:graphicFrame>
        <p:nvGraphicFramePr>
          <p:cNvPr id="2058" name="Object 18">
            <a:extLst>
              <a:ext uri="{FF2B5EF4-FFF2-40B4-BE49-F238E27FC236}">
                <a16:creationId xmlns:a16="http://schemas.microsoft.com/office/drawing/2014/main" id="{87EA4BCE-6B7D-42B9-B971-B4D7541DDFDB}"/>
              </a:ext>
            </a:extLst>
          </p:cNvPr>
          <p:cNvGraphicFramePr>
            <a:graphicFrameLocks noChangeAspect="1"/>
          </p:cNvGraphicFramePr>
          <p:nvPr/>
        </p:nvGraphicFramePr>
        <p:xfrm>
          <a:off x="9652000" y="5918200"/>
          <a:ext cx="2540000" cy="939800"/>
        </p:xfrm>
        <a:graphic>
          <a:graphicData uri="http://schemas.openxmlformats.org/presentationml/2006/ole">
            <mc:AlternateContent xmlns:mc="http://schemas.openxmlformats.org/markup-compatibility/2006">
              <mc:Choice xmlns:v="urn:schemas-microsoft-com:vml" Requires="v">
                <p:oleObj spid="_x0000_s3075" name="Bitmap Image" r:id="rId17" imgW="2142857" imgH="1057423" progId="Paint.Picture">
                  <p:embed/>
                </p:oleObj>
              </mc:Choice>
              <mc:Fallback>
                <p:oleObj name="Bitmap Image" r:id="rId17" imgW="2142857" imgH="1057423" progId="Paint.Picture">
                  <p:embed/>
                  <p:pic>
                    <p:nvPicPr>
                      <p:cNvPr id="2058" name="Object 18">
                        <a:extLst>
                          <a:ext uri="{FF2B5EF4-FFF2-40B4-BE49-F238E27FC236}">
                            <a16:creationId xmlns:a16="http://schemas.microsoft.com/office/drawing/2014/main" id="{87EA4BCE-6B7D-42B9-B971-B4D7541DDFDB}"/>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9652000" y="5918200"/>
                        <a:ext cx="2540000" cy="939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Tree>
    <p:extLst>
      <p:ext uri="{BB962C8B-B14F-4D97-AF65-F5344CB8AC3E}">
        <p14:creationId xmlns:p14="http://schemas.microsoft.com/office/powerpoint/2010/main" val="1443114212"/>
      </p:ext>
    </p:extLst>
  </p:cSld>
  <p:clrMap bg1="dk2" tx1="lt1" bg2="dk1" tx2="lt2" accent1="accent1" accent2="accent2" accent3="accent3" accent4="accent4" accent5="accent5" accent6="accent6" hlink="hlink" folHlink="folHlink"/>
  <p:sldLayoutIdLst>
    <p:sldLayoutId id="2147483702" r:id="rId1"/>
    <p:sldLayoutId id="2147483703" r:id="rId2"/>
    <p:sldLayoutId id="2147483704" r:id="rId3"/>
    <p:sldLayoutId id="2147483705" r:id="rId4"/>
    <p:sldLayoutId id="2147483706" r:id="rId5"/>
    <p:sldLayoutId id="2147483707" r:id="rId6"/>
    <p:sldLayoutId id="2147483708" r:id="rId7"/>
    <p:sldLayoutId id="2147483709" r:id="rId8"/>
    <p:sldLayoutId id="2147483710" r:id="rId9"/>
    <p:sldLayoutId id="2147483711" r:id="rId10"/>
    <p:sldLayoutId id="2147483712" r:id="rId11"/>
    <p:sldLayoutId id="2147483713" r:id="rId12"/>
    <p:sldLayoutId id="2147483714" r:id="rId13"/>
    <p:sldLayoutId id="2147483715" r:id="rId14"/>
  </p:sldLayoutIdLst>
  <p:transition>
    <p:random/>
  </p:transition>
  <p:txStyles>
    <p:titleStyle>
      <a:lvl1pPr algn="ctr" rtl="0" eaLnBrk="0" fontAlgn="base" hangingPunct="0">
        <a:spcBef>
          <a:spcPct val="0"/>
        </a:spcBef>
        <a:spcAft>
          <a:spcPct val="0"/>
        </a:spcAft>
        <a:defRPr sz="4400" b="1">
          <a:solidFill>
            <a:schemeClr val="tx2"/>
          </a:solidFill>
          <a:effectLst>
            <a:outerShdw blurRad="38100" dist="38100" dir="2700000" algn="tl">
              <a:srgbClr val="000000"/>
            </a:outerShdw>
          </a:effectLst>
          <a:latin typeface="+mj-lt"/>
          <a:ea typeface="+mj-ea"/>
          <a:cs typeface="+mj-cs"/>
        </a:defRPr>
      </a:lvl1pPr>
      <a:lvl2pPr algn="ctr" rtl="0" eaLnBrk="0" fontAlgn="base" hangingPunct="0">
        <a:spcBef>
          <a:spcPct val="0"/>
        </a:spcBef>
        <a:spcAft>
          <a:spcPct val="0"/>
        </a:spcAft>
        <a:defRPr sz="4400" b="1">
          <a:solidFill>
            <a:schemeClr val="tx2"/>
          </a:solidFill>
          <a:effectLst>
            <a:outerShdw blurRad="38100" dist="38100" dir="2700000" algn="tl">
              <a:srgbClr val="000000"/>
            </a:outerShdw>
          </a:effectLst>
          <a:latin typeface="Garamond" pitchFamily="18" charset="0"/>
        </a:defRPr>
      </a:lvl2pPr>
      <a:lvl3pPr algn="ctr" rtl="0" eaLnBrk="0" fontAlgn="base" hangingPunct="0">
        <a:spcBef>
          <a:spcPct val="0"/>
        </a:spcBef>
        <a:spcAft>
          <a:spcPct val="0"/>
        </a:spcAft>
        <a:defRPr sz="4400" b="1">
          <a:solidFill>
            <a:schemeClr val="tx2"/>
          </a:solidFill>
          <a:effectLst>
            <a:outerShdw blurRad="38100" dist="38100" dir="2700000" algn="tl">
              <a:srgbClr val="000000"/>
            </a:outerShdw>
          </a:effectLst>
          <a:latin typeface="Garamond" pitchFamily="18" charset="0"/>
        </a:defRPr>
      </a:lvl3pPr>
      <a:lvl4pPr algn="ctr" rtl="0" eaLnBrk="0" fontAlgn="base" hangingPunct="0">
        <a:spcBef>
          <a:spcPct val="0"/>
        </a:spcBef>
        <a:spcAft>
          <a:spcPct val="0"/>
        </a:spcAft>
        <a:defRPr sz="4400" b="1">
          <a:solidFill>
            <a:schemeClr val="tx2"/>
          </a:solidFill>
          <a:effectLst>
            <a:outerShdw blurRad="38100" dist="38100" dir="2700000" algn="tl">
              <a:srgbClr val="000000"/>
            </a:outerShdw>
          </a:effectLst>
          <a:latin typeface="Garamond" pitchFamily="18" charset="0"/>
        </a:defRPr>
      </a:lvl4pPr>
      <a:lvl5pPr algn="ctr" rtl="0" eaLnBrk="0" fontAlgn="base" hangingPunct="0">
        <a:spcBef>
          <a:spcPct val="0"/>
        </a:spcBef>
        <a:spcAft>
          <a:spcPct val="0"/>
        </a:spcAft>
        <a:defRPr sz="4400" b="1">
          <a:solidFill>
            <a:schemeClr val="tx2"/>
          </a:solidFill>
          <a:effectLst>
            <a:outerShdw blurRad="38100" dist="38100" dir="2700000" algn="tl">
              <a:srgbClr val="000000"/>
            </a:outerShdw>
          </a:effectLst>
          <a:latin typeface="Garamond" pitchFamily="18" charset="0"/>
        </a:defRPr>
      </a:lvl5pPr>
      <a:lvl6pPr marL="457200" algn="ctr" rtl="0" eaLnBrk="1" fontAlgn="base" hangingPunct="1">
        <a:spcBef>
          <a:spcPct val="0"/>
        </a:spcBef>
        <a:spcAft>
          <a:spcPct val="0"/>
        </a:spcAft>
        <a:defRPr sz="4400" b="1">
          <a:solidFill>
            <a:schemeClr val="tx2"/>
          </a:solidFill>
          <a:effectLst>
            <a:outerShdw blurRad="38100" dist="38100" dir="2700000" algn="tl">
              <a:srgbClr val="000000"/>
            </a:outerShdw>
          </a:effectLst>
          <a:latin typeface="Garamond" pitchFamily="18" charset="0"/>
        </a:defRPr>
      </a:lvl6pPr>
      <a:lvl7pPr marL="914400" algn="ctr" rtl="0" eaLnBrk="1" fontAlgn="base" hangingPunct="1">
        <a:spcBef>
          <a:spcPct val="0"/>
        </a:spcBef>
        <a:spcAft>
          <a:spcPct val="0"/>
        </a:spcAft>
        <a:defRPr sz="4400" b="1">
          <a:solidFill>
            <a:schemeClr val="tx2"/>
          </a:solidFill>
          <a:effectLst>
            <a:outerShdw blurRad="38100" dist="38100" dir="2700000" algn="tl">
              <a:srgbClr val="000000"/>
            </a:outerShdw>
          </a:effectLst>
          <a:latin typeface="Garamond" pitchFamily="18" charset="0"/>
        </a:defRPr>
      </a:lvl7pPr>
      <a:lvl8pPr marL="1371600" algn="ctr" rtl="0" eaLnBrk="1" fontAlgn="base" hangingPunct="1">
        <a:spcBef>
          <a:spcPct val="0"/>
        </a:spcBef>
        <a:spcAft>
          <a:spcPct val="0"/>
        </a:spcAft>
        <a:defRPr sz="4400" b="1">
          <a:solidFill>
            <a:schemeClr val="tx2"/>
          </a:solidFill>
          <a:effectLst>
            <a:outerShdw blurRad="38100" dist="38100" dir="2700000" algn="tl">
              <a:srgbClr val="000000"/>
            </a:outerShdw>
          </a:effectLst>
          <a:latin typeface="Garamond" pitchFamily="18" charset="0"/>
        </a:defRPr>
      </a:lvl8pPr>
      <a:lvl9pPr marL="1828800" algn="ctr" rtl="0" eaLnBrk="1" fontAlgn="base" hangingPunct="1">
        <a:spcBef>
          <a:spcPct val="0"/>
        </a:spcBef>
        <a:spcAft>
          <a:spcPct val="0"/>
        </a:spcAft>
        <a:defRPr sz="4400" b="1">
          <a:solidFill>
            <a:schemeClr val="tx2"/>
          </a:solidFill>
          <a:effectLst>
            <a:outerShdw blurRad="38100" dist="38100" dir="2700000" algn="tl">
              <a:srgbClr val="000000"/>
            </a:outerShdw>
          </a:effectLst>
          <a:latin typeface="Garamond" pitchFamily="18" charset="0"/>
        </a:defRPr>
      </a:lvl9pPr>
    </p:titleStyle>
    <p:bodyStyle>
      <a:lvl1pPr marL="342900" indent="-342900" algn="l" rtl="0" eaLnBrk="0" fontAlgn="base" hangingPunct="0">
        <a:spcBef>
          <a:spcPct val="20000"/>
        </a:spcBef>
        <a:spcAft>
          <a:spcPct val="0"/>
        </a:spcAft>
        <a:buClr>
          <a:schemeClr val="hlink"/>
        </a:buClr>
        <a:buSzPct val="70000"/>
        <a:buFont typeface="Wingdings" panose="05000000000000000000" pitchFamily="2" charset="2"/>
        <a:buChar char="n"/>
        <a:defRPr sz="3200">
          <a:solidFill>
            <a:schemeClr val="tx1"/>
          </a:solidFill>
          <a:effectLst>
            <a:outerShdw blurRad="38100" dist="38100" dir="2700000" algn="tl">
              <a:srgbClr val="000000"/>
            </a:outerShdw>
          </a:effectLst>
          <a:latin typeface="+mn-lt"/>
          <a:ea typeface="+mn-ea"/>
          <a:cs typeface="+mn-cs"/>
        </a:defRPr>
      </a:lvl1pPr>
      <a:lvl2pPr marL="742950" indent="-285750" algn="l" rtl="0" eaLnBrk="0" fontAlgn="base" hangingPunct="0">
        <a:spcBef>
          <a:spcPct val="20000"/>
        </a:spcBef>
        <a:spcAft>
          <a:spcPct val="0"/>
        </a:spcAft>
        <a:buClr>
          <a:schemeClr val="accent2"/>
        </a:buClr>
        <a:buSzPct val="70000"/>
        <a:buFont typeface="Wingdings" panose="05000000000000000000" pitchFamily="2" charset="2"/>
        <a:buChar char="n"/>
        <a:defRPr sz="2800">
          <a:solidFill>
            <a:schemeClr val="tx1"/>
          </a:solidFill>
          <a:effectLst>
            <a:outerShdw blurRad="38100" dist="38100" dir="2700000" algn="tl">
              <a:srgbClr val="000000"/>
            </a:outerShdw>
          </a:effectLst>
          <a:latin typeface="+mn-lt"/>
        </a:defRPr>
      </a:lvl2pPr>
      <a:lvl3pPr marL="1143000" indent="-228600" algn="l" rtl="0" eaLnBrk="0" fontAlgn="base" hangingPunct="0">
        <a:spcBef>
          <a:spcPct val="20000"/>
        </a:spcBef>
        <a:spcAft>
          <a:spcPct val="0"/>
        </a:spcAft>
        <a:buClr>
          <a:schemeClr val="tx2"/>
        </a:buClr>
        <a:buSzPct val="70000"/>
        <a:buFont typeface="Wingdings" panose="05000000000000000000" pitchFamily="2" charset="2"/>
        <a:buChar char="n"/>
        <a:defRPr sz="2400">
          <a:solidFill>
            <a:schemeClr val="tx1"/>
          </a:solidFill>
          <a:effectLst>
            <a:outerShdw blurRad="38100" dist="38100" dir="2700000" algn="tl">
              <a:srgbClr val="000000"/>
            </a:outerShdw>
          </a:effectLst>
          <a:latin typeface="+mn-lt"/>
        </a:defRPr>
      </a:lvl3pPr>
      <a:lvl4pPr marL="1600200" indent="-228600" algn="l" rtl="0" eaLnBrk="0" fontAlgn="base" hangingPunct="0">
        <a:spcBef>
          <a:spcPct val="20000"/>
        </a:spcBef>
        <a:spcAft>
          <a:spcPct val="0"/>
        </a:spcAft>
        <a:buClr>
          <a:schemeClr val="accent2"/>
        </a:buClr>
        <a:buSzPct val="70000"/>
        <a:buFont typeface="Wingdings" panose="05000000000000000000" pitchFamily="2" charset="2"/>
        <a:buChar char="n"/>
        <a:defRPr sz="2000">
          <a:solidFill>
            <a:schemeClr val="tx1"/>
          </a:solidFill>
          <a:effectLst>
            <a:outerShdw blurRad="38100" dist="38100" dir="2700000" algn="tl">
              <a:srgbClr val="000000"/>
            </a:outerShdw>
          </a:effectLst>
          <a:latin typeface="+mn-lt"/>
        </a:defRPr>
      </a:lvl4pPr>
      <a:lvl5pPr marL="2057400" indent="-228600" algn="l" rtl="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effectLst>
            <a:outerShdw blurRad="38100" dist="38100" dir="2700000" algn="tl">
              <a:srgbClr val="000000"/>
            </a:outerShdw>
          </a:effectLst>
          <a:latin typeface="+mn-lt"/>
        </a:defRPr>
      </a:lvl5pPr>
      <a:lvl6pPr marL="2514600" indent="-228600" algn="l" rtl="0" eaLnBrk="1" fontAlgn="base" hangingPunct="1">
        <a:spcBef>
          <a:spcPct val="20000"/>
        </a:spcBef>
        <a:spcAft>
          <a:spcPct val="0"/>
        </a:spcAft>
        <a:buClr>
          <a:schemeClr val="hlink"/>
        </a:buClr>
        <a:buSzPct val="70000"/>
        <a:buFont typeface="Wingdings" pitchFamily="2" charset="2"/>
        <a:buChar char="n"/>
        <a:defRPr sz="2000">
          <a:solidFill>
            <a:schemeClr val="tx1"/>
          </a:solidFill>
          <a:effectLst>
            <a:outerShdw blurRad="38100" dist="38100" dir="2700000" algn="tl">
              <a:srgbClr val="000000"/>
            </a:outerShdw>
          </a:effectLst>
          <a:latin typeface="+mn-lt"/>
        </a:defRPr>
      </a:lvl6pPr>
      <a:lvl7pPr marL="2971800" indent="-228600" algn="l" rtl="0" eaLnBrk="1" fontAlgn="base" hangingPunct="1">
        <a:spcBef>
          <a:spcPct val="20000"/>
        </a:spcBef>
        <a:spcAft>
          <a:spcPct val="0"/>
        </a:spcAft>
        <a:buClr>
          <a:schemeClr val="hlink"/>
        </a:buClr>
        <a:buSzPct val="70000"/>
        <a:buFont typeface="Wingdings" pitchFamily="2" charset="2"/>
        <a:buChar char="n"/>
        <a:defRPr sz="2000">
          <a:solidFill>
            <a:schemeClr val="tx1"/>
          </a:solidFill>
          <a:effectLst>
            <a:outerShdw blurRad="38100" dist="38100" dir="2700000" algn="tl">
              <a:srgbClr val="000000"/>
            </a:outerShdw>
          </a:effectLst>
          <a:latin typeface="+mn-lt"/>
        </a:defRPr>
      </a:lvl7pPr>
      <a:lvl8pPr marL="3429000" indent="-228600" algn="l" rtl="0" eaLnBrk="1" fontAlgn="base" hangingPunct="1">
        <a:spcBef>
          <a:spcPct val="20000"/>
        </a:spcBef>
        <a:spcAft>
          <a:spcPct val="0"/>
        </a:spcAft>
        <a:buClr>
          <a:schemeClr val="hlink"/>
        </a:buClr>
        <a:buSzPct val="70000"/>
        <a:buFont typeface="Wingdings" pitchFamily="2" charset="2"/>
        <a:buChar char="n"/>
        <a:defRPr sz="2000">
          <a:solidFill>
            <a:schemeClr val="tx1"/>
          </a:solidFill>
          <a:effectLst>
            <a:outerShdw blurRad="38100" dist="38100" dir="2700000" algn="tl">
              <a:srgbClr val="000000"/>
            </a:outerShdw>
          </a:effectLst>
          <a:latin typeface="+mn-lt"/>
        </a:defRPr>
      </a:lvl8pPr>
      <a:lvl9pPr marL="3886200" indent="-228600" algn="l" rtl="0" eaLnBrk="1" fontAlgn="base" hangingPunct="1">
        <a:spcBef>
          <a:spcPct val="20000"/>
        </a:spcBef>
        <a:spcAft>
          <a:spcPct val="0"/>
        </a:spcAft>
        <a:buClr>
          <a:schemeClr val="hlink"/>
        </a:buClr>
        <a:buSzPct val="70000"/>
        <a:buFont typeface="Wingdings" pitchFamily="2" charset="2"/>
        <a:buChar char="n"/>
        <a:defRPr sz="2000">
          <a:solidFill>
            <a:schemeClr val="tx1"/>
          </a:solidFill>
          <a:effectLst>
            <a:outerShdw blurRad="38100" dist="38100" dir="2700000" algn="tl">
              <a:srgbClr val="000000"/>
            </a:outerShdw>
          </a:effectLst>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13.xml"/><Relationship Id="rId4" Type="http://schemas.openxmlformats.org/officeDocument/2006/relationships/image" Target="../media/image18.pn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2.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Layout" Target="../slideLayouts/slideLayout1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3.xml"/></Relationships>
</file>

<file path=ppt/slides/_rels/slide14.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13.xml"/></Relationships>
</file>

<file path=ppt/slides/_rels/slide15.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13.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7.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Layout" Target="../slideLayouts/slideLayout17.xml"/></Relationships>
</file>

<file path=ppt/slides/_rels/slide18.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Layout" Target="../slideLayouts/slideLayout14.xml"/></Relationships>
</file>

<file path=ppt/slides/_rels/slide19.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Layout" Target="../slideLayouts/slideLayout13.xml"/><Relationship Id="rId5" Type="http://schemas.openxmlformats.org/officeDocument/2006/relationships/image" Target="../media/image27.png"/><Relationship Id="rId4" Type="http://schemas.openxmlformats.org/officeDocument/2006/relationships/image" Target="../media/image26.png"/></Relationships>
</file>

<file path=ppt/slides/_rels/slide2.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image" Target="../media/image8.jpeg"/><Relationship Id="rId7" Type="http://schemas.openxmlformats.org/officeDocument/2006/relationships/diagramColors" Target="../diagrams/colors1.xml"/><Relationship Id="rId2" Type="http://schemas.openxmlformats.org/officeDocument/2006/relationships/notesSlide" Target="../notesSlides/notesSlide1.xml"/><Relationship Id="rId1" Type="http://schemas.openxmlformats.org/officeDocument/2006/relationships/slideLayout" Target="../slideLayouts/slideLayout13.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s>
</file>

<file path=ppt/slides/_rels/slide20.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Layout" Target="../slideLayouts/slideLayout13.xml"/></Relationships>
</file>

<file path=ppt/slides/_rels/slide21.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Layout" Target="../slideLayouts/slideLayout17.xml"/><Relationship Id="rId4" Type="http://schemas.openxmlformats.org/officeDocument/2006/relationships/image" Target="../media/image32.png"/></Relationships>
</file>

<file path=ppt/slides/_rels/slide22.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Layout" Target="../slideLayouts/slideLayout17.xml"/><Relationship Id="rId4" Type="http://schemas.openxmlformats.org/officeDocument/2006/relationships/image" Target="../media/image35.png"/></Relationships>
</file>

<file path=ppt/slides/_rels/slide23.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png"/><Relationship Id="rId1" Type="http://schemas.openxmlformats.org/officeDocument/2006/relationships/slideLayout" Target="../slideLayouts/slideLayout17.xml"/></Relationships>
</file>

<file path=ppt/slides/_rels/slide24.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png"/><Relationship Id="rId1" Type="http://schemas.openxmlformats.org/officeDocument/2006/relationships/slideLayout" Target="../slideLayouts/slideLayout17.xml"/></Relationships>
</file>

<file path=ppt/slides/_rels/slide25.xml.rels><?xml version="1.0" encoding="UTF-8" standalone="yes"?>
<Relationships xmlns="http://schemas.openxmlformats.org/package/2006/relationships"><Relationship Id="rId8" Type="http://schemas.microsoft.com/office/2007/relationships/diagramDrawing" Target="../diagrams/drawing4.xml"/><Relationship Id="rId13" Type="http://schemas.microsoft.com/office/2007/relationships/diagramDrawing" Target="../diagrams/drawing5.xml"/><Relationship Id="rId3" Type="http://schemas.openxmlformats.org/officeDocument/2006/relationships/image" Target="../media/image32.png"/><Relationship Id="rId7" Type="http://schemas.openxmlformats.org/officeDocument/2006/relationships/diagramColors" Target="../diagrams/colors4.xml"/><Relationship Id="rId12" Type="http://schemas.openxmlformats.org/officeDocument/2006/relationships/diagramColors" Target="../diagrams/colors5.xml"/><Relationship Id="rId2" Type="http://schemas.openxmlformats.org/officeDocument/2006/relationships/notesSlide" Target="../notesSlides/notesSlide5.xml"/><Relationship Id="rId1" Type="http://schemas.openxmlformats.org/officeDocument/2006/relationships/slideLayout" Target="../slideLayouts/slideLayout17.xml"/><Relationship Id="rId6" Type="http://schemas.openxmlformats.org/officeDocument/2006/relationships/diagramQuickStyle" Target="../diagrams/quickStyle4.xml"/><Relationship Id="rId11" Type="http://schemas.openxmlformats.org/officeDocument/2006/relationships/diagramQuickStyle" Target="../diagrams/quickStyle5.xml"/><Relationship Id="rId5" Type="http://schemas.openxmlformats.org/officeDocument/2006/relationships/diagramLayout" Target="../diagrams/layout4.xml"/><Relationship Id="rId10" Type="http://schemas.openxmlformats.org/officeDocument/2006/relationships/diagramLayout" Target="../diagrams/layout5.xml"/><Relationship Id="rId4" Type="http://schemas.openxmlformats.org/officeDocument/2006/relationships/diagramData" Target="../diagrams/data4.xml"/><Relationship Id="rId9" Type="http://schemas.openxmlformats.org/officeDocument/2006/relationships/diagramData" Target="../diagrams/data5.xml"/></Relationships>
</file>

<file path=ppt/slides/_rels/slide26.xml.rels><?xml version="1.0" encoding="UTF-8" standalone="yes"?>
<Relationships xmlns="http://schemas.openxmlformats.org/package/2006/relationships"><Relationship Id="rId8" Type="http://schemas.microsoft.com/office/2007/relationships/diagramDrawing" Target="../diagrams/drawing6.xml"/><Relationship Id="rId13" Type="http://schemas.microsoft.com/office/2007/relationships/diagramDrawing" Target="../diagrams/drawing7.xml"/><Relationship Id="rId3" Type="http://schemas.openxmlformats.org/officeDocument/2006/relationships/image" Target="../media/image32.png"/><Relationship Id="rId7" Type="http://schemas.openxmlformats.org/officeDocument/2006/relationships/diagramColors" Target="../diagrams/colors6.xml"/><Relationship Id="rId12" Type="http://schemas.openxmlformats.org/officeDocument/2006/relationships/diagramColors" Target="../diagrams/colors7.xml"/><Relationship Id="rId2" Type="http://schemas.openxmlformats.org/officeDocument/2006/relationships/notesSlide" Target="../notesSlides/notesSlide6.xml"/><Relationship Id="rId1" Type="http://schemas.openxmlformats.org/officeDocument/2006/relationships/slideLayout" Target="../slideLayouts/slideLayout17.xml"/><Relationship Id="rId6" Type="http://schemas.openxmlformats.org/officeDocument/2006/relationships/diagramQuickStyle" Target="../diagrams/quickStyle6.xml"/><Relationship Id="rId11" Type="http://schemas.openxmlformats.org/officeDocument/2006/relationships/diagramQuickStyle" Target="../diagrams/quickStyle7.xml"/><Relationship Id="rId5" Type="http://schemas.openxmlformats.org/officeDocument/2006/relationships/diagramLayout" Target="../diagrams/layout6.xml"/><Relationship Id="rId10" Type="http://schemas.openxmlformats.org/officeDocument/2006/relationships/diagramLayout" Target="../diagrams/layout7.xml"/><Relationship Id="rId4" Type="http://schemas.openxmlformats.org/officeDocument/2006/relationships/diagramData" Target="../diagrams/data6.xml"/><Relationship Id="rId9" Type="http://schemas.openxmlformats.org/officeDocument/2006/relationships/diagramData" Target="../diagrams/data7.xml"/></Relationships>
</file>

<file path=ppt/slides/_rels/slide27.xml.rels><?xml version="1.0" encoding="UTF-8" standalone="yes"?>
<Relationships xmlns="http://schemas.openxmlformats.org/package/2006/relationships"><Relationship Id="rId2" Type="http://schemas.openxmlformats.org/officeDocument/2006/relationships/image" Target="../media/image40.jpeg"/><Relationship Id="rId1" Type="http://schemas.openxmlformats.org/officeDocument/2006/relationships/slideLayout" Target="../slideLayouts/slideLayout13.xml"/></Relationships>
</file>

<file path=ppt/slides/_rels/slide28.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7.xml"/><Relationship Id="rId1" Type="http://schemas.openxmlformats.org/officeDocument/2006/relationships/slideLayout" Target="../slideLayouts/slideLayout18.xml"/></Relationships>
</file>

<file path=ppt/slides/_rels/slide29.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Layout" Target="../slideLayouts/slideLayout13.xml"/></Relationships>
</file>

<file path=ppt/slides/_rels/slide30.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13.xml"/></Relationships>
</file>

<file path=ppt/slides/_rels/slide31.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17.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3.xml.rels><?xml version="1.0" encoding="UTF-8" standalone="yes"?>
<Relationships xmlns="http://schemas.openxmlformats.org/package/2006/relationships"><Relationship Id="rId3" Type="http://schemas.openxmlformats.org/officeDocument/2006/relationships/diagramData" Target="../diagrams/data8.xml"/><Relationship Id="rId7" Type="http://schemas.microsoft.com/office/2007/relationships/diagramDrawing" Target="../diagrams/drawing8.xml"/><Relationship Id="rId2" Type="http://schemas.openxmlformats.org/officeDocument/2006/relationships/notesSlide" Target="../notesSlides/notesSlide8.xml"/><Relationship Id="rId1" Type="http://schemas.openxmlformats.org/officeDocument/2006/relationships/slideLayout" Target="../slideLayouts/slideLayout27.xml"/><Relationship Id="rId6" Type="http://schemas.openxmlformats.org/officeDocument/2006/relationships/diagramColors" Target="../diagrams/colors8.xml"/><Relationship Id="rId5" Type="http://schemas.openxmlformats.org/officeDocument/2006/relationships/diagramQuickStyle" Target="../diagrams/quickStyle8.xml"/><Relationship Id="rId4" Type="http://schemas.openxmlformats.org/officeDocument/2006/relationships/diagramLayout" Target="../diagrams/layout8.xml"/></Relationships>
</file>

<file path=ppt/slides/_rels/slide34.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notesSlide" Target="../notesSlides/notesSlide9.xml"/><Relationship Id="rId1" Type="http://schemas.openxmlformats.org/officeDocument/2006/relationships/slideLayout" Target="../slideLayouts/slideLayout27.xml"/><Relationship Id="rId4" Type="http://schemas.openxmlformats.org/officeDocument/2006/relationships/image" Target="../media/image46.jpeg"/></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36.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31.xml"/></Relationships>
</file>

<file path=ppt/slides/_rels/slide37.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31.xml"/></Relationships>
</file>

<file path=ppt/slides/_rels/slide38.xml.rels><?xml version="1.0" encoding="UTF-8" standalone="yes"?>
<Relationships xmlns="http://schemas.openxmlformats.org/package/2006/relationships"><Relationship Id="rId8" Type="http://schemas.openxmlformats.org/officeDocument/2006/relationships/image" Target="../media/image54.jpeg"/><Relationship Id="rId3" Type="http://schemas.openxmlformats.org/officeDocument/2006/relationships/image" Target="../media/image49.jpeg"/><Relationship Id="rId7" Type="http://schemas.openxmlformats.org/officeDocument/2006/relationships/image" Target="../media/image53.jpeg"/><Relationship Id="rId12" Type="http://schemas.openxmlformats.org/officeDocument/2006/relationships/image" Target="../media/image58.jpeg"/><Relationship Id="rId2" Type="http://schemas.openxmlformats.org/officeDocument/2006/relationships/notesSlide" Target="../notesSlides/notesSlide10.xml"/><Relationship Id="rId1" Type="http://schemas.openxmlformats.org/officeDocument/2006/relationships/slideLayout" Target="../slideLayouts/slideLayout31.xml"/><Relationship Id="rId6" Type="http://schemas.openxmlformats.org/officeDocument/2006/relationships/image" Target="../media/image52.wmf"/><Relationship Id="rId11" Type="http://schemas.openxmlformats.org/officeDocument/2006/relationships/image" Target="../media/image57.jpeg"/><Relationship Id="rId5" Type="http://schemas.openxmlformats.org/officeDocument/2006/relationships/image" Target="../media/image51.jpeg"/><Relationship Id="rId10" Type="http://schemas.openxmlformats.org/officeDocument/2006/relationships/image" Target="../media/image56.png"/><Relationship Id="rId4" Type="http://schemas.openxmlformats.org/officeDocument/2006/relationships/image" Target="../media/image50.jpeg"/><Relationship Id="rId9" Type="http://schemas.openxmlformats.org/officeDocument/2006/relationships/image" Target="../media/image55.jpeg"/></Relationships>
</file>

<file path=ppt/slides/_rels/slide39.xml.rels><?xml version="1.0" encoding="UTF-8" standalone="yes"?>
<Relationships xmlns="http://schemas.openxmlformats.org/package/2006/relationships"><Relationship Id="rId8" Type="http://schemas.microsoft.com/office/2007/relationships/diagramDrawing" Target="../diagrams/drawing9.xml"/><Relationship Id="rId3" Type="http://schemas.openxmlformats.org/officeDocument/2006/relationships/image" Target="../media/image59.png"/><Relationship Id="rId7" Type="http://schemas.openxmlformats.org/officeDocument/2006/relationships/diagramColors" Target="../diagrams/colors9.xml"/><Relationship Id="rId2" Type="http://schemas.openxmlformats.org/officeDocument/2006/relationships/notesSlide" Target="../notesSlides/notesSlide11.xml"/><Relationship Id="rId1" Type="http://schemas.openxmlformats.org/officeDocument/2006/relationships/slideLayout" Target="../slideLayouts/slideLayout27.xml"/><Relationship Id="rId6" Type="http://schemas.openxmlformats.org/officeDocument/2006/relationships/diagramQuickStyle" Target="../diagrams/quickStyle9.xml"/><Relationship Id="rId5" Type="http://schemas.openxmlformats.org/officeDocument/2006/relationships/diagramLayout" Target="../diagrams/layout9.xml"/><Relationship Id="rId4" Type="http://schemas.openxmlformats.org/officeDocument/2006/relationships/diagramData" Target="../diagrams/data9.xml"/><Relationship Id="rId9" Type="http://schemas.openxmlformats.org/officeDocument/2006/relationships/image" Target="../media/image60.png"/></Relationships>
</file>

<file path=ppt/slides/_rels/slide4.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14.png"/><Relationship Id="rId1" Type="http://schemas.openxmlformats.org/officeDocument/2006/relationships/slideLayout" Target="../slideLayouts/slideLayout18.xml"/></Relationships>
</file>

<file path=ppt/slides/_rels/slide40.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Layout" Target="../slideLayouts/slideLayout27.xml"/></Relationships>
</file>

<file path=ppt/slides/_rels/slide41.xml.rels><?xml version="1.0" encoding="UTF-8" standalone="yes"?>
<Relationships xmlns="http://schemas.openxmlformats.org/package/2006/relationships"><Relationship Id="rId3" Type="http://schemas.openxmlformats.org/officeDocument/2006/relationships/image" Target="../media/image62.wmf"/><Relationship Id="rId2" Type="http://schemas.openxmlformats.org/officeDocument/2006/relationships/notesSlide" Target="../notesSlides/notesSlide12.xml"/><Relationship Id="rId1" Type="http://schemas.openxmlformats.org/officeDocument/2006/relationships/slideLayout" Target="../slideLayouts/slideLayout44.xml"/><Relationship Id="rId4" Type="http://schemas.openxmlformats.org/officeDocument/2006/relationships/image" Target="../media/image63.wmf"/></Relationships>
</file>

<file path=ppt/slides/_rels/slide42.xml.rels><?xml version="1.0" encoding="UTF-8" standalone="yes"?>
<Relationships xmlns="http://schemas.openxmlformats.org/package/2006/relationships"><Relationship Id="rId3" Type="http://schemas.openxmlformats.org/officeDocument/2006/relationships/hyperlink" Target="//upload.wikimedia.org/wikipedia/en/0/05/Flag_of_Brazil.svg" TargetMode="External"/><Relationship Id="rId2" Type="http://schemas.openxmlformats.org/officeDocument/2006/relationships/notesSlide" Target="../notesSlides/notesSlide13.xml"/><Relationship Id="rId1" Type="http://schemas.openxmlformats.org/officeDocument/2006/relationships/slideLayout" Target="../slideLayouts/slideLayout27.xml"/><Relationship Id="rId4" Type="http://schemas.openxmlformats.org/officeDocument/2006/relationships/image" Target="../media/image64.png"/></Relationships>
</file>

<file path=ppt/slides/_rels/slide43.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14.xml"/><Relationship Id="rId1" Type="http://schemas.openxmlformats.org/officeDocument/2006/relationships/slideLayout" Target="../slideLayouts/slideLayout27.xml"/></Relationships>
</file>

<file path=ppt/slides/_rels/slide44.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15.xml"/><Relationship Id="rId1" Type="http://schemas.openxmlformats.org/officeDocument/2006/relationships/slideLayout" Target="../slideLayouts/slideLayout27.xml"/></Relationships>
</file>

<file path=ppt/slides/_rels/slide45.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Layout" Target="../slideLayouts/slideLayout27.xml"/></Relationships>
</file>

<file path=ppt/slides/_rels/slide46.xml.rels><?xml version="1.0" encoding="UTF-8" standalone="yes"?>
<Relationships xmlns="http://schemas.openxmlformats.org/package/2006/relationships"><Relationship Id="rId3" Type="http://schemas.openxmlformats.org/officeDocument/2006/relationships/diagramLayout" Target="../diagrams/layout10.xml"/><Relationship Id="rId2" Type="http://schemas.openxmlformats.org/officeDocument/2006/relationships/diagramData" Target="../diagrams/data10.xml"/><Relationship Id="rId1" Type="http://schemas.openxmlformats.org/officeDocument/2006/relationships/slideLayout" Target="../slideLayouts/slideLayout27.xml"/><Relationship Id="rId6" Type="http://schemas.microsoft.com/office/2007/relationships/diagramDrawing" Target="../diagrams/drawing10.xml"/><Relationship Id="rId5" Type="http://schemas.openxmlformats.org/officeDocument/2006/relationships/diagramColors" Target="../diagrams/colors10.xml"/><Relationship Id="rId4" Type="http://schemas.openxmlformats.org/officeDocument/2006/relationships/diagramQuickStyle" Target="../diagrams/quickStyle10.xml"/></Relationships>
</file>

<file path=ppt/slides/_rels/slide47.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Layout" Target="../slideLayouts/slideLayout32.xml"/></Relationships>
</file>

<file path=ppt/slides/_rels/slide48.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16.xml"/><Relationship Id="rId1" Type="http://schemas.openxmlformats.org/officeDocument/2006/relationships/slideLayout" Target="../slideLayouts/slideLayout32.xml"/><Relationship Id="rId5" Type="http://schemas.openxmlformats.org/officeDocument/2006/relationships/image" Target="../media/image70.png"/><Relationship Id="rId4" Type="http://schemas.openxmlformats.org/officeDocument/2006/relationships/image" Target="../media/image69.png"/></Relationships>
</file>

<file path=ppt/slides/_rels/slide49.xml.rels><?xml version="1.0" encoding="UTF-8" standalone="yes"?>
<Relationships xmlns="http://schemas.openxmlformats.org/package/2006/relationships"><Relationship Id="rId2" Type="http://schemas.openxmlformats.org/officeDocument/2006/relationships/image" Target="../media/image71.jpeg"/><Relationship Id="rId1" Type="http://schemas.openxmlformats.org/officeDocument/2006/relationships/slideLayout" Target="../slideLayouts/slideLayout28.xml"/></Relationships>
</file>

<file path=ppt/slides/_rels/slide5.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18.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51.xml.rels><?xml version="1.0" encoding="UTF-8" standalone="yes"?>
<Relationships xmlns="http://schemas.openxmlformats.org/package/2006/relationships"><Relationship Id="rId3" Type="http://schemas.openxmlformats.org/officeDocument/2006/relationships/image" Target="../media/image62.wmf"/><Relationship Id="rId7" Type="http://schemas.openxmlformats.org/officeDocument/2006/relationships/image" Target="../media/image74.png"/><Relationship Id="rId2" Type="http://schemas.openxmlformats.org/officeDocument/2006/relationships/notesSlide" Target="../notesSlides/notesSlide17.xml"/><Relationship Id="rId1" Type="http://schemas.openxmlformats.org/officeDocument/2006/relationships/slideLayout" Target="../slideLayouts/slideLayout32.xml"/><Relationship Id="rId6" Type="http://schemas.openxmlformats.org/officeDocument/2006/relationships/image" Target="../media/image73.png"/><Relationship Id="rId5" Type="http://schemas.openxmlformats.org/officeDocument/2006/relationships/image" Target="../media/image72.png"/><Relationship Id="rId4" Type="http://schemas.openxmlformats.org/officeDocument/2006/relationships/image" Target="../media/image63.wmf"/></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53.xml.rels><?xml version="1.0" encoding="UTF-8" standalone="yes"?>
<Relationships xmlns="http://schemas.openxmlformats.org/package/2006/relationships"><Relationship Id="rId3" Type="http://schemas.openxmlformats.org/officeDocument/2006/relationships/diagramData" Target="../diagrams/data11.xml"/><Relationship Id="rId7" Type="http://schemas.microsoft.com/office/2007/relationships/diagramDrawing" Target="../diagrams/drawing11.xml"/><Relationship Id="rId2" Type="http://schemas.openxmlformats.org/officeDocument/2006/relationships/notesSlide" Target="../notesSlides/notesSlide18.xml"/><Relationship Id="rId1" Type="http://schemas.openxmlformats.org/officeDocument/2006/relationships/slideLayout" Target="../slideLayouts/slideLayout37.xml"/><Relationship Id="rId6" Type="http://schemas.openxmlformats.org/officeDocument/2006/relationships/diagramColors" Target="../diagrams/colors11.xml"/><Relationship Id="rId5" Type="http://schemas.openxmlformats.org/officeDocument/2006/relationships/diagramQuickStyle" Target="../diagrams/quickStyle11.xml"/><Relationship Id="rId4" Type="http://schemas.openxmlformats.org/officeDocument/2006/relationships/diagramLayout" Target="../diagrams/layout11.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7.xml"/></Relationships>
</file>

<file path=ppt/slides/_rels/slide57.xml.rels><?xml version="1.0" encoding="UTF-8" standalone="yes"?>
<Relationships xmlns="http://schemas.openxmlformats.org/package/2006/relationships"><Relationship Id="rId3" Type="http://schemas.openxmlformats.org/officeDocument/2006/relationships/diagramLayout" Target="../diagrams/layout12.xml"/><Relationship Id="rId7" Type="http://schemas.openxmlformats.org/officeDocument/2006/relationships/image" Target="../media/image76.wmf"/><Relationship Id="rId2" Type="http://schemas.openxmlformats.org/officeDocument/2006/relationships/diagramData" Target="../diagrams/data12.xml"/><Relationship Id="rId1" Type="http://schemas.openxmlformats.org/officeDocument/2006/relationships/slideLayout" Target="../slideLayouts/slideLayout31.xml"/><Relationship Id="rId6" Type="http://schemas.microsoft.com/office/2007/relationships/diagramDrawing" Target="../diagrams/drawing12.xml"/><Relationship Id="rId5" Type="http://schemas.openxmlformats.org/officeDocument/2006/relationships/diagramColors" Target="../diagrams/colors12.xml"/><Relationship Id="rId4" Type="http://schemas.openxmlformats.org/officeDocument/2006/relationships/diagramQuickStyle" Target="../diagrams/quickStyle12.xml"/></Relationships>
</file>

<file path=ppt/slides/_rels/slide58.xml.rels><?xml version="1.0" encoding="UTF-8" standalone="yes"?>
<Relationships xmlns="http://schemas.openxmlformats.org/package/2006/relationships"><Relationship Id="rId3" Type="http://schemas.openxmlformats.org/officeDocument/2006/relationships/hyperlink" Target="http://www.google.com/url?sa=i&amp;rct=j&amp;q=&amp;esrc=s&amp;frm=1&amp;source=images&amp;cd=&amp;cad=rja&amp;docid=2zbVO_20WUKr-M&amp;tbnid=Rd9b49cDWIKQvM:&amp;ved=0CAUQjRw&amp;url=http://acumen.org/blog/our-world/navel-gazing-101-why-the-world-banks-poverty-estimates-miss-the-point/&amp;ei=3qS4Ud77O4PJ0wG41oDwCw&amp;bvm=bv.47810305,d.dmg&amp;psig=AFQjCNHx1m4vJeUWmwpjKWbGDaN84K8Jdw&amp;ust=1371141723644979" TargetMode="External"/><Relationship Id="rId2" Type="http://schemas.openxmlformats.org/officeDocument/2006/relationships/notesSlide" Target="../notesSlides/notesSlide20.xml"/><Relationship Id="rId1" Type="http://schemas.openxmlformats.org/officeDocument/2006/relationships/slideLayout" Target="../slideLayouts/slideLayout30.xml"/><Relationship Id="rId6" Type="http://schemas.openxmlformats.org/officeDocument/2006/relationships/image" Target="../media/image79.png"/><Relationship Id="rId5" Type="http://schemas.openxmlformats.org/officeDocument/2006/relationships/image" Target="../media/image78.png"/><Relationship Id="rId4" Type="http://schemas.openxmlformats.org/officeDocument/2006/relationships/image" Target="../media/image77.jpeg"/></Relationships>
</file>

<file path=ppt/slides/_rels/slide59.xml.rels><?xml version="1.0" encoding="UTF-8" standalone="yes"?>
<Relationships xmlns="http://schemas.openxmlformats.org/package/2006/relationships"><Relationship Id="rId8" Type="http://schemas.openxmlformats.org/officeDocument/2006/relationships/hyperlink" Target="http://www.google.com/url?sa=i&amp;rct=j&amp;q=&amp;esrc=s&amp;frm=1&amp;source=images&amp;cd=&amp;cad=rja&amp;docid=2zbVO_20WUKr-M&amp;tbnid=Rd9b49cDWIKQvM:&amp;ved=0CAUQjRw&amp;url=http://acumen.org/blog/our-world/navel-gazing-101-why-the-world-banks-poverty-estimates-miss-the-point/&amp;ei=3qS4Ud77O4PJ0wG41oDwCw&amp;bvm=bv.47810305,d.dmg&amp;psig=AFQjCNHx1m4vJeUWmwpjKWbGDaN84K8Jdw&amp;ust=1371141723644979" TargetMode="External"/><Relationship Id="rId3" Type="http://schemas.openxmlformats.org/officeDocument/2006/relationships/diagramData" Target="../diagrams/data13.xml"/><Relationship Id="rId7" Type="http://schemas.microsoft.com/office/2007/relationships/diagramDrawing" Target="../diagrams/drawing13.xml"/><Relationship Id="rId2" Type="http://schemas.openxmlformats.org/officeDocument/2006/relationships/notesSlide" Target="../notesSlides/notesSlide21.xml"/><Relationship Id="rId1" Type="http://schemas.openxmlformats.org/officeDocument/2006/relationships/slideLayout" Target="../slideLayouts/slideLayout31.xml"/><Relationship Id="rId6" Type="http://schemas.openxmlformats.org/officeDocument/2006/relationships/diagramColors" Target="../diagrams/colors13.xml"/><Relationship Id="rId5" Type="http://schemas.openxmlformats.org/officeDocument/2006/relationships/diagramQuickStyle" Target="../diagrams/quickStyle13.xml"/><Relationship Id="rId4" Type="http://schemas.openxmlformats.org/officeDocument/2006/relationships/diagramLayout" Target="../diagrams/layout13.xml"/><Relationship Id="rId9" Type="http://schemas.openxmlformats.org/officeDocument/2006/relationships/image" Target="../media/image77.jpeg"/></Relationships>
</file>

<file path=ppt/slides/_rels/slide6.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2.xml"/><Relationship Id="rId1" Type="http://schemas.openxmlformats.org/officeDocument/2006/relationships/slideLayout" Target="../slideLayouts/slideLayout13.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60.xml.rels><?xml version="1.0" encoding="UTF-8" standalone="yes"?>
<Relationships xmlns="http://schemas.openxmlformats.org/package/2006/relationships"><Relationship Id="rId3" Type="http://schemas.openxmlformats.org/officeDocument/2006/relationships/diagramData" Target="../diagrams/data14.xml"/><Relationship Id="rId7" Type="http://schemas.microsoft.com/office/2007/relationships/diagramDrawing" Target="../diagrams/drawing14.xml"/><Relationship Id="rId2" Type="http://schemas.openxmlformats.org/officeDocument/2006/relationships/notesSlide" Target="../notesSlides/notesSlide22.xml"/><Relationship Id="rId1" Type="http://schemas.openxmlformats.org/officeDocument/2006/relationships/slideLayout" Target="../slideLayouts/slideLayout27.xml"/><Relationship Id="rId6" Type="http://schemas.openxmlformats.org/officeDocument/2006/relationships/diagramColors" Target="../diagrams/colors14.xml"/><Relationship Id="rId5" Type="http://schemas.openxmlformats.org/officeDocument/2006/relationships/diagramQuickStyle" Target="../diagrams/quickStyle14.xml"/><Relationship Id="rId4" Type="http://schemas.openxmlformats.org/officeDocument/2006/relationships/diagramLayout" Target="../diagrams/layout14.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63.xml.rels><?xml version="1.0" encoding="UTF-8" standalone="yes"?>
<Relationships xmlns="http://schemas.openxmlformats.org/package/2006/relationships"><Relationship Id="rId3" Type="http://schemas.openxmlformats.org/officeDocument/2006/relationships/diagramLayout" Target="../diagrams/layout15.xml"/><Relationship Id="rId2" Type="http://schemas.openxmlformats.org/officeDocument/2006/relationships/diagramData" Target="../diagrams/data15.xml"/><Relationship Id="rId1" Type="http://schemas.openxmlformats.org/officeDocument/2006/relationships/slideLayout" Target="../slideLayouts/slideLayout27.xml"/><Relationship Id="rId6" Type="http://schemas.microsoft.com/office/2007/relationships/diagramDrawing" Target="../diagrams/drawing15.xml"/><Relationship Id="rId5" Type="http://schemas.openxmlformats.org/officeDocument/2006/relationships/diagramColors" Target="../diagrams/colors15.xml"/><Relationship Id="rId4" Type="http://schemas.openxmlformats.org/officeDocument/2006/relationships/diagramQuickStyle" Target="../diagrams/quickStyle15.xml"/></Relationships>
</file>

<file path=ppt/slides/_rels/slide64.xml.rels><?xml version="1.0" encoding="UTF-8" standalone="yes"?>
<Relationships xmlns="http://schemas.openxmlformats.org/package/2006/relationships"><Relationship Id="rId3" Type="http://schemas.openxmlformats.org/officeDocument/2006/relationships/diagramData" Target="../diagrams/data16.xml"/><Relationship Id="rId7" Type="http://schemas.microsoft.com/office/2007/relationships/diagramDrawing" Target="../diagrams/drawing16.xml"/><Relationship Id="rId2" Type="http://schemas.openxmlformats.org/officeDocument/2006/relationships/image" Target="../media/image80.png"/><Relationship Id="rId1" Type="http://schemas.openxmlformats.org/officeDocument/2006/relationships/slideLayout" Target="../slideLayouts/slideLayout32.xml"/><Relationship Id="rId6" Type="http://schemas.openxmlformats.org/officeDocument/2006/relationships/diagramColors" Target="../diagrams/colors16.xml"/><Relationship Id="rId5" Type="http://schemas.openxmlformats.org/officeDocument/2006/relationships/diagramQuickStyle" Target="../diagrams/quickStyle16.xml"/><Relationship Id="rId4" Type="http://schemas.openxmlformats.org/officeDocument/2006/relationships/diagramLayout" Target="../diagrams/layout16.xml"/></Relationships>
</file>

<file path=ppt/slides/_rels/slide65.xml.rels><?xml version="1.0" encoding="UTF-8" standalone="yes"?>
<Relationships xmlns="http://schemas.openxmlformats.org/package/2006/relationships"><Relationship Id="rId2" Type="http://schemas.openxmlformats.org/officeDocument/2006/relationships/image" Target="../media/image81.png"/><Relationship Id="rId1" Type="http://schemas.openxmlformats.org/officeDocument/2006/relationships/slideLayout" Target="../slideLayouts/slideLayout32.xml"/></Relationships>
</file>

<file path=ppt/slides/_rels/slide66.xml.rels><?xml version="1.0" encoding="UTF-8" standalone="yes"?>
<Relationships xmlns="http://schemas.openxmlformats.org/package/2006/relationships"><Relationship Id="rId3" Type="http://schemas.openxmlformats.org/officeDocument/2006/relationships/diagramLayout" Target="../diagrams/layout17.xml"/><Relationship Id="rId2" Type="http://schemas.openxmlformats.org/officeDocument/2006/relationships/diagramData" Target="../diagrams/data17.xml"/><Relationship Id="rId1" Type="http://schemas.openxmlformats.org/officeDocument/2006/relationships/slideLayout" Target="../slideLayouts/slideLayout31.xml"/><Relationship Id="rId6" Type="http://schemas.microsoft.com/office/2007/relationships/diagramDrawing" Target="../diagrams/drawing17.xml"/><Relationship Id="rId5" Type="http://schemas.openxmlformats.org/officeDocument/2006/relationships/diagramColors" Target="../diagrams/colors17.xml"/><Relationship Id="rId4" Type="http://schemas.openxmlformats.org/officeDocument/2006/relationships/diagramQuickStyle" Target="../diagrams/quickStyle17.xml"/></Relationships>
</file>

<file path=ppt/slides/_rels/slide67.xml.rels><?xml version="1.0" encoding="UTF-8" standalone="yes"?>
<Relationships xmlns="http://schemas.openxmlformats.org/package/2006/relationships"><Relationship Id="rId3" Type="http://schemas.openxmlformats.org/officeDocument/2006/relationships/diagramLayout" Target="../diagrams/layout18.xml"/><Relationship Id="rId2" Type="http://schemas.openxmlformats.org/officeDocument/2006/relationships/diagramData" Target="../diagrams/data18.xml"/><Relationship Id="rId1" Type="http://schemas.openxmlformats.org/officeDocument/2006/relationships/slideLayout" Target="../slideLayouts/slideLayout31.xml"/><Relationship Id="rId6" Type="http://schemas.microsoft.com/office/2007/relationships/diagramDrawing" Target="../diagrams/drawing18.xml"/><Relationship Id="rId5" Type="http://schemas.openxmlformats.org/officeDocument/2006/relationships/diagramColors" Target="../diagrams/colors18.xml"/><Relationship Id="rId4" Type="http://schemas.openxmlformats.org/officeDocument/2006/relationships/diagramQuickStyle" Target="../diagrams/quickStyle18.xml"/></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50.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51.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70.xml.rels><?xml version="1.0" encoding="UTF-8" standalone="yes"?>
<Relationships xmlns="http://schemas.openxmlformats.org/package/2006/relationships"><Relationship Id="rId2" Type="http://schemas.openxmlformats.org/officeDocument/2006/relationships/image" Target="../media/image82.jpeg"/><Relationship Id="rId1" Type="http://schemas.openxmlformats.org/officeDocument/2006/relationships/slideLayout" Target="../slideLayouts/slideLayout55.xml"/></Relationships>
</file>

<file path=ppt/slides/_rels/slide71.xml.rels><?xml version="1.0" encoding="UTF-8" standalone="yes"?>
<Relationships xmlns="http://schemas.openxmlformats.org/package/2006/relationships"><Relationship Id="rId2" Type="http://schemas.openxmlformats.org/officeDocument/2006/relationships/image" Target="../media/image83.jpeg"/><Relationship Id="rId1" Type="http://schemas.openxmlformats.org/officeDocument/2006/relationships/slideLayout" Target="../slideLayouts/slideLayout55.xml"/></Relationships>
</file>

<file path=ppt/slides/_rels/slide72.xml.rels><?xml version="1.0" encoding="UTF-8" standalone="yes"?>
<Relationships xmlns="http://schemas.openxmlformats.org/package/2006/relationships"><Relationship Id="rId3" Type="http://schemas.openxmlformats.org/officeDocument/2006/relationships/hyperlink" Target="http://www.transparency.ge/en/node/3117" TargetMode="External"/><Relationship Id="rId2" Type="http://schemas.openxmlformats.org/officeDocument/2006/relationships/hyperlink" Target="https://prezi.com/1yugudjld6rw/e-procurement-reform-in-georgia-everyone-sees-everything/" TargetMode="External"/><Relationship Id="rId1" Type="http://schemas.openxmlformats.org/officeDocument/2006/relationships/slideLayout" Target="../slideLayouts/slideLayout51.xml"/><Relationship Id="rId5" Type="http://schemas.openxmlformats.org/officeDocument/2006/relationships/image" Target="../media/image85.png"/><Relationship Id="rId4" Type="http://schemas.openxmlformats.org/officeDocument/2006/relationships/image" Target="../media/image84.png"/></Relationships>
</file>

<file path=ppt/slides/_rels/slide73.xml.rels><?xml version="1.0" encoding="UTF-8" standalone="yes"?>
<Relationships xmlns="http://schemas.openxmlformats.org/package/2006/relationships"><Relationship Id="rId2" Type="http://schemas.openxmlformats.org/officeDocument/2006/relationships/image" Target="../media/image86.png"/><Relationship Id="rId1" Type="http://schemas.openxmlformats.org/officeDocument/2006/relationships/slideLayout" Target="../slideLayouts/slideLayout51.xml"/></Relationships>
</file>

<file path=ppt/slides/_rels/slide74.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Layout" Target="../slideLayouts/slideLayout51.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51.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51.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51.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51.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51.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3.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50.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51.xml"/></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51.xml"/></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51.xml"/></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51.xml"/></Relationships>
</file>

<file path=ppt/slides/_rels/slide85.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5356E7-AF87-4B98-90D9-3C576D0DB7C0}"/>
              </a:ext>
            </a:extLst>
          </p:cNvPr>
          <p:cNvSpPr>
            <a:spLocks noGrp="1"/>
          </p:cNvSpPr>
          <p:nvPr>
            <p:ph type="title"/>
          </p:nvPr>
        </p:nvSpPr>
        <p:spPr/>
        <p:txBody>
          <a:bodyPr/>
          <a:lstStyle/>
          <a:p>
            <a:r>
              <a:rPr lang="en-US" dirty="0"/>
              <a:t>Sustainability</a:t>
            </a:r>
          </a:p>
        </p:txBody>
      </p:sp>
      <p:sp>
        <p:nvSpPr>
          <p:cNvPr id="3" name="Text Placeholder 2">
            <a:extLst>
              <a:ext uri="{FF2B5EF4-FFF2-40B4-BE49-F238E27FC236}">
                <a16:creationId xmlns:a16="http://schemas.microsoft.com/office/drawing/2014/main" id="{769FD756-36F2-4CA9-8880-EFF48D8D36A8}"/>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422031393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15714" name="Title 1">
            <a:extLst>
              <a:ext uri="{FF2B5EF4-FFF2-40B4-BE49-F238E27FC236}">
                <a16:creationId xmlns:a16="http://schemas.microsoft.com/office/drawing/2014/main" id="{391BAC04-1767-4E12-8421-495097542EC5}"/>
              </a:ext>
            </a:extLst>
          </p:cNvPr>
          <p:cNvSpPr>
            <a:spLocks noGrp="1"/>
          </p:cNvSpPr>
          <p:nvPr>
            <p:ph type="title"/>
          </p:nvPr>
        </p:nvSpPr>
        <p:spPr>
          <a:xfrm>
            <a:off x="1981200" y="0"/>
            <a:ext cx="7848600" cy="838200"/>
          </a:xfrm>
        </p:spPr>
        <p:txBody>
          <a:bodyPr/>
          <a:lstStyle/>
          <a:p>
            <a:r>
              <a:rPr lang="en-US" altLang="en-US" sz="2400"/>
              <a:t>Defense – Memoranda of Understanding – UK Example</a:t>
            </a:r>
          </a:p>
        </p:txBody>
      </p:sp>
      <p:pic>
        <p:nvPicPr>
          <p:cNvPr id="115716" name="Picture 2">
            <a:extLst>
              <a:ext uri="{FF2B5EF4-FFF2-40B4-BE49-F238E27FC236}">
                <a16:creationId xmlns:a16="http://schemas.microsoft.com/office/drawing/2014/main" id="{5CEEFFBC-DECC-43A2-A617-68B4BEFEEC1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l="8434" t="3751" r="14056" b="6250"/>
          <a:stretch>
            <a:fillRect/>
          </a:stretch>
        </p:blipFill>
        <p:spPr bwMode="auto">
          <a:xfrm>
            <a:off x="2438401" y="838200"/>
            <a:ext cx="7993063" cy="5678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5717" name="Picture 3">
            <a:extLst>
              <a:ext uri="{FF2B5EF4-FFF2-40B4-BE49-F238E27FC236}">
                <a16:creationId xmlns:a16="http://schemas.microsoft.com/office/drawing/2014/main" id="{16E259A3-8159-44DD-987C-C4A24C91859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l="23895" t="7500" r="23192" b="14999"/>
          <a:stretch>
            <a:fillRect/>
          </a:stretch>
        </p:blipFill>
        <p:spPr bwMode="auto">
          <a:xfrm>
            <a:off x="4295775" y="1484314"/>
            <a:ext cx="5710238" cy="4702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5718" name="Picture 2">
            <a:extLst>
              <a:ext uri="{FF2B5EF4-FFF2-40B4-BE49-F238E27FC236}">
                <a16:creationId xmlns:a16="http://schemas.microsoft.com/office/drawing/2014/main" id="{6B712B36-9AEF-4995-8551-E9FD2DFF480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063750" y="5084764"/>
            <a:ext cx="2393950" cy="1196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5719" name="Right Arrow 6">
            <a:extLst>
              <a:ext uri="{FF2B5EF4-FFF2-40B4-BE49-F238E27FC236}">
                <a16:creationId xmlns:a16="http://schemas.microsoft.com/office/drawing/2014/main" id="{B3C9E264-957D-4B0F-8D33-06DA66759587}"/>
              </a:ext>
            </a:extLst>
          </p:cNvPr>
          <p:cNvSpPr>
            <a:spLocks noChangeArrowheads="1"/>
          </p:cNvSpPr>
          <p:nvPr/>
        </p:nvSpPr>
        <p:spPr bwMode="auto">
          <a:xfrm>
            <a:off x="2927350" y="1557339"/>
            <a:ext cx="1873250" cy="719137"/>
          </a:xfrm>
          <a:prstGeom prst="rightArrow">
            <a:avLst>
              <a:gd name="adj1" fmla="val 50000"/>
              <a:gd name="adj2" fmla="val 50095"/>
            </a:avLst>
          </a:prstGeom>
          <a:solidFill>
            <a:schemeClr val="accent1"/>
          </a:solidFill>
          <a:ln w="9525" algn="ctr">
            <a:solidFill>
              <a:schemeClr val="tx1"/>
            </a:solidFill>
            <a:round/>
            <a:headEnd/>
            <a:tailEnd/>
          </a:ln>
        </p:spPr>
        <p:txBody>
          <a:bodyPr/>
          <a:lstStyle>
            <a:lvl1pPr>
              <a:spcBef>
                <a:spcPts val="575"/>
              </a:spcBef>
              <a:buClr>
                <a:schemeClr val="accent1"/>
              </a:buClr>
              <a:buSzPct val="85000"/>
              <a:buFont typeface="Wingdings 2" panose="05020102010507070707" pitchFamily="18" charset="2"/>
              <a:buChar char=""/>
              <a:defRPr sz="2600">
                <a:solidFill>
                  <a:schemeClr val="tx1"/>
                </a:solidFill>
                <a:latin typeface="Perpetua" panose="02020502060401020303" pitchFamily="18" charset="0"/>
              </a:defRPr>
            </a:lvl1pPr>
            <a:lvl2pPr marL="742950" indent="-285750">
              <a:spcBef>
                <a:spcPts val="375"/>
              </a:spcBef>
              <a:buClr>
                <a:schemeClr val="accent2"/>
              </a:buClr>
              <a:buSzPct val="85000"/>
              <a:buFont typeface="Wingdings 2" panose="05020102010507070707" pitchFamily="18" charset="2"/>
              <a:buChar char=""/>
              <a:defRPr sz="2400">
                <a:solidFill>
                  <a:schemeClr val="tx1"/>
                </a:solidFill>
                <a:latin typeface="Perpetua" panose="02020502060401020303" pitchFamily="18" charset="0"/>
              </a:defRPr>
            </a:lvl2pPr>
            <a:lvl3pPr marL="1143000" indent="-228600">
              <a:spcBef>
                <a:spcPts val="375"/>
              </a:spcBef>
              <a:buClr>
                <a:srgbClr val="E6B1AB"/>
              </a:buClr>
              <a:buSzPct val="85000"/>
              <a:buFont typeface="Wingdings 2" panose="05020102010507070707" pitchFamily="18" charset="2"/>
              <a:buChar char=""/>
              <a:defRPr sz="2000">
                <a:solidFill>
                  <a:schemeClr val="tx1"/>
                </a:solidFill>
                <a:latin typeface="Perpetua" panose="02020502060401020303" pitchFamily="18" charset="0"/>
              </a:defRPr>
            </a:lvl3pPr>
            <a:lvl4pPr marL="1600200" indent="-228600">
              <a:spcBef>
                <a:spcPts val="375"/>
              </a:spcBef>
              <a:buClr>
                <a:srgbClr val="A28E6A"/>
              </a:buClr>
              <a:buSzPct val="80000"/>
              <a:buFont typeface="Wingdings 2" panose="05020102010507070707" pitchFamily="18" charset="2"/>
              <a:buChar char=""/>
              <a:defRPr sz="2000">
                <a:solidFill>
                  <a:schemeClr val="tx1"/>
                </a:solidFill>
                <a:latin typeface="Perpetua" panose="02020502060401020303" pitchFamily="18" charset="0"/>
              </a:defRPr>
            </a:lvl4pPr>
            <a:lvl5pPr marL="2057400" indent="-228600">
              <a:spcBef>
                <a:spcPts val="375"/>
              </a:spcBef>
              <a:buClr>
                <a:srgbClr val="A28E6A"/>
              </a:buClr>
              <a:buChar char="o"/>
              <a:defRPr sz="2000">
                <a:solidFill>
                  <a:schemeClr val="tx1"/>
                </a:solidFill>
                <a:latin typeface="Perpetua" panose="02020502060401020303" pitchFamily="18" charset="0"/>
              </a:defRPr>
            </a:lvl5pPr>
            <a:lvl6pPr marL="2514600" indent="-228600" fontAlgn="base">
              <a:spcBef>
                <a:spcPts val="375"/>
              </a:spcBef>
              <a:spcAft>
                <a:spcPct val="0"/>
              </a:spcAft>
              <a:buClr>
                <a:srgbClr val="A28E6A"/>
              </a:buClr>
              <a:buChar char="o"/>
              <a:defRPr sz="2000">
                <a:solidFill>
                  <a:schemeClr val="tx1"/>
                </a:solidFill>
                <a:latin typeface="Perpetua" panose="02020502060401020303" pitchFamily="18" charset="0"/>
              </a:defRPr>
            </a:lvl6pPr>
            <a:lvl7pPr marL="2971800" indent="-228600" fontAlgn="base">
              <a:spcBef>
                <a:spcPts val="375"/>
              </a:spcBef>
              <a:spcAft>
                <a:spcPct val="0"/>
              </a:spcAft>
              <a:buClr>
                <a:srgbClr val="A28E6A"/>
              </a:buClr>
              <a:buChar char="o"/>
              <a:defRPr sz="2000">
                <a:solidFill>
                  <a:schemeClr val="tx1"/>
                </a:solidFill>
                <a:latin typeface="Perpetua" panose="02020502060401020303" pitchFamily="18" charset="0"/>
              </a:defRPr>
            </a:lvl7pPr>
            <a:lvl8pPr marL="3429000" indent="-228600" fontAlgn="base">
              <a:spcBef>
                <a:spcPts val="375"/>
              </a:spcBef>
              <a:spcAft>
                <a:spcPct val="0"/>
              </a:spcAft>
              <a:buClr>
                <a:srgbClr val="A28E6A"/>
              </a:buClr>
              <a:buChar char="o"/>
              <a:defRPr sz="2000">
                <a:solidFill>
                  <a:schemeClr val="tx1"/>
                </a:solidFill>
                <a:latin typeface="Perpetua" panose="02020502060401020303" pitchFamily="18" charset="0"/>
              </a:defRPr>
            </a:lvl8pPr>
            <a:lvl9pPr marL="3886200" indent="-228600" fontAlgn="base">
              <a:spcBef>
                <a:spcPts val="375"/>
              </a:spcBef>
              <a:spcAft>
                <a:spcPct val="0"/>
              </a:spcAft>
              <a:buClr>
                <a:srgbClr val="A28E6A"/>
              </a:buClr>
              <a:buChar char="o"/>
              <a:defRPr sz="2000">
                <a:solidFill>
                  <a:schemeClr val="tx1"/>
                </a:solidFill>
                <a:latin typeface="Perpetua" panose="02020502060401020303" pitchFamily="18" charset="0"/>
              </a:defRPr>
            </a:lvl9pPr>
          </a:lstStyle>
          <a:p>
            <a:pPr fontAlgn="base">
              <a:spcBef>
                <a:spcPct val="0"/>
              </a:spcBef>
              <a:spcAft>
                <a:spcPct val="0"/>
              </a:spcAft>
              <a:buClrTx/>
              <a:buSzTx/>
              <a:buNone/>
            </a:pPr>
            <a:r>
              <a:rPr lang="en-US" altLang="en-US" sz="1800">
                <a:solidFill>
                  <a:srgbClr val="FFFF00"/>
                </a:solidFill>
                <a:latin typeface="Calibri" panose="020F0502020204030204" pitchFamily="34" charset="0"/>
                <a:cs typeface="Arial" panose="020B0604020202020204" pitchFamily="34" charset="0"/>
              </a:rPr>
              <a:t>Discuss</a:t>
            </a:r>
          </a:p>
        </p:txBody>
      </p:sp>
      <p:sp>
        <p:nvSpPr>
          <p:cNvPr id="115720" name="Right Arrow 7">
            <a:extLst>
              <a:ext uri="{FF2B5EF4-FFF2-40B4-BE49-F238E27FC236}">
                <a16:creationId xmlns:a16="http://schemas.microsoft.com/office/drawing/2014/main" id="{CDB4E5C0-C3BA-4D97-8EFB-1FD28CE621D3}"/>
              </a:ext>
            </a:extLst>
          </p:cNvPr>
          <p:cNvSpPr>
            <a:spLocks noChangeArrowheads="1"/>
          </p:cNvSpPr>
          <p:nvPr/>
        </p:nvSpPr>
        <p:spPr bwMode="auto">
          <a:xfrm>
            <a:off x="1847850" y="3284539"/>
            <a:ext cx="3024188" cy="936625"/>
          </a:xfrm>
          <a:prstGeom prst="rightArrow">
            <a:avLst>
              <a:gd name="adj1" fmla="val 50000"/>
              <a:gd name="adj2" fmla="val 49972"/>
            </a:avLst>
          </a:prstGeom>
          <a:solidFill>
            <a:schemeClr val="accent1"/>
          </a:solidFill>
          <a:ln w="9525" algn="ctr">
            <a:solidFill>
              <a:schemeClr val="tx1"/>
            </a:solidFill>
            <a:round/>
            <a:headEnd/>
            <a:tailEnd/>
          </a:ln>
        </p:spPr>
        <p:txBody>
          <a:bodyPr/>
          <a:lstStyle>
            <a:lvl1pPr>
              <a:spcBef>
                <a:spcPts val="575"/>
              </a:spcBef>
              <a:buClr>
                <a:schemeClr val="accent1"/>
              </a:buClr>
              <a:buSzPct val="85000"/>
              <a:buFont typeface="Wingdings 2" panose="05020102010507070707" pitchFamily="18" charset="2"/>
              <a:buChar char=""/>
              <a:defRPr sz="2600">
                <a:solidFill>
                  <a:schemeClr val="tx1"/>
                </a:solidFill>
                <a:latin typeface="Perpetua" panose="02020502060401020303" pitchFamily="18" charset="0"/>
              </a:defRPr>
            </a:lvl1pPr>
            <a:lvl2pPr marL="742950" indent="-285750">
              <a:spcBef>
                <a:spcPts val="375"/>
              </a:spcBef>
              <a:buClr>
                <a:schemeClr val="accent2"/>
              </a:buClr>
              <a:buSzPct val="85000"/>
              <a:buFont typeface="Wingdings 2" panose="05020102010507070707" pitchFamily="18" charset="2"/>
              <a:buChar char=""/>
              <a:defRPr sz="2400">
                <a:solidFill>
                  <a:schemeClr val="tx1"/>
                </a:solidFill>
                <a:latin typeface="Perpetua" panose="02020502060401020303" pitchFamily="18" charset="0"/>
              </a:defRPr>
            </a:lvl2pPr>
            <a:lvl3pPr marL="1143000" indent="-228600">
              <a:spcBef>
                <a:spcPts val="375"/>
              </a:spcBef>
              <a:buClr>
                <a:srgbClr val="E6B1AB"/>
              </a:buClr>
              <a:buSzPct val="85000"/>
              <a:buFont typeface="Wingdings 2" panose="05020102010507070707" pitchFamily="18" charset="2"/>
              <a:buChar char=""/>
              <a:defRPr sz="2000">
                <a:solidFill>
                  <a:schemeClr val="tx1"/>
                </a:solidFill>
                <a:latin typeface="Perpetua" panose="02020502060401020303" pitchFamily="18" charset="0"/>
              </a:defRPr>
            </a:lvl3pPr>
            <a:lvl4pPr marL="1600200" indent="-228600">
              <a:spcBef>
                <a:spcPts val="375"/>
              </a:spcBef>
              <a:buClr>
                <a:srgbClr val="A28E6A"/>
              </a:buClr>
              <a:buSzPct val="80000"/>
              <a:buFont typeface="Wingdings 2" panose="05020102010507070707" pitchFamily="18" charset="2"/>
              <a:buChar char=""/>
              <a:defRPr sz="2000">
                <a:solidFill>
                  <a:schemeClr val="tx1"/>
                </a:solidFill>
                <a:latin typeface="Perpetua" panose="02020502060401020303" pitchFamily="18" charset="0"/>
              </a:defRPr>
            </a:lvl4pPr>
            <a:lvl5pPr marL="2057400" indent="-228600">
              <a:spcBef>
                <a:spcPts val="375"/>
              </a:spcBef>
              <a:buClr>
                <a:srgbClr val="A28E6A"/>
              </a:buClr>
              <a:buChar char="o"/>
              <a:defRPr sz="2000">
                <a:solidFill>
                  <a:schemeClr val="tx1"/>
                </a:solidFill>
                <a:latin typeface="Perpetua" panose="02020502060401020303" pitchFamily="18" charset="0"/>
              </a:defRPr>
            </a:lvl5pPr>
            <a:lvl6pPr marL="2514600" indent="-228600" fontAlgn="base">
              <a:spcBef>
                <a:spcPts val="375"/>
              </a:spcBef>
              <a:spcAft>
                <a:spcPct val="0"/>
              </a:spcAft>
              <a:buClr>
                <a:srgbClr val="A28E6A"/>
              </a:buClr>
              <a:buChar char="o"/>
              <a:defRPr sz="2000">
                <a:solidFill>
                  <a:schemeClr val="tx1"/>
                </a:solidFill>
                <a:latin typeface="Perpetua" panose="02020502060401020303" pitchFamily="18" charset="0"/>
              </a:defRPr>
            </a:lvl6pPr>
            <a:lvl7pPr marL="2971800" indent="-228600" fontAlgn="base">
              <a:spcBef>
                <a:spcPts val="375"/>
              </a:spcBef>
              <a:spcAft>
                <a:spcPct val="0"/>
              </a:spcAft>
              <a:buClr>
                <a:srgbClr val="A28E6A"/>
              </a:buClr>
              <a:buChar char="o"/>
              <a:defRPr sz="2000">
                <a:solidFill>
                  <a:schemeClr val="tx1"/>
                </a:solidFill>
                <a:latin typeface="Perpetua" panose="02020502060401020303" pitchFamily="18" charset="0"/>
              </a:defRPr>
            </a:lvl7pPr>
            <a:lvl8pPr marL="3429000" indent="-228600" fontAlgn="base">
              <a:spcBef>
                <a:spcPts val="375"/>
              </a:spcBef>
              <a:spcAft>
                <a:spcPct val="0"/>
              </a:spcAft>
              <a:buClr>
                <a:srgbClr val="A28E6A"/>
              </a:buClr>
              <a:buChar char="o"/>
              <a:defRPr sz="2000">
                <a:solidFill>
                  <a:schemeClr val="tx1"/>
                </a:solidFill>
                <a:latin typeface="Perpetua" panose="02020502060401020303" pitchFamily="18" charset="0"/>
              </a:defRPr>
            </a:lvl8pPr>
            <a:lvl9pPr marL="3886200" indent="-228600" fontAlgn="base">
              <a:spcBef>
                <a:spcPts val="375"/>
              </a:spcBef>
              <a:spcAft>
                <a:spcPct val="0"/>
              </a:spcAft>
              <a:buClr>
                <a:srgbClr val="A28E6A"/>
              </a:buClr>
              <a:buChar char="o"/>
              <a:defRPr sz="2000">
                <a:solidFill>
                  <a:schemeClr val="tx1"/>
                </a:solidFill>
                <a:latin typeface="Perpetua" panose="02020502060401020303" pitchFamily="18" charset="0"/>
              </a:defRPr>
            </a:lvl9pPr>
          </a:lstStyle>
          <a:p>
            <a:pPr fontAlgn="base">
              <a:spcBef>
                <a:spcPct val="0"/>
              </a:spcBef>
              <a:spcAft>
                <a:spcPct val="0"/>
              </a:spcAft>
              <a:buClrTx/>
              <a:buSzTx/>
              <a:buNone/>
            </a:pPr>
            <a:r>
              <a:rPr lang="en-US" altLang="en-US" sz="1800">
                <a:solidFill>
                  <a:srgbClr val="FFFF00"/>
                </a:solidFill>
                <a:latin typeface="Calibri" panose="020F0502020204030204" pitchFamily="34" charset="0"/>
                <a:cs typeface="Arial" panose="020B0604020202020204" pitchFamily="34" charset="0"/>
              </a:rPr>
              <a:t>Don’t discriminate</a:t>
            </a:r>
          </a:p>
        </p:txBody>
      </p:sp>
      <p:sp>
        <p:nvSpPr>
          <p:cNvPr id="3" name="Slide Number Placeholder 2">
            <a:extLst>
              <a:ext uri="{FF2B5EF4-FFF2-40B4-BE49-F238E27FC236}">
                <a16:creationId xmlns:a16="http://schemas.microsoft.com/office/drawing/2014/main" id="{F6EDEFB1-C224-4120-B3CB-38D2D9544737}"/>
              </a:ext>
            </a:extLst>
          </p:cNvPr>
          <p:cNvSpPr>
            <a:spLocks noGrp="1"/>
          </p:cNvSpPr>
          <p:nvPr>
            <p:ph type="sldNum" sz="quarter" idx="4294967295"/>
          </p:nvPr>
        </p:nvSpPr>
        <p:spPr>
          <a:xfrm>
            <a:off x="1626394" y="6231082"/>
            <a:ext cx="457200" cy="457200"/>
          </a:xfrm>
        </p:spPr>
        <p:txBody>
          <a:bodyPr/>
          <a:lstStyle>
            <a:lvl1pPr>
              <a:defRPr>
                <a:solidFill>
                  <a:schemeClr val="tx1"/>
                </a:solidFill>
                <a:latin typeface="Perpetua" panose="02020502060401020303" pitchFamily="18" charset="0"/>
              </a:defRPr>
            </a:lvl1pPr>
            <a:lvl2pPr marL="742950" indent="-285750">
              <a:defRPr>
                <a:solidFill>
                  <a:schemeClr val="tx1"/>
                </a:solidFill>
                <a:latin typeface="Perpetua" panose="02020502060401020303" pitchFamily="18" charset="0"/>
              </a:defRPr>
            </a:lvl2pPr>
            <a:lvl3pPr marL="1143000" indent="-228600">
              <a:defRPr>
                <a:solidFill>
                  <a:schemeClr val="tx1"/>
                </a:solidFill>
                <a:latin typeface="Perpetua" panose="02020502060401020303" pitchFamily="18" charset="0"/>
              </a:defRPr>
            </a:lvl3pPr>
            <a:lvl4pPr marL="1600200" indent="-228600">
              <a:defRPr>
                <a:solidFill>
                  <a:schemeClr val="tx1"/>
                </a:solidFill>
                <a:latin typeface="Perpetua" panose="02020502060401020303" pitchFamily="18" charset="0"/>
              </a:defRPr>
            </a:lvl4pPr>
            <a:lvl5pPr marL="2057400" indent="-228600">
              <a:defRPr>
                <a:solidFill>
                  <a:schemeClr val="tx1"/>
                </a:solidFill>
                <a:latin typeface="Perpetua" panose="02020502060401020303" pitchFamily="18" charset="0"/>
              </a:defRPr>
            </a:lvl5pPr>
            <a:lvl6pPr marL="2514600" indent="-228600" fontAlgn="base">
              <a:spcBef>
                <a:spcPct val="0"/>
              </a:spcBef>
              <a:spcAft>
                <a:spcPct val="0"/>
              </a:spcAft>
              <a:defRPr>
                <a:solidFill>
                  <a:schemeClr val="tx1"/>
                </a:solidFill>
                <a:latin typeface="Perpetua" panose="02020502060401020303" pitchFamily="18" charset="0"/>
              </a:defRPr>
            </a:lvl6pPr>
            <a:lvl7pPr marL="2971800" indent="-228600" fontAlgn="base">
              <a:spcBef>
                <a:spcPct val="0"/>
              </a:spcBef>
              <a:spcAft>
                <a:spcPct val="0"/>
              </a:spcAft>
              <a:defRPr>
                <a:solidFill>
                  <a:schemeClr val="tx1"/>
                </a:solidFill>
                <a:latin typeface="Perpetua" panose="02020502060401020303" pitchFamily="18" charset="0"/>
              </a:defRPr>
            </a:lvl7pPr>
            <a:lvl8pPr marL="3429000" indent="-228600" fontAlgn="base">
              <a:spcBef>
                <a:spcPct val="0"/>
              </a:spcBef>
              <a:spcAft>
                <a:spcPct val="0"/>
              </a:spcAft>
              <a:defRPr>
                <a:solidFill>
                  <a:schemeClr val="tx1"/>
                </a:solidFill>
                <a:latin typeface="Perpetua" panose="02020502060401020303" pitchFamily="18" charset="0"/>
              </a:defRPr>
            </a:lvl8pPr>
            <a:lvl9pPr marL="3886200" indent="-228600" fontAlgn="base">
              <a:spcBef>
                <a:spcPct val="0"/>
              </a:spcBef>
              <a:spcAft>
                <a:spcPct val="0"/>
              </a:spcAft>
              <a:defRPr>
                <a:solidFill>
                  <a:schemeClr val="tx1"/>
                </a:solidFill>
                <a:latin typeface="Perpetua" panose="02020502060401020303" pitchFamily="18" charset="0"/>
              </a:defRPr>
            </a:lvl9pPr>
          </a:lstStyle>
          <a:p>
            <a:pPr fontAlgn="base">
              <a:spcBef>
                <a:spcPct val="0"/>
              </a:spcBef>
              <a:spcAft>
                <a:spcPct val="0"/>
              </a:spcAft>
            </a:pPr>
            <a:fld id="{357C72C5-6DFD-42BD-B47C-B0FED405F5BB}" type="slidenum">
              <a:rPr lang="en-US" altLang="en-US">
                <a:solidFill>
                  <a:srgbClr val="FFFFFF"/>
                </a:solidFill>
                <a:latin typeface="Franklin Gothic Book" panose="020B0503020102020204" pitchFamily="34" charset="0"/>
                <a:cs typeface="Arial" panose="020B0604020202020204" pitchFamily="34" charset="0"/>
              </a:rPr>
              <a:pPr fontAlgn="base">
                <a:spcBef>
                  <a:spcPct val="0"/>
                </a:spcBef>
                <a:spcAft>
                  <a:spcPct val="0"/>
                </a:spcAft>
              </a:pPr>
              <a:t>10</a:t>
            </a:fld>
            <a:endParaRPr lang="en-US" altLang="en-US">
              <a:solidFill>
                <a:srgbClr val="FFFFFF"/>
              </a:solidFill>
              <a:latin typeface="Franklin Gothic Book" panose="020B0503020102020204" pitchFamily="34" charset="0"/>
              <a:cs typeface="Arial" panose="020B0604020202020204" pitchFamily="34" charset="0"/>
            </a:endParaRP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6738" name="Title 1">
            <a:extLst>
              <a:ext uri="{FF2B5EF4-FFF2-40B4-BE49-F238E27FC236}">
                <a16:creationId xmlns:a16="http://schemas.microsoft.com/office/drawing/2014/main" id="{62DD125B-7C8B-491D-9E01-5D77E0116C4C}"/>
              </a:ext>
            </a:extLst>
          </p:cNvPr>
          <p:cNvSpPr>
            <a:spLocks noGrp="1"/>
          </p:cNvSpPr>
          <p:nvPr>
            <p:ph type="title"/>
          </p:nvPr>
        </p:nvSpPr>
        <p:spPr>
          <a:xfrm>
            <a:off x="2246313" y="952501"/>
            <a:ext cx="7772400" cy="1362075"/>
          </a:xfrm>
        </p:spPr>
        <p:txBody>
          <a:bodyPr/>
          <a:lstStyle/>
          <a:p>
            <a:r>
              <a:rPr lang="en-US" altLang="en-US"/>
              <a:t>Security of Supply</a:t>
            </a:r>
          </a:p>
        </p:txBody>
      </p:sp>
      <p:sp>
        <p:nvSpPr>
          <p:cNvPr id="5" name="Text Placeholder 4">
            <a:extLst>
              <a:ext uri="{FF2B5EF4-FFF2-40B4-BE49-F238E27FC236}">
                <a16:creationId xmlns:a16="http://schemas.microsoft.com/office/drawing/2014/main" id="{1968745B-9903-426D-912C-5B0E5139991F}"/>
              </a:ext>
            </a:extLst>
          </p:cNvPr>
          <p:cNvSpPr>
            <a:spLocks noGrp="1"/>
          </p:cNvSpPr>
          <p:nvPr>
            <p:ph type="body" idx="1"/>
          </p:nvPr>
        </p:nvSpPr>
        <p:spPr/>
        <p:txBody>
          <a:bodyPr rtlCol="0">
            <a:normAutofit/>
          </a:bodyPr>
          <a:lstStyle/>
          <a:p>
            <a:pPr fontAlgn="auto">
              <a:spcBef>
                <a:spcPts val="580"/>
              </a:spcBef>
              <a:spcAft>
                <a:spcPts val="0"/>
              </a:spcAft>
              <a:defRPr/>
            </a:pPr>
            <a:endParaRPr lang="en-US"/>
          </a:p>
        </p:txBody>
      </p:sp>
      <p:sp>
        <p:nvSpPr>
          <p:cNvPr id="4" name="Slide Number Placeholder 3">
            <a:extLst>
              <a:ext uri="{FF2B5EF4-FFF2-40B4-BE49-F238E27FC236}">
                <a16:creationId xmlns:a16="http://schemas.microsoft.com/office/drawing/2014/main" id="{9D518683-A95B-4A9C-B2B5-7F7EBD42DCD6}"/>
              </a:ext>
            </a:extLst>
          </p:cNvPr>
          <p:cNvSpPr>
            <a:spLocks noGrp="1"/>
          </p:cNvSpPr>
          <p:nvPr>
            <p:ph type="sldNum" sz="quarter" idx="12"/>
          </p:nvPr>
        </p:nvSpPr>
        <p:spPr/>
        <p:txBody>
          <a:bodyPr/>
          <a:lstStyle>
            <a:lvl1pPr>
              <a:defRPr>
                <a:solidFill>
                  <a:schemeClr val="tx1"/>
                </a:solidFill>
                <a:latin typeface="Perpetua" panose="02020502060401020303" pitchFamily="18" charset="0"/>
              </a:defRPr>
            </a:lvl1pPr>
            <a:lvl2pPr marL="742950" indent="-285750">
              <a:defRPr>
                <a:solidFill>
                  <a:schemeClr val="tx1"/>
                </a:solidFill>
                <a:latin typeface="Perpetua" panose="02020502060401020303" pitchFamily="18" charset="0"/>
              </a:defRPr>
            </a:lvl2pPr>
            <a:lvl3pPr marL="1143000" indent="-228600">
              <a:defRPr>
                <a:solidFill>
                  <a:schemeClr val="tx1"/>
                </a:solidFill>
                <a:latin typeface="Perpetua" panose="02020502060401020303" pitchFamily="18" charset="0"/>
              </a:defRPr>
            </a:lvl3pPr>
            <a:lvl4pPr marL="1600200" indent="-228600">
              <a:defRPr>
                <a:solidFill>
                  <a:schemeClr val="tx1"/>
                </a:solidFill>
                <a:latin typeface="Perpetua" panose="02020502060401020303" pitchFamily="18" charset="0"/>
              </a:defRPr>
            </a:lvl4pPr>
            <a:lvl5pPr marL="2057400" indent="-228600">
              <a:defRPr>
                <a:solidFill>
                  <a:schemeClr val="tx1"/>
                </a:solidFill>
                <a:latin typeface="Perpetua" panose="02020502060401020303" pitchFamily="18" charset="0"/>
              </a:defRPr>
            </a:lvl5pPr>
            <a:lvl6pPr marL="2514600" indent="-228600" fontAlgn="base">
              <a:spcBef>
                <a:spcPct val="0"/>
              </a:spcBef>
              <a:spcAft>
                <a:spcPct val="0"/>
              </a:spcAft>
              <a:defRPr>
                <a:solidFill>
                  <a:schemeClr val="tx1"/>
                </a:solidFill>
                <a:latin typeface="Perpetua" panose="02020502060401020303" pitchFamily="18" charset="0"/>
              </a:defRPr>
            </a:lvl6pPr>
            <a:lvl7pPr marL="2971800" indent="-228600" fontAlgn="base">
              <a:spcBef>
                <a:spcPct val="0"/>
              </a:spcBef>
              <a:spcAft>
                <a:spcPct val="0"/>
              </a:spcAft>
              <a:defRPr>
                <a:solidFill>
                  <a:schemeClr val="tx1"/>
                </a:solidFill>
                <a:latin typeface="Perpetua" panose="02020502060401020303" pitchFamily="18" charset="0"/>
              </a:defRPr>
            </a:lvl7pPr>
            <a:lvl8pPr marL="3429000" indent="-228600" fontAlgn="base">
              <a:spcBef>
                <a:spcPct val="0"/>
              </a:spcBef>
              <a:spcAft>
                <a:spcPct val="0"/>
              </a:spcAft>
              <a:defRPr>
                <a:solidFill>
                  <a:schemeClr val="tx1"/>
                </a:solidFill>
                <a:latin typeface="Perpetua" panose="02020502060401020303" pitchFamily="18" charset="0"/>
              </a:defRPr>
            </a:lvl8pPr>
            <a:lvl9pPr marL="3886200" indent="-228600" fontAlgn="base">
              <a:spcBef>
                <a:spcPct val="0"/>
              </a:spcBef>
              <a:spcAft>
                <a:spcPct val="0"/>
              </a:spcAft>
              <a:defRPr>
                <a:solidFill>
                  <a:schemeClr val="tx1"/>
                </a:solidFill>
                <a:latin typeface="Perpetua" panose="02020502060401020303" pitchFamily="18" charset="0"/>
              </a:defRPr>
            </a:lvl9pPr>
          </a:lstStyle>
          <a:p>
            <a:pPr fontAlgn="base">
              <a:spcBef>
                <a:spcPct val="0"/>
              </a:spcBef>
              <a:spcAft>
                <a:spcPct val="0"/>
              </a:spcAft>
            </a:pPr>
            <a:fld id="{930B6C88-2773-4E41-989D-9D613B9B4AB9}" type="slidenum">
              <a:rPr lang="en-US" altLang="en-US">
                <a:solidFill>
                  <a:srgbClr val="FFFFFF"/>
                </a:solidFill>
                <a:latin typeface="Franklin Gothic Book" panose="020B0503020102020204" pitchFamily="34" charset="0"/>
                <a:cs typeface="Arial" panose="020B0604020202020204" pitchFamily="34" charset="0"/>
              </a:rPr>
              <a:pPr fontAlgn="base">
                <a:spcBef>
                  <a:spcPct val="0"/>
                </a:spcBef>
                <a:spcAft>
                  <a:spcPct val="0"/>
                </a:spcAft>
              </a:pPr>
              <a:t>11</a:t>
            </a:fld>
            <a:endParaRPr lang="en-US" altLang="en-US">
              <a:solidFill>
                <a:srgbClr val="FFFFFF"/>
              </a:solidFill>
              <a:latin typeface="Franklin Gothic Book" panose="020B0503020102020204" pitchFamily="34" charset="0"/>
              <a:cs typeface="Arial" panose="020B0604020202020204" pitchFamily="34" charset="0"/>
            </a:endParaRPr>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7762" name="Title 1">
            <a:extLst>
              <a:ext uri="{FF2B5EF4-FFF2-40B4-BE49-F238E27FC236}">
                <a16:creationId xmlns:a16="http://schemas.microsoft.com/office/drawing/2014/main" id="{4F8B35DD-26BF-4554-A0BA-A48446316B44}"/>
              </a:ext>
            </a:extLst>
          </p:cNvPr>
          <p:cNvSpPr>
            <a:spLocks noGrp="1"/>
          </p:cNvSpPr>
          <p:nvPr>
            <p:ph type="title"/>
          </p:nvPr>
        </p:nvSpPr>
        <p:spPr>
          <a:xfrm>
            <a:off x="2246313" y="952501"/>
            <a:ext cx="7772400" cy="1362075"/>
          </a:xfrm>
        </p:spPr>
        <p:txBody>
          <a:bodyPr/>
          <a:lstStyle/>
          <a:p>
            <a:r>
              <a:rPr lang="en-US" altLang="en-US">
                <a:solidFill>
                  <a:srgbClr val="FFC000"/>
                </a:solidFill>
              </a:rPr>
              <a:t>Angela Merkel’s Mobile Phone</a:t>
            </a:r>
          </a:p>
        </p:txBody>
      </p:sp>
      <p:pic>
        <p:nvPicPr>
          <p:cNvPr id="117763" name="Picture 2">
            <a:extLst>
              <a:ext uri="{FF2B5EF4-FFF2-40B4-BE49-F238E27FC236}">
                <a16:creationId xmlns:a16="http://schemas.microsoft.com/office/drawing/2014/main" id="{BF4B2D5D-4585-4C53-8D48-CEE22720002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292351" y="3048000"/>
            <a:ext cx="4608513" cy="2819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Slide Number Placeholder 3">
            <a:extLst>
              <a:ext uri="{FF2B5EF4-FFF2-40B4-BE49-F238E27FC236}">
                <a16:creationId xmlns:a16="http://schemas.microsoft.com/office/drawing/2014/main" id="{7A99CEC9-179F-4AF7-B3EE-AC011E0A3F9F}"/>
              </a:ext>
            </a:extLst>
          </p:cNvPr>
          <p:cNvSpPr>
            <a:spLocks noGrp="1"/>
          </p:cNvSpPr>
          <p:nvPr>
            <p:ph type="sldNum" sz="quarter" idx="12"/>
          </p:nvPr>
        </p:nvSpPr>
        <p:spPr/>
        <p:txBody>
          <a:bodyPr/>
          <a:lstStyle>
            <a:lvl1pPr>
              <a:defRPr>
                <a:solidFill>
                  <a:schemeClr val="tx1"/>
                </a:solidFill>
                <a:latin typeface="Perpetua" panose="02020502060401020303" pitchFamily="18" charset="0"/>
              </a:defRPr>
            </a:lvl1pPr>
            <a:lvl2pPr marL="742950" indent="-285750">
              <a:defRPr>
                <a:solidFill>
                  <a:schemeClr val="tx1"/>
                </a:solidFill>
                <a:latin typeface="Perpetua" panose="02020502060401020303" pitchFamily="18" charset="0"/>
              </a:defRPr>
            </a:lvl2pPr>
            <a:lvl3pPr marL="1143000" indent="-228600">
              <a:defRPr>
                <a:solidFill>
                  <a:schemeClr val="tx1"/>
                </a:solidFill>
                <a:latin typeface="Perpetua" panose="02020502060401020303" pitchFamily="18" charset="0"/>
              </a:defRPr>
            </a:lvl3pPr>
            <a:lvl4pPr marL="1600200" indent="-228600">
              <a:defRPr>
                <a:solidFill>
                  <a:schemeClr val="tx1"/>
                </a:solidFill>
                <a:latin typeface="Perpetua" panose="02020502060401020303" pitchFamily="18" charset="0"/>
              </a:defRPr>
            </a:lvl4pPr>
            <a:lvl5pPr marL="2057400" indent="-228600">
              <a:defRPr>
                <a:solidFill>
                  <a:schemeClr val="tx1"/>
                </a:solidFill>
                <a:latin typeface="Perpetua" panose="02020502060401020303" pitchFamily="18" charset="0"/>
              </a:defRPr>
            </a:lvl5pPr>
            <a:lvl6pPr marL="2514600" indent="-228600" fontAlgn="base">
              <a:spcBef>
                <a:spcPct val="0"/>
              </a:spcBef>
              <a:spcAft>
                <a:spcPct val="0"/>
              </a:spcAft>
              <a:defRPr>
                <a:solidFill>
                  <a:schemeClr val="tx1"/>
                </a:solidFill>
                <a:latin typeface="Perpetua" panose="02020502060401020303" pitchFamily="18" charset="0"/>
              </a:defRPr>
            </a:lvl6pPr>
            <a:lvl7pPr marL="2971800" indent="-228600" fontAlgn="base">
              <a:spcBef>
                <a:spcPct val="0"/>
              </a:spcBef>
              <a:spcAft>
                <a:spcPct val="0"/>
              </a:spcAft>
              <a:defRPr>
                <a:solidFill>
                  <a:schemeClr val="tx1"/>
                </a:solidFill>
                <a:latin typeface="Perpetua" panose="02020502060401020303" pitchFamily="18" charset="0"/>
              </a:defRPr>
            </a:lvl7pPr>
            <a:lvl8pPr marL="3429000" indent="-228600" fontAlgn="base">
              <a:spcBef>
                <a:spcPct val="0"/>
              </a:spcBef>
              <a:spcAft>
                <a:spcPct val="0"/>
              </a:spcAft>
              <a:defRPr>
                <a:solidFill>
                  <a:schemeClr val="tx1"/>
                </a:solidFill>
                <a:latin typeface="Perpetua" panose="02020502060401020303" pitchFamily="18" charset="0"/>
              </a:defRPr>
            </a:lvl8pPr>
            <a:lvl9pPr marL="3886200" indent="-228600" fontAlgn="base">
              <a:spcBef>
                <a:spcPct val="0"/>
              </a:spcBef>
              <a:spcAft>
                <a:spcPct val="0"/>
              </a:spcAft>
              <a:defRPr>
                <a:solidFill>
                  <a:schemeClr val="tx1"/>
                </a:solidFill>
                <a:latin typeface="Perpetua" panose="02020502060401020303" pitchFamily="18" charset="0"/>
              </a:defRPr>
            </a:lvl9pPr>
          </a:lstStyle>
          <a:p>
            <a:pPr fontAlgn="base">
              <a:spcBef>
                <a:spcPct val="0"/>
              </a:spcBef>
              <a:spcAft>
                <a:spcPct val="0"/>
              </a:spcAft>
            </a:pPr>
            <a:fld id="{3704ACA3-F8EC-4CF2-AB96-7A2874E3CDB6}" type="slidenum">
              <a:rPr lang="en-US" altLang="en-US">
                <a:solidFill>
                  <a:srgbClr val="FFFFFF"/>
                </a:solidFill>
                <a:latin typeface="Franklin Gothic Book" panose="020B0503020102020204" pitchFamily="34" charset="0"/>
                <a:cs typeface="Arial" panose="020B0604020202020204" pitchFamily="34" charset="0"/>
              </a:rPr>
              <a:pPr fontAlgn="base">
                <a:spcBef>
                  <a:spcPct val="0"/>
                </a:spcBef>
                <a:spcAft>
                  <a:spcPct val="0"/>
                </a:spcAft>
              </a:pPr>
              <a:t>12</a:t>
            </a:fld>
            <a:endParaRPr lang="en-US" altLang="en-US">
              <a:solidFill>
                <a:srgbClr val="FFFFFF"/>
              </a:solidFill>
              <a:latin typeface="Franklin Gothic Book" panose="020B0503020102020204" pitchFamily="34" charset="0"/>
              <a:cs typeface="Arial" panose="020B0604020202020204" pitchFamily="34" charset="0"/>
            </a:endParaRPr>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8786" name="Title 1">
            <a:extLst>
              <a:ext uri="{FF2B5EF4-FFF2-40B4-BE49-F238E27FC236}">
                <a16:creationId xmlns:a16="http://schemas.microsoft.com/office/drawing/2014/main" id="{1D32C830-A308-4C9F-A205-00CFF8C0ECC2}"/>
              </a:ext>
            </a:extLst>
          </p:cNvPr>
          <p:cNvSpPr>
            <a:spLocks noGrp="1"/>
          </p:cNvSpPr>
          <p:nvPr>
            <p:ph type="title"/>
          </p:nvPr>
        </p:nvSpPr>
        <p:spPr>
          <a:xfrm>
            <a:off x="2389188" y="0"/>
            <a:ext cx="7772400" cy="1143000"/>
          </a:xfrm>
        </p:spPr>
        <p:txBody>
          <a:bodyPr/>
          <a:lstStyle/>
          <a:p>
            <a:r>
              <a:rPr lang="en-US" altLang="en-US" sz="3200" b="1"/>
              <a:t>Germany Canceled Verizon Contract</a:t>
            </a:r>
          </a:p>
        </p:txBody>
      </p:sp>
      <p:sp>
        <p:nvSpPr>
          <p:cNvPr id="3" name="Content Placeholder 2">
            <a:extLst>
              <a:ext uri="{FF2B5EF4-FFF2-40B4-BE49-F238E27FC236}">
                <a16:creationId xmlns:a16="http://schemas.microsoft.com/office/drawing/2014/main" id="{4F713024-8A4B-4EE9-A866-4FE96B4AE8F6}"/>
              </a:ext>
            </a:extLst>
          </p:cNvPr>
          <p:cNvSpPr>
            <a:spLocks noGrp="1"/>
          </p:cNvSpPr>
          <p:nvPr>
            <p:ph sz="quarter" idx="1"/>
          </p:nvPr>
        </p:nvSpPr>
        <p:spPr>
          <a:xfrm>
            <a:off x="2316163" y="1246188"/>
            <a:ext cx="7772400" cy="4572000"/>
          </a:xfrm>
        </p:spPr>
        <p:txBody>
          <a:bodyPr rtlCol="0">
            <a:normAutofit fontScale="62500" lnSpcReduction="20000"/>
          </a:bodyPr>
          <a:lstStyle/>
          <a:p>
            <a:pPr marL="274320" indent="-274320" fontAlgn="auto">
              <a:spcBef>
                <a:spcPts val="580"/>
              </a:spcBef>
              <a:spcAft>
                <a:spcPts val="0"/>
              </a:spcAft>
              <a:buNone/>
              <a:defRPr/>
            </a:pPr>
            <a:r>
              <a:rPr lang="en-US" sz="2800" dirty="0"/>
              <a:t>Thu Jun 26, 2014</a:t>
            </a:r>
          </a:p>
          <a:p>
            <a:pPr marL="274320" indent="-274320" fontAlgn="auto">
              <a:spcBef>
                <a:spcPts val="580"/>
              </a:spcBef>
              <a:spcAft>
                <a:spcPts val="0"/>
              </a:spcAft>
              <a:buNone/>
              <a:defRPr/>
            </a:pPr>
            <a:r>
              <a:rPr lang="en-US" sz="2800" i="1" dirty="0"/>
              <a:t>German government cancels Verizon contract in wake of U.S. spying row</a:t>
            </a:r>
          </a:p>
          <a:p>
            <a:pPr marL="274320" indent="-274320" fontAlgn="auto">
              <a:spcBef>
                <a:spcPts val="580"/>
              </a:spcBef>
              <a:spcAft>
                <a:spcPts val="0"/>
              </a:spcAft>
              <a:buNone/>
              <a:defRPr/>
            </a:pPr>
            <a:r>
              <a:rPr lang="en-US" sz="2800" b="1" cap="all" dirty="0"/>
              <a:t>BERLIN</a:t>
            </a:r>
            <a:endParaRPr lang="en-US" sz="2800" dirty="0"/>
          </a:p>
          <a:p>
            <a:pPr marL="274320" indent="-274320" fontAlgn="auto">
              <a:spcBef>
                <a:spcPts val="580"/>
              </a:spcBef>
              <a:spcAft>
                <a:spcPts val="0"/>
              </a:spcAft>
              <a:buNone/>
              <a:defRPr/>
            </a:pPr>
            <a:r>
              <a:rPr lang="en-US" sz="2800" cap="all" dirty="0"/>
              <a:t>REUTERS/RICK </a:t>
            </a:r>
            <a:r>
              <a:rPr lang="en-US" sz="2800" cap="all" dirty="0" err="1"/>
              <a:t>WILKING</a:t>
            </a:r>
            <a:endParaRPr lang="en-US" sz="2800" cap="all" dirty="0"/>
          </a:p>
          <a:p>
            <a:pPr marL="274320" indent="-274320" fontAlgn="auto">
              <a:spcBef>
                <a:spcPts val="580"/>
              </a:spcBef>
              <a:spcAft>
                <a:spcPts val="0"/>
              </a:spcAft>
              <a:buNone/>
              <a:defRPr/>
            </a:pPr>
            <a:r>
              <a:rPr lang="en-US" sz="2800" b="1" dirty="0"/>
              <a:t>The German government has cancelled a contract with U.S. telecoms firm Verizon Communications Inc </a:t>
            </a:r>
            <a:r>
              <a:rPr lang="en-US" sz="2800" b="1" dirty="0" err="1"/>
              <a:t>VZ.N</a:t>
            </a:r>
            <a:r>
              <a:rPr lang="en-US" sz="2800" b="1" dirty="0"/>
              <a:t> as part of an overhaul of its internal communications, prompted by revelations last year of U.S. government spying.</a:t>
            </a:r>
          </a:p>
          <a:p>
            <a:pPr marL="274320" indent="-274320" fontAlgn="auto">
              <a:spcBef>
                <a:spcPts val="580"/>
              </a:spcBef>
              <a:spcAft>
                <a:spcPts val="0"/>
              </a:spcAft>
              <a:buNone/>
              <a:defRPr/>
            </a:pPr>
            <a:r>
              <a:rPr lang="en-US" sz="2800" dirty="0"/>
              <a:t>Reports based on disclosures by former U.S. intelligence contractor Edward Snowden alleged Washington had conducted mass surveillance in Germany and had even eavesdropped on Chancellor Angela Merkel's mobile phone.</a:t>
            </a:r>
          </a:p>
          <a:p>
            <a:pPr marL="274320" indent="-274320" fontAlgn="auto">
              <a:spcBef>
                <a:spcPts val="580"/>
              </a:spcBef>
              <a:spcAft>
                <a:spcPts val="0"/>
              </a:spcAft>
              <a:buNone/>
              <a:defRPr/>
            </a:pPr>
            <a:r>
              <a:rPr lang="en-US" sz="2800" dirty="0"/>
              <a:t>Berlin subsequently demanded talks with Washington on a "no-spy" deal, but these collapsed after the United States appeared unwilling to give the assurances Germany wanted.</a:t>
            </a:r>
          </a:p>
          <a:p>
            <a:pPr marL="274320" indent="-274320" fontAlgn="auto">
              <a:spcBef>
                <a:spcPts val="580"/>
              </a:spcBef>
              <a:spcAft>
                <a:spcPts val="0"/>
              </a:spcAft>
              <a:buNone/>
              <a:defRPr/>
            </a:pPr>
            <a:r>
              <a:rPr lang="en-US" sz="2800" b="1" dirty="0"/>
              <a:t>Germany also launched an overhaul of its internal communications and secure government networks.</a:t>
            </a:r>
            <a:r>
              <a:rPr lang="en-US" sz="2800" dirty="0"/>
              <a:t> This is one of the first actions involving a U.S. firm to result.</a:t>
            </a:r>
          </a:p>
          <a:p>
            <a:pPr marL="274320" indent="-274320" fontAlgn="auto">
              <a:spcBef>
                <a:spcPts val="580"/>
              </a:spcBef>
              <a:spcAft>
                <a:spcPts val="0"/>
              </a:spcAft>
              <a:buFont typeface="Wingdings 2"/>
              <a:buChar char=""/>
              <a:defRPr/>
            </a:pPr>
            <a:endParaRPr lang="en-US" dirty="0"/>
          </a:p>
        </p:txBody>
      </p:sp>
      <p:sp>
        <p:nvSpPr>
          <p:cNvPr id="5" name="Slide Number Placeholder 4">
            <a:extLst>
              <a:ext uri="{FF2B5EF4-FFF2-40B4-BE49-F238E27FC236}">
                <a16:creationId xmlns:a16="http://schemas.microsoft.com/office/drawing/2014/main" id="{131C274E-4D5A-4CEB-ABD6-0DF131968609}"/>
              </a:ext>
            </a:extLst>
          </p:cNvPr>
          <p:cNvSpPr>
            <a:spLocks noGrp="1"/>
          </p:cNvSpPr>
          <p:nvPr>
            <p:ph type="sldNum" sz="quarter" idx="4294967295"/>
          </p:nvPr>
        </p:nvSpPr>
        <p:spPr>
          <a:xfrm>
            <a:off x="1626394" y="6231082"/>
            <a:ext cx="457200" cy="457200"/>
          </a:xfrm>
        </p:spPr>
        <p:txBody>
          <a:bodyPr/>
          <a:lstStyle>
            <a:lvl1pPr>
              <a:defRPr>
                <a:solidFill>
                  <a:schemeClr val="tx1"/>
                </a:solidFill>
                <a:latin typeface="Perpetua" panose="02020502060401020303" pitchFamily="18" charset="0"/>
              </a:defRPr>
            </a:lvl1pPr>
            <a:lvl2pPr marL="742950" indent="-285750">
              <a:defRPr>
                <a:solidFill>
                  <a:schemeClr val="tx1"/>
                </a:solidFill>
                <a:latin typeface="Perpetua" panose="02020502060401020303" pitchFamily="18" charset="0"/>
              </a:defRPr>
            </a:lvl2pPr>
            <a:lvl3pPr marL="1143000" indent="-228600">
              <a:defRPr>
                <a:solidFill>
                  <a:schemeClr val="tx1"/>
                </a:solidFill>
                <a:latin typeface="Perpetua" panose="02020502060401020303" pitchFamily="18" charset="0"/>
              </a:defRPr>
            </a:lvl3pPr>
            <a:lvl4pPr marL="1600200" indent="-228600">
              <a:defRPr>
                <a:solidFill>
                  <a:schemeClr val="tx1"/>
                </a:solidFill>
                <a:latin typeface="Perpetua" panose="02020502060401020303" pitchFamily="18" charset="0"/>
              </a:defRPr>
            </a:lvl4pPr>
            <a:lvl5pPr marL="2057400" indent="-228600">
              <a:defRPr>
                <a:solidFill>
                  <a:schemeClr val="tx1"/>
                </a:solidFill>
                <a:latin typeface="Perpetua" panose="02020502060401020303" pitchFamily="18" charset="0"/>
              </a:defRPr>
            </a:lvl5pPr>
            <a:lvl6pPr marL="2514600" indent="-228600" fontAlgn="base">
              <a:spcBef>
                <a:spcPct val="0"/>
              </a:spcBef>
              <a:spcAft>
                <a:spcPct val="0"/>
              </a:spcAft>
              <a:defRPr>
                <a:solidFill>
                  <a:schemeClr val="tx1"/>
                </a:solidFill>
                <a:latin typeface="Perpetua" panose="02020502060401020303" pitchFamily="18" charset="0"/>
              </a:defRPr>
            </a:lvl6pPr>
            <a:lvl7pPr marL="2971800" indent="-228600" fontAlgn="base">
              <a:spcBef>
                <a:spcPct val="0"/>
              </a:spcBef>
              <a:spcAft>
                <a:spcPct val="0"/>
              </a:spcAft>
              <a:defRPr>
                <a:solidFill>
                  <a:schemeClr val="tx1"/>
                </a:solidFill>
                <a:latin typeface="Perpetua" panose="02020502060401020303" pitchFamily="18" charset="0"/>
              </a:defRPr>
            </a:lvl7pPr>
            <a:lvl8pPr marL="3429000" indent="-228600" fontAlgn="base">
              <a:spcBef>
                <a:spcPct val="0"/>
              </a:spcBef>
              <a:spcAft>
                <a:spcPct val="0"/>
              </a:spcAft>
              <a:defRPr>
                <a:solidFill>
                  <a:schemeClr val="tx1"/>
                </a:solidFill>
                <a:latin typeface="Perpetua" panose="02020502060401020303" pitchFamily="18" charset="0"/>
              </a:defRPr>
            </a:lvl8pPr>
            <a:lvl9pPr marL="3886200" indent="-228600" fontAlgn="base">
              <a:spcBef>
                <a:spcPct val="0"/>
              </a:spcBef>
              <a:spcAft>
                <a:spcPct val="0"/>
              </a:spcAft>
              <a:defRPr>
                <a:solidFill>
                  <a:schemeClr val="tx1"/>
                </a:solidFill>
                <a:latin typeface="Perpetua" panose="02020502060401020303" pitchFamily="18" charset="0"/>
              </a:defRPr>
            </a:lvl9pPr>
          </a:lstStyle>
          <a:p>
            <a:pPr fontAlgn="base">
              <a:spcBef>
                <a:spcPct val="0"/>
              </a:spcBef>
              <a:spcAft>
                <a:spcPct val="0"/>
              </a:spcAft>
            </a:pPr>
            <a:fld id="{CB5ECFAB-CF95-4579-8320-1C89CE436490}" type="slidenum">
              <a:rPr lang="en-US" altLang="en-US">
                <a:solidFill>
                  <a:srgbClr val="FFFFFF"/>
                </a:solidFill>
                <a:latin typeface="Franklin Gothic Book" panose="020B0503020102020204" pitchFamily="34" charset="0"/>
                <a:cs typeface="Arial" panose="020B0604020202020204" pitchFamily="34" charset="0"/>
              </a:rPr>
              <a:pPr fontAlgn="base">
                <a:spcBef>
                  <a:spcPct val="0"/>
                </a:spcBef>
                <a:spcAft>
                  <a:spcPct val="0"/>
                </a:spcAft>
              </a:pPr>
              <a:t>13</a:t>
            </a:fld>
            <a:endParaRPr lang="en-US" altLang="en-US">
              <a:solidFill>
                <a:srgbClr val="FFFFFF"/>
              </a:solidFill>
              <a:latin typeface="Franklin Gothic Book" panose="020B0503020102020204" pitchFamily="34" charset="0"/>
              <a:cs typeface="Arial" panose="020B0604020202020204" pitchFamily="34" charset="0"/>
            </a:endParaRPr>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2" name="Title 1">
            <a:extLst>
              <a:ext uri="{FF2B5EF4-FFF2-40B4-BE49-F238E27FC236}">
                <a16:creationId xmlns:a16="http://schemas.microsoft.com/office/drawing/2014/main" id="{6ECB70CF-53B7-4D0D-99CA-B96451FBB420}"/>
              </a:ext>
            </a:extLst>
          </p:cNvPr>
          <p:cNvSpPr>
            <a:spLocks noGrp="1"/>
          </p:cNvSpPr>
          <p:nvPr>
            <p:ph type="title"/>
          </p:nvPr>
        </p:nvSpPr>
        <p:spPr>
          <a:xfrm>
            <a:off x="4876801" y="601663"/>
            <a:ext cx="5345113" cy="1143000"/>
          </a:xfrm>
        </p:spPr>
        <p:txBody>
          <a:bodyPr>
            <a:normAutofit fontScale="90000"/>
          </a:bodyPr>
          <a:lstStyle/>
          <a:p>
            <a:pPr algn="r" fontAlgn="auto">
              <a:spcAft>
                <a:spcPts val="0"/>
              </a:spcAft>
              <a:defRPr/>
            </a:pPr>
            <a:r>
              <a:rPr lang="en-US" altLang="en-US" sz="3200" b="1"/>
              <a:t>GPA, Art. III Leaves Discretion To Discriminate Regarding Classified Work</a:t>
            </a:r>
          </a:p>
        </p:txBody>
      </p:sp>
      <p:sp>
        <p:nvSpPr>
          <p:cNvPr id="119811" name="Content Placeholder 2">
            <a:extLst>
              <a:ext uri="{FF2B5EF4-FFF2-40B4-BE49-F238E27FC236}">
                <a16:creationId xmlns:a16="http://schemas.microsoft.com/office/drawing/2014/main" id="{51CCEE3B-2577-4E2B-89DA-0585457612D4}"/>
              </a:ext>
            </a:extLst>
          </p:cNvPr>
          <p:cNvSpPr>
            <a:spLocks noGrp="1"/>
          </p:cNvSpPr>
          <p:nvPr>
            <p:ph sz="quarter" idx="1"/>
          </p:nvPr>
        </p:nvSpPr>
        <p:spPr>
          <a:xfrm>
            <a:off x="2133600" y="2062163"/>
            <a:ext cx="7772400" cy="4572000"/>
          </a:xfrm>
        </p:spPr>
        <p:txBody>
          <a:bodyPr/>
          <a:lstStyle/>
          <a:p>
            <a:pPr>
              <a:buFont typeface="Arial" panose="020B0604020202020204" pitchFamily="34" charset="0"/>
              <a:buNone/>
            </a:pPr>
            <a:r>
              <a:rPr lang="en-US" altLang="en-US" dirty="0"/>
              <a:t>1. Nothing in this Agreement shall be construed to prevent any Party from taking any action or not disclosing any information </a:t>
            </a:r>
            <a:r>
              <a:rPr lang="en-US" altLang="en-US" b="1" dirty="0">
                <a:solidFill>
                  <a:schemeClr val="accent2">
                    <a:lumMod val="75000"/>
                  </a:schemeClr>
                </a:solidFill>
              </a:rPr>
              <a:t>that it considers necessary for the protection of its essential security interests </a:t>
            </a:r>
            <a:r>
              <a:rPr lang="en-US" altLang="en-US" dirty="0"/>
              <a:t>relating to the procurement of arms, ammunition or war materials, or to procurement indispensable for national security or for national </a:t>
            </a:r>
            <a:r>
              <a:rPr lang="en-US" altLang="en-US" dirty="0" err="1"/>
              <a:t>defence</a:t>
            </a:r>
            <a:r>
              <a:rPr lang="en-US" altLang="en-US" dirty="0"/>
              <a:t> purposes.</a:t>
            </a:r>
          </a:p>
        </p:txBody>
      </p:sp>
      <p:pic>
        <p:nvPicPr>
          <p:cNvPr id="119812" name="Picture 2">
            <a:extLst>
              <a:ext uri="{FF2B5EF4-FFF2-40B4-BE49-F238E27FC236}">
                <a16:creationId xmlns:a16="http://schemas.microsoft.com/office/drawing/2014/main" id="{BAEF87EC-CD54-402E-AF2C-E51FF8E0BF0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747839" y="300039"/>
            <a:ext cx="1546225" cy="1747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Slide Number Placeholder 5">
            <a:extLst>
              <a:ext uri="{FF2B5EF4-FFF2-40B4-BE49-F238E27FC236}">
                <a16:creationId xmlns:a16="http://schemas.microsoft.com/office/drawing/2014/main" id="{634D636D-7F84-48B0-B5D8-0659D7C01909}"/>
              </a:ext>
            </a:extLst>
          </p:cNvPr>
          <p:cNvSpPr>
            <a:spLocks noGrp="1"/>
          </p:cNvSpPr>
          <p:nvPr>
            <p:ph type="sldNum" sz="quarter" idx="4294967295"/>
          </p:nvPr>
        </p:nvSpPr>
        <p:spPr>
          <a:xfrm>
            <a:off x="1626394" y="6231082"/>
            <a:ext cx="457200" cy="457200"/>
          </a:xfrm>
        </p:spPr>
        <p:txBody>
          <a:bodyPr/>
          <a:lstStyle>
            <a:lvl1pPr>
              <a:defRPr>
                <a:solidFill>
                  <a:schemeClr val="tx1"/>
                </a:solidFill>
                <a:latin typeface="Perpetua" panose="02020502060401020303" pitchFamily="18" charset="0"/>
              </a:defRPr>
            </a:lvl1pPr>
            <a:lvl2pPr marL="742950" indent="-285750">
              <a:defRPr>
                <a:solidFill>
                  <a:schemeClr val="tx1"/>
                </a:solidFill>
                <a:latin typeface="Perpetua" panose="02020502060401020303" pitchFamily="18" charset="0"/>
              </a:defRPr>
            </a:lvl2pPr>
            <a:lvl3pPr marL="1143000" indent="-228600">
              <a:defRPr>
                <a:solidFill>
                  <a:schemeClr val="tx1"/>
                </a:solidFill>
                <a:latin typeface="Perpetua" panose="02020502060401020303" pitchFamily="18" charset="0"/>
              </a:defRPr>
            </a:lvl3pPr>
            <a:lvl4pPr marL="1600200" indent="-228600">
              <a:defRPr>
                <a:solidFill>
                  <a:schemeClr val="tx1"/>
                </a:solidFill>
                <a:latin typeface="Perpetua" panose="02020502060401020303" pitchFamily="18" charset="0"/>
              </a:defRPr>
            </a:lvl4pPr>
            <a:lvl5pPr marL="2057400" indent="-228600">
              <a:defRPr>
                <a:solidFill>
                  <a:schemeClr val="tx1"/>
                </a:solidFill>
                <a:latin typeface="Perpetua" panose="02020502060401020303" pitchFamily="18" charset="0"/>
              </a:defRPr>
            </a:lvl5pPr>
            <a:lvl6pPr marL="2514600" indent="-228600" fontAlgn="base">
              <a:spcBef>
                <a:spcPct val="0"/>
              </a:spcBef>
              <a:spcAft>
                <a:spcPct val="0"/>
              </a:spcAft>
              <a:defRPr>
                <a:solidFill>
                  <a:schemeClr val="tx1"/>
                </a:solidFill>
                <a:latin typeface="Perpetua" panose="02020502060401020303" pitchFamily="18" charset="0"/>
              </a:defRPr>
            </a:lvl6pPr>
            <a:lvl7pPr marL="2971800" indent="-228600" fontAlgn="base">
              <a:spcBef>
                <a:spcPct val="0"/>
              </a:spcBef>
              <a:spcAft>
                <a:spcPct val="0"/>
              </a:spcAft>
              <a:defRPr>
                <a:solidFill>
                  <a:schemeClr val="tx1"/>
                </a:solidFill>
                <a:latin typeface="Perpetua" panose="02020502060401020303" pitchFamily="18" charset="0"/>
              </a:defRPr>
            </a:lvl7pPr>
            <a:lvl8pPr marL="3429000" indent="-228600" fontAlgn="base">
              <a:spcBef>
                <a:spcPct val="0"/>
              </a:spcBef>
              <a:spcAft>
                <a:spcPct val="0"/>
              </a:spcAft>
              <a:defRPr>
                <a:solidFill>
                  <a:schemeClr val="tx1"/>
                </a:solidFill>
                <a:latin typeface="Perpetua" panose="02020502060401020303" pitchFamily="18" charset="0"/>
              </a:defRPr>
            </a:lvl8pPr>
            <a:lvl9pPr marL="3886200" indent="-228600" fontAlgn="base">
              <a:spcBef>
                <a:spcPct val="0"/>
              </a:spcBef>
              <a:spcAft>
                <a:spcPct val="0"/>
              </a:spcAft>
              <a:defRPr>
                <a:solidFill>
                  <a:schemeClr val="tx1"/>
                </a:solidFill>
                <a:latin typeface="Perpetua" panose="02020502060401020303" pitchFamily="18" charset="0"/>
              </a:defRPr>
            </a:lvl9pPr>
          </a:lstStyle>
          <a:p>
            <a:pPr fontAlgn="base">
              <a:spcBef>
                <a:spcPct val="0"/>
              </a:spcBef>
              <a:spcAft>
                <a:spcPct val="0"/>
              </a:spcAft>
            </a:pPr>
            <a:fld id="{E0E2C5AA-F61E-46CE-B3EA-0783A4F6E98C}" type="slidenum">
              <a:rPr lang="en-US" altLang="en-US">
                <a:solidFill>
                  <a:srgbClr val="FFFFFF"/>
                </a:solidFill>
                <a:latin typeface="Franklin Gothic Book" panose="020B0503020102020204" pitchFamily="34" charset="0"/>
                <a:cs typeface="Arial" panose="020B0604020202020204" pitchFamily="34" charset="0"/>
              </a:rPr>
              <a:pPr fontAlgn="base">
                <a:spcBef>
                  <a:spcPct val="0"/>
                </a:spcBef>
                <a:spcAft>
                  <a:spcPct val="0"/>
                </a:spcAft>
              </a:pPr>
              <a:t>14</a:t>
            </a:fld>
            <a:endParaRPr lang="en-US" altLang="en-US">
              <a:solidFill>
                <a:srgbClr val="FFFFFF"/>
              </a:solidFill>
              <a:latin typeface="Franklin Gothic Book" panose="020B0503020102020204" pitchFamily="34" charset="0"/>
              <a:cs typeface="Arial" panose="020B0604020202020204" pitchFamily="34" charset="0"/>
            </a:endParaRPr>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6" name="Title 1">
            <a:extLst>
              <a:ext uri="{FF2B5EF4-FFF2-40B4-BE49-F238E27FC236}">
                <a16:creationId xmlns:a16="http://schemas.microsoft.com/office/drawing/2014/main" id="{DB06F638-4454-40F3-9FFF-C0CCE5E4C0BB}"/>
              </a:ext>
            </a:extLst>
          </p:cNvPr>
          <p:cNvSpPr>
            <a:spLocks noGrp="1"/>
          </p:cNvSpPr>
          <p:nvPr>
            <p:ph type="title"/>
          </p:nvPr>
        </p:nvSpPr>
        <p:spPr>
          <a:xfrm>
            <a:off x="4267201" y="602456"/>
            <a:ext cx="5345113" cy="1143000"/>
          </a:xfrm>
        </p:spPr>
        <p:txBody>
          <a:bodyPr>
            <a:normAutofit fontScale="90000"/>
          </a:bodyPr>
          <a:lstStyle/>
          <a:p>
            <a:pPr algn="r" fontAlgn="auto">
              <a:spcAft>
                <a:spcPts val="0"/>
              </a:spcAft>
              <a:defRPr/>
            </a:pPr>
            <a:r>
              <a:rPr lang="en-US" altLang="en-US" sz="3200" b="1" dirty="0"/>
              <a:t>GPA, Art. III Leaves Discretion To Discriminate Regarding Classified Work</a:t>
            </a:r>
          </a:p>
        </p:txBody>
      </p:sp>
      <p:sp>
        <p:nvSpPr>
          <p:cNvPr id="120835" name="Content Placeholder 2">
            <a:extLst>
              <a:ext uri="{FF2B5EF4-FFF2-40B4-BE49-F238E27FC236}">
                <a16:creationId xmlns:a16="http://schemas.microsoft.com/office/drawing/2014/main" id="{D5F17BF1-B6FE-452A-BA8E-3D9EDF2818F3}"/>
              </a:ext>
            </a:extLst>
          </p:cNvPr>
          <p:cNvSpPr>
            <a:spLocks noGrp="1"/>
          </p:cNvSpPr>
          <p:nvPr>
            <p:ph sz="quarter" idx="1"/>
          </p:nvPr>
        </p:nvSpPr>
        <p:spPr>
          <a:xfrm>
            <a:off x="2133600" y="2062163"/>
            <a:ext cx="7772400" cy="4572000"/>
          </a:xfrm>
        </p:spPr>
        <p:txBody>
          <a:bodyPr/>
          <a:lstStyle/>
          <a:p>
            <a:pPr>
              <a:buFont typeface="Arial" panose="020B0604020202020204" pitchFamily="34" charset="0"/>
              <a:buNone/>
            </a:pPr>
            <a:r>
              <a:rPr lang="en-US" altLang="en-US" sz="2400" dirty="0"/>
              <a:t>1</a:t>
            </a:r>
            <a:r>
              <a:rPr lang="en-US" altLang="en-US" sz="1800" dirty="0"/>
              <a:t>. </a:t>
            </a:r>
            <a:r>
              <a:rPr lang="en-US" altLang="en-US" sz="2000" dirty="0"/>
              <a:t>Nothing in this Agreement shall be construed to prevent any Party from taking any action or not disclosing any information </a:t>
            </a:r>
            <a:r>
              <a:rPr lang="en-US" altLang="en-US" sz="2000" dirty="0">
                <a:solidFill>
                  <a:srgbClr val="FFC000"/>
                </a:solidFill>
              </a:rPr>
              <a:t>that it considers necessary for the protection of its essential security interests </a:t>
            </a:r>
            <a:r>
              <a:rPr lang="en-US" altLang="en-US" sz="2000" dirty="0"/>
              <a:t>relating to the procurement of arms, ammunition or war materials, or to procurement indispensable for national security or for national </a:t>
            </a:r>
            <a:r>
              <a:rPr lang="en-US" altLang="en-US" sz="2000" dirty="0" err="1"/>
              <a:t>defence</a:t>
            </a:r>
            <a:r>
              <a:rPr lang="en-US" altLang="en-US" sz="2000" dirty="0"/>
              <a:t> purposes.</a:t>
            </a:r>
          </a:p>
        </p:txBody>
      </p:sp>
      <p:pic>
        <p:nvPicPr>
          <p:cNvPr id="120836" name="Picture 2">
            <a:extLst>
              <a:ext uri="{FF2B5EF4-FFF2-40B4-BE49-F238E27FC236}">
                <a16:creationId xmlns:a16="http://schemas.microsoft.com/office/drawing/2014/main" id="{8524E186-C4C1-467B-8710-305C0C1C8A9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747838" y="300039"/>
            <a:ext cx="2138362" cy="1747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0837" name="Content Placeholder 2">
            <a:extLst>
              <a:ext uri="{FF2B5EF4-FFF2-40B4-BE49-F238E27FC236}">
                <a16:creationId xmlns:a16="http://schemas.microsoft.com/office/drawing/2014/main" id="{0A6E9019-2E32-41AB-B39F-573DBA4F1A91}"/>
              </a:ext>
            </a:extLst>
          </p:cNvPr>
          <p:cNvSpPr txBox="1">
            <a:spLocks/>
          </p:cNvSpPr>
          <p:nvPr/>
        </p:nvSpPr>
        <p:spPr bwMode="auto">
          <a:xfrm>
            <a:off x="2305667" y="4271962"/>
            <a:ext cx="8229600" cy="2286000"/>
          </a:xfrm>
          <a:prstGeom prst="rect">
            <a:avLst/>
          </a:prstGeom>
          <a:solidFill>
            <a:srgbClr val="FF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ts val="575"/>
              </a:spcBef>
              <a:buClr>
                <a:schemeClr val="accent1"/>
              </a:buClr>
              <a:buSzPct val="85000"/>
              <a:buFont typeface="Wingdings 2" panose="05020102010507070707" pitchFamily="18" charset="2"/>
              <a:buChar char=""/>
              <a:defRPr sz="2600">
                <a:solidFill>
                  <a:schemeClr val="tx1"/>
                </a:solidFill>
                <a:latin typeface="Perpetua" panose="02020502060401020303" pitchFamily="18" charset="0"/>
              </a:defRPr>
            </a:lvl1pPr>
            <a:lvl2pPr marL="742950" indent="-285750">
              <a:spcBef>
                <a:spcPts val="375"/>
              </a:spcBef>
              <a:buClr>
                <a:schemeClr val="accent2"/>
              </a:buClr>
              <a:buSzPct val="85000"/>
              <a:buFont typeface="Wingdings 2" panose="05020102010507070707" pitchFamily="18" charset="2"/>
              <a:buChar char=""/>
              <a:defRPr sz="2400">
                <a:solidFill>
                  <a:schemeClr val="tx1"/>
                </a:solidFill>
                <a:latin typeface="Perpetua" panose="02020502060401020303" pitchFamily="18" charset="0"/>
              </a:defRPr>
            </a:lvl2pPr>
            <a:lvl3pPr marL="1143000" indent="-228600">
              <a:spcBef>
                <a:spcPts val="375"/>
              </a:spcBef>
              <a:buClr>
                <a:srgbClr val="E6B1AB"/>
              </a:buClr>
              <a:buSzPct val="85000"/>
              <a:buFont typeface="Wingdings 2" panose="05020102010507070707" pitchFamily="18" charset="2"/>
              <a:buChar char=""/>
              <a:defRPr sz="2000">
                <a:solidFill>
                  <a:schemeClr val="tx1"/>
                </a:solidFill>
                <a:latin typeface="Perpetua" panose="02020502060401020303" pitchFamily="18" charset="0"/>
              </a:defRPr>
            </a:lvl3pPr>
            <a:lvl4pPr marL="1600200" indent="-228600">
              <a:spcBef>
                <a:spcPts val="375"/>
              </a:spcBef>
              <a:buClr>
                <a:srgbClr val="A28E6A"/>
              </a:buClr>
              <a:buSzPct val="80000"/>
              <a:buFont typeface="Wingdings 2" panose="05020102010507070707" pitchFamily="18" charset="2"/>
              <a:buChar char=""/>
              <a:defRPr sz="2000">
                <a:solidFill>
                  <a:schemeClr val="tx1"/>
                </a:solidFill>
                <a:latin typeface="Perpetua" panose="02020502060401020303" pitchFamily="18" charset="0"/>
              </a:defRPr>
            </a:lvl4pPr>
            <a:lvl5pPr marL="2057400" indent="-228600">
              <a:spcBef>
                <a:spcPts val="375"/>
              </a:spcBef>
              <a:buClr>
                <a:srgbClr val="A28E6A"/>
              </a:buClr>
              <a:buChar char="o"/>
              <a:defRPr sz="2000">
                <a:solidFill>
                  <a:schemeClr val="tx1"/>
                </a:solidFill>
                <a:latin typeface="Perpetua" panose="02020502060401020303" pitchFamily="18" charset="0"/>
              </a:defRPr>
            </a:lvl5pPr>
            <a:lvl6pPr marL="2514600" indent="-228600" fontAlgn="base">
              <a:spcBef>
                <a:spcPts val="375"/>
              </a:spcBef>
              <a:spcAft>
                <a:spcPct val="0"/>
              </a:spcAft>
              <a:buClr>
                <a:srgbClr val="A28E6A"/>
              </a:buClr>
              <a:buChar char="o"/>
              <a:defRPr sz="2000">
                <a:solidFill>
                  <a:schemeClr val="tx1"/>
                </a:solidFill>
                <a:latin typeface="Perpetua" panose="02020502060401020303" pitchFamily="18" charset="0"/>
              </a:defRPr>
            </a:lvl6pPr>
            <a:lvl7pPr marL="2971800" indent="-228600" fontAlgn="base">
              <a:spcBef>
                <a:spcPts val="375"/>
              </a:spcBef>
              <a:spcAft>
                <a:spcPct val="0"/>
              </a:spcAft>
              <a:buClr>
                <a:srgbClr val="A28E6A"/>
              </a:buClr>
              <a:buChar char="o"/>
              <a:defRPr sz="2000">
                <a:solidFill>
                  <a:schemeClr val="tx1"/>
                </a:solidFill>
                <a:latin typeface="Perpetua" panose="02020502060401020303" pitchFamily="18" charset="0"/>
              </a:defRPr>
            </a:lvl7pPr>
            <a:lvl8pPr marL="3429000" indent="-228600" fontAlgn="base">
              <a:spcBef>
                <a:spcPts val="375"/>
              </a:spcBef>
              <a:spcAft>
                <a:spcPct val="0"/>
              </a:spcAft>
              <a:buClr>
                <a:srgbClr val="A28E6A"/>
              </a:buClr>
              <a:buChar char="o"/>
              <a:defRPr sz="2000">
                <a:solidFill>
                  <a:schemeClr val="tx1"/>
                </a:solidFill>
                <a:latin typeface="Perpetua" panose="02020502060401020303" pitchFamily="18" charset="0"/>
              </a:defRPr>
            </a:lvl8pPr>
            <a:lvl9pPr marL="3886200" indent="-228600" fontAlgn="base">
              <a:spcBef>
                <a:spcPts val="375"/>
              </a:spcBef>
              <a:spcAft>
                <a:spcPct val="0"/>
              </a:spcAft>
              <a:buClr>
                <a:srgbClr val="A28E6A"/>
              </a:buClr>
              <a:buChar char="o"/>
              <a:defRPr sz="2000">
                <a:solidFill>
                  <a:schemeClr val="tx1"/>
                </a:solidFill>
                <a:latin typeface="Perpetua" panose="02020502060401020303" pitchFamily="18" charset="0"/>
              </a:defRPr>
            </a:lvl9pPr>
          </a:lstStyle>
          <a:p>
            <a:pPr fontAlgn="base">
              <a:spcBef>
                <a:spcPct val="20000"/>
              </a:spcBef>
              <a:spcAft>
                <a:spcPct val="0"/>
              </a:spcAft>
              <a:buClrTx/>
              <a:buSzTx/>
              <a:buNone/>
            </a:pPr>
            <a:r>
              <a:rPr lang="en-US" altLang="en-US" sz="3200" dirty="0">
                <a:solidFill>
                  <a:prstClr val="black"/>
                </a:solidFill>
                <a:latin typeface="Calibri" panose="020F0502020204030204" pitchFamily="34" charset="0"/>
                <a:cs typeface="Arial" panose="020B0604020202020204" pitchFamily="34" charset="0"/>
              </a:rPr>
              <a:t>DoD May Exclude “Risky” Contractors:</a:t>
            </a:r>
          </a:p>
          <a:p>
            <a:pPr fontAlgn="base">
              <a:spcBef>
                <a:spcPct val="20000"/>
              </a:spcBef>
              <a:spcAft>
                <a:spcPct val="0"/>
              </a:spcAft>
              <a:buClrTx/>
              <a:buSzTx/>
              <a:buNone/>
            </a:pPr>
            <a:r>
              <a:rPr lang="en-US" altLang="en-US" sz="3200" b="1" dirty="0">
                <a:solidFill>
                  <a:prstClr val="black"/>
                </a:solidFill>
                <a:latin typeface="Calibri" panose="020F0502020204030204" pitchFamily="34" charset="0"/>
                <a:cs typeface="Arial" panose="020B0604020202020204" pitchFamily="34" charset="0"/>
              </a:rPr>
              <a:t>SUBPART 239.73--REQUIREMENTS FOR INFORMATION RELATING TO SUPPLY CHAIN RISK</a:t>
            </a:r>
            <a:endParaRPr lang="en-US" altLang="en-US" sz="3200" dirty="0">
              <a:solidFill>
                <a:prstClr val="black"/>
              </a:solidFill>
              <a:latin typeface="Calibri" panose="020F0502020204030204" pitchFamily="34" charset="0"/>
              <a:cs typeface="Arial" panose="020B0604020202020204" pitchFamily="34" charset="0"/>
            </a:endParaRPr>
          </a:p>
        </p:txBody>
      </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1858" name="Title 4">
            <a:extLst>
              <a:ext uri="{FF2B5EF4-FFF2-40B4-BE49-F238E27FC236}">
                <a16:creationId xmlns:a16="http://schemas.microsoft.com/office/drawing/2014/main" id="{80C94350-77F3-4F47-979B-BC7515A43E14}"/>
              </a:ext>
            </a:extLst>
          </p:cNvPr>
          <p:cNvSpPr>
            <a:spLocks noGrp="1"/>
          </p:cNvSpPr>
          <p:nvPr>
            <p:ph type="title"/>
          </p:nvPr>
        </p:nvSpPr>
        <p:spPr>
          <a:xfrm>
            <a:off x="2246313" y="952501"/>
            <a:ext cx="7772400" cy="1362075"/>
          </a:xfrm>
        </p:spPr>
        <p:txBody>
          <a:bodyPr/>
          <a:lstStyle/>
          <a:p>
            <a:r>
              <a:rPr lang="en-US" altLang="en-US"/>
              <a:t>European Response</a:t>
            </a:r>
          </a:p>
        </p:txBody>
      </p:sp>
      <p:sp>
        <p:nvSpPr>
          <p:cNvPr id="6" name="Text Placeholder 5">
            <a:extLst>
              <a:ext uri="{FF2B5EF4-FFF2-40B4-BE49-F238E27FC236}">
                <a16:creationId xmlns:a16="http://schemas.microsoft.com/office/drawing/2014/main" id="{0186295E-AD67-4EFA-A231-338D0005E95F}"/>
              </a:ext>
            </a:extLst>
          </p:cNvPr>
          <p:cNvSpPr>
            <a:spLocks noGrp="1"/>
          </p:cNvSpPr>
          <p:nvPr>
            <p:ph type="body" idx="1"/>
          </p:nvPr>
        </p:nvSpPr>
        <p:spPr/>
        <p:txBody>
          <a:bodyPr rtlCol="0">
            <a:normAutofit/>
          </a:bodyPr>
          <a:lstStyle/>
          <a:p>
            <a:pPr fontAlgn="auto">
              <a:spcBef>
                <a:spcPts val="580"/>
              </a:spcBef>
              <a:spcAft>
                <a:spcPts val="0"/>
              </a:spcAft>
              <a:defRPr/>
            </a:pPr>
            <a:endParaRPr lang="en-US"/>
          </a:p>
        </p:txBody>
      </p:sp>
      <p:sp>
        <p:nvSpPr>
          <p:cNvPr id="2" name="Slide Number Placeholder 1">
            <a:extLst>
              <a:ext uri="{FF2B5EF4-FFF2-40B4-BE49-F238E27FC236}">
                <a16:creationId xmlns:a16="http://schemas.microsoft.com/office/drawing/2014/main" id="{D7217715-5FD3-4772-A24E-ADFCC9D93718}"/>
              </a:ext>
            </a:extLst>
          </p:cNvPr>
          <p:cNvSpPr>
            <a:spLocks noGrp="1"/>
          </p:cNvSpPr>
          <p:nvPr>
            <p:ph type="sldNum" sz="quarter" idx="12"/>
          </p:nvPr>
        </p:nvSpPr>
        <p:spPr/>
        <p:txBody>
          <a:bodyPr/>
          <a:lstStyle>
            <a:lvl1pPr>
              <a:defRPr>
                <a:solidFill>
                  <a:schemeClr val="tx1"/>
                </a:solidFill>
                <a:latin typeface="Perpetua" panose="02020502060401020303" pitchFamily="18" charset="0"/>
              </a:defRPr>
            </a:lvl1pPr>
            <a:lvl2pPr marL="742950" indent="-285750">
              <a:defRPr>
                <a:solidFill>
                  <a:schemeClr val="tx1"/>
                </a:solidFill>
                <a:latin typeface="Perpetua" panose="02020502060401020303" pitchFamily="18" charset="0"/>
              </a:defRPr>
            </a:lvl2pPr>
            <a:lvl3pPr marL="1143000" indent="-228600">
              <a:defRPr>
                <a:solidFill>
                  <a:schemeClr val="tx1"/>
                </a:solidFill>
                <a:latin typeface="Perpetua" panose="02020502060401020303" pitchFamily="18" charset="0"/>
              </a:defRPr>
            </a:lvl3pPr>
            <a:lvl4pPr marL="1600200" indent="-228600">
              <a:defRPr>
                <a:solidFill>
                  <a:schemeClr val="tx1"/>
                </a:solidFill>
                <a:latin typeface="Perpetua" panose="02020502060401020303" pitchFamily="18" charset="0"/>
              </a:defRPr>
            </a:lvl4pPr>
            <a:lvl5pPr marL="2057400" indent="-228600">
              <a:defRPr>
                <a:solidFill>
                  <a:schemeClr val="tx1"/>
                </a:solidFill>
                <a:latin typeface="Perpetua" panose="02020502060401020303" pitchFamily="18" charset="0"/>
              </a:defRPr>
            </a:lvl5pPr>
            <a:lvl6pPr marL="2514600" indent="-228600" fontAlgn="base">
              <a:spcBef>
                <a:spcPct val="0"/>
              </a:spcBef>
              <a:spcAft>
                <a:spcPct val="0"/>
              </a:spcAft>
              <a:defRPr>
                <a:solidFill>
                  <a:schemeClr val="tx1"/>
                </a:solidFill>
                <a:latin typeface="Perpetua" panose="02020502060401020303" pitchFamily="18" charset="0"/>
              </a:defRPr>
            </a:lvl6pPr>
            <a:lvl7pPr marL="2971800" indent="-228600" fontAlgn="base">
              <a:spcBef>
                <a:spcPct val="0"/>
              </a:spcBef>
              <a:spcAft>
                <a:spcPct val="0"/>
              </a:spcAft>
              <a:defRPr>
                <a:solidFill>
                  <a:schemeClr val="tx1"/>
                </a:solidFill>
                <a:latin typeface="Perpetua" panose="02020502060401020303" pitchFamily="18" charset="0"/>
              </a:defRPr>
            </a:lvl7pPr>
            <a:lvl8pPr marL="3429000" indent="-228600" fontAlgn="base">
              <a:spcBef>
                <a:spcPct val="0"/>
              </a:spcBef>
              <a:spcAft>
                <a:spcPct val="0"/>
              </a:spcAft>
              <a:defRPr>
                <a:solidFill>
                  <a:schemeClr val="tx1"/>
                </a:solidFill>
                <a:latin typeface="Perpetua" panose="02020502060401020303" pitchFamily="18" charset="0"/>
              </a:defRPr>
            </a:lvl8pPr>
            <a:lvl9pPr marL="3886200" indent="-228600" fontAlgn="base">
              <a:spcBef>
                <a:spcPct val="0"/>
              </a:spcBef>
              <a:spcAft>
                <a:spcPct val="0"/>
              </a:spcAft>
              <a:defRPr>
                <a:solidFill>
                  <a:schemeClr val="tx1"/>
                </a:solidFill>
                <a:latin typeface="Perpetua" panose="02020502060401020303" pitchFamily="18" charset="0"/>
              </a:defRPr>
            </a:lvl9pPr>
          </a:lstStyle>
          <a:p>
            <a:pPr fontAlgn="base">
              <a:spcBef>
                <a:spcPct val="0"/>
              </a:spcBef>
              <a:spcAft>
                <a:spcPct val="0"/>
              </a:spcAft>
            </a:pPr>
            <a:fld id="{36114F4C-2DD4-4A02-8665-577A65047D6B}" type="slidenum">
              <a:rPr lang="en-US" altLang="en-US">
                <a:solidFill>
                  <a:srgbClr val="FFFFFF"/>
                </a:solidFill>
                <a:latin typeface="Franklin Gothic Book" panose="020B0503020102020204" pitchFamily="34" charset="0"/>
                <a:cs typeface="Arial" panose="020B0604020202020204" pitchFamily="34" charset="0"/>
              </a:rPr>
              <a:pPr fontAlgn="base">
                <a:spcBef>
                  <a:spcPct val="0"/>
                </a:spcBef>
                <a:spcAft>
                  <a:spcPct val="0"/>
                </a:spcAft>
              </a:pPr>
              <a:t>16</a:t>
            </a:fld>
            <a:endParaRPr lang="en-US" altLang="en-US">
              <a:solidFill>
                <a:srgbClr val="FFFFFF"/>
              </a:solidFill>
              <a:latin typeface="Franklin Gothic Book" panose="020B0503020102020204" pitchFamily="34" charset="0"/>
              <a:cs typeface="Arial" panose="020B0604020202020204" pitchFamily="34" charset="0"/>
            </a:endParaRPr>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69634" name="Title 1">
            <a:extLst>
              <a:ext uri="{FF2B5EF4-FFF2-40B4-BE49-F238E27FC236}">
                <a16:creationId xmlns:a16="http://schemas.microsoft.com/office/drawing/2014/main" id="{F8B46D3A-EC0A-424C-9D1F-B2D9B6608712}"/>
              </a:ext>
            </a:extLst>
          </p:cNvPr>
          <p:cNvSpPr>
            <a:spLocks noGrp="1"/>
          </p:cNvSpPr>
          <p:nvPr>
            <p:ph type="title"/>
          </p:nvPr>
        </p:nvSpPr>
        <p:spPr>
          <a:xfrm>
            <a:off x="1546225" y="742950"/>
            <a:ext cx="8229600" cy="1068388"/>
          </a:xfrm>
        </p:spPr>
        <p:txBody>
          <a:bodyPr>
            <a:normAutofit fontScale="90000"/>
          </a:bodyPr>
          <a:lstStyle/>
          <a:p>
            <a:pPr fontAlgn="auto">
              <a:spcAft>
                <a:spcPts val="0"/>
              </a:spcAft>
              <a:defRPr/>
            </a:pPr>
            <a:r>
              <a:rPr lang="en-US" altLang="en-US" sz="3200" b="1"/>
              <a:t>Background:</a:t>
            </a:r>
            <a:br>
              <a:rPr lang="en-US" altLang="en-US" sz="3200" b="1"/>
            </a:br>
            <a:r>
              <a:rPr lang="en-US" altLang="en-US" sz="3200" b="1"/>
              <a:t>Top 10 U.S. Defense Contractors</a:t>
            </a:r>
          </a:p>
        </p:txBody>
      </p:sp>
      <p:pic>
        <p:nvPicPr>
          <p:cNvPr id="122883" name="Picture 2">
            <a:extLst>
              <a:ext uri="{FF2B5EF4-FFF2-40B4-BE49-F238E27FC236}">
                <a16:creationId xmlns:a16="http://schemas.microsoft.com/office/drawing/2014/main" id="{69C5FE3D-F52F-4AF7-8BAA-C6FA7C14F96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46225" y="1944688"/>
            <a:ext cx="8964613" cy="43434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22884" name="Picture 3">
            <a:extLst>
              <a:ext uri="{FF2B5EF4-FFF2-40B4-BE49-F238E27FC236}">
                <a16:creationId xmlns:a16="http://schemas.microsoft.com/office/drawing/2014/main" id="{7D8EA2A9-710E-49BA-B81E-D5E133FABC1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440739" y="609600"/>
            <a:ext cx="2085975" cy="4953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Right Arrow 3">
            <a:extLst>
              <a:ext uri="{FF2B5EF4-FFF2-40B4-BE49-F238E27FC236}">
                <a16:creationId xmlns:a16="http://schemas.microsoft.com/office/drawing/2014/main" id="{F059754E-069B-4635-A16A-03D959CC1767}"/>
              </a:ext>
            </a:extLst>
          </p:cNvPr>
          <p:cNvSpPr/>
          <p:nvPr/>
        </p:nvSpPr>
        <p:spPr>
          <a:xfrm>
            <a:off x="2209800" y="3665538"/>
            <a:ext cx="228600" cy="228600"/>
          </a:xfrm>
          <a:prstGeom prst="rightArrow">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prstClr val="white"/>
              </a:solidFill>
              <a:latin typeface="Perpetua"/>
            </a:endParaRPr>
          </a:p>
        </p:txBody>
      </p:sp>
      <p:sp>
        <p:nvSpPr>
          <p:cNvPr id="7" name="Right Arrow 6">
            <a:extLst>
              <a:ext uri="{FF2B5EF4-FFF2-40B4-BE49-F238E27FC236}">
                <a16:creationId xmlns:a16="http://schemas.microsoft.com/office/drawing/2014/main" id="{B6224897-8EAD-4B61-8B1A-C4702B4A6133}"/>
              </a:ext>
            </a:extLst>
          </p:cNvPr>
          <p:cNvSpPr/>
          <p:nvPr/>
        </p:nvSpPr>
        <p:spPr>
          <a:xfrm>
            <a:off x="2190750" y="5011738"/>
            <a:ext cx="228600" cy="228600"/>
          </a:xfrm>
          <a:prstGeom prst="rightArrow">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prstClr val="white"/>
              </a:solidFill>
              <a:latin typeface="Perpetua"/>
            </a:endParaRPr>
          </a:p>
        </p:txBody>
      </p:sp>
      <p:sp>
        <p:nvSpPr>
          <p:cNvPr id="9" name="Right Arrow 8">
            <a:extLst>
              <a:ext uri="{FF2B5EF4-FFF2-40B4-BE49-F238E27FC236}">
                <a16:creationId xmlns:a16="http://schemas.microsoft.com/office/drawing/2014/main" id="{96884788-6B87-4192-A2FD-511B9C45863A}"/>
              </a:ext>
            </a:extLst>
          </p:cNvPr>
          <p:cNvSpPr/>
          <p:nvPr/>
        </p:nvSpPr>
        <p:spPr>
          <a:xfrm>
            <a:off x="2190750" y="5334000"/>
            <a:ext cx="228600" cy="228600"/>
          </a:xfrm>
          <a:prstGeom prst="rightArrow">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prstClr val="white"/>
              </a:solidFill>
              <a:latin typeface="Perpetua"/>
            </a:endParaRPr>
          </a:p>
        </p:txBody>
      </p:sp>
      <p:sp>
        <p:nvSpPr>
          <p:cNvPr id="10" name="Right Arrow 9">
            <a:extLst>
              <a:ext uri="{FF2B5EF4-FFF2-40B4-BE49-F238E27FC236}">
                <a16:creationId xmlns:a16="http://schemas.microsoft.com/office/drawing/2014/main" id="{CC4DD286-CE1E-47E8-B9F1-81F246CDE591}"/>
              </a:ext>
            </a:extLst>
          </p:cNvPr>
          <p:cNvSpPr/>
          <p:nvPr/>
        </p:nvSpPr>
        <p:spPr>
          <a:xfrm>
            <a:off x="2209800" y="6019800"/>
            <a:ext cx="228600" cy="228600"/>
          </a:xfrm>
          <a:prstGeom prst="rightArrow">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prstClr val="white"/>
              </a:solidFill>
              <a:latin typeface="Perpetua"/>
            </a:endParaRPr>
          </a:p>
        </p:txBody>
      </p:sp>
      <p:sp>
        <p:nvSpPr>
          <p:cNvPr id="6" name="Slide Number Placeholder 5">
            <a:extLst>
              <a:ext uri="{FF2B5EF4-FFF2-40B4-BE49-F238E27FC236}">
                <a16:creationId xmlns:a16="http://schemas.microsoft.com/office/drawing/2014/main" id="{2A376D18-4482-43D7-A821-69D3F6356341}"/>
              </a:ext>
            </a:extLst>
          </p:cNvPr>
          <p:cNvSpPr>
            <a:spLocks noGrp="1"/>
          </p:cNvSpPr>
          <p:nvPr>
            <p:ph type="sldNum" sz="quarter" idx="12"/>
          </p:nvPr>
        </p:nvSpPr>
        <p:spPr/>
        <p:txBody>
          <a:bodyPr/>
          <a:lstStyle>
            <a:lvl1pPr>
              <a:defRPr>
                <a:solidFill>
                  <a:schemeClr val="tx1"/>
                </a:solidFill>
                <a:latin typeface="Perpetua" panose="02020502060401020303" pitchFamily="18" charset="0"/>
              </a:defRPr>
            </a:lvl1pPr>
            <a:lvl2pPr marL="742950" indent="-285750">
              <a:defRPr>
                <a:solidFill>
                  <a:schemeClr val="tx1"/>
                </a:solidFill>
                <a:latin typeface="Perpetua" panose="02020502060401020303" pitchFamily="18" charset="0"/>
              </a:defRPr>
            </a:lvl2pPr>
            <a:lvl3pPr marL="1143000" indent="-228600">
              <a:defRPr>
                <a:solidFill>
                  <a:schemeClr val="tx1"/>
                </a:solidFill>
                <a:latin typeface="Perpetua" panose="02020502060401020303" pitchFamily="18" charset="0"/>
              </a:defRPr>
            </a:lvl3pPr>
            <a:lvl4pPr marL="1600200" indent="-228600">
              <a:defRPr>
                <a:solidFill>
                  <a:schemeClr val="tx1"/>
                </a:solidFill>
                <a:latin typeface="Perpetua" panose="02020502060401020303" pitchFamily="18" charset="0"/>
              </a:defRPr>
            </a:lvl4pPr>
            <a:lvl5pPr marL="2057400" indent="-228600">
              <a:defRPr>
                <a:solidFill>
                  <a:schemeClr val="tx1"/>
                </a:solidFill>
                <a:latin typeface="Perpetua" panose="02020502060401020303" pitchFamily="18" charset="0"/>
              </a:defRPr>
            </a:lvl5pPr>
            <a:lvl6pPr marL="2514600" indent="-228600" fontAlgn="base">
              <a:spcBef>
                <a:spcPct val="0"/>
              </a:spcBef>
              <a:spcAft>
                <a:spcPct val="0"/>
              </a:spcAft>
              <a:defRPr>
                <a:solidFill>
                  <a:schemeClr val="tx1"/>
                </a:solidFill>
                <a:latin typeface="Perpetua" panose="02020502060401020303" pitchFamily="18" charset="0"/>
              </a:defRPr>
            </a:lvl6pPr>
            <a:lvl7pPr marL="2971800" indent="-228600" fontAlgn="base">
              <a:spcBef>
                <a:spcPct val="0"/>
              </a:spcBef>
              <a:spcAft>
                <a:spcPct val="0"/>
              </a:spcAft>
              <a:defRPr>
                <a:solidFill>
                  <a:schemeClr val="tx1"/>
                </a:solidFill>
                <a:latin typeface="Perpetua" panose="02020502060401020303" pitchFamily="18" charset="0"/>
              </a:defRPr>
            </a:lvl7pPr>
            <a:lvl8pPr marL="3429000" indent="-228600" fontAlgn="base">
              <a:spcBef>
                <a:spcPct val="0"/>
              </a:spcBef>
              <a:spcAft>
                <a:spcPct val="0"/>
              </a:spcAft>
              <a:defRPr>
                <a:solidFill>
                  <a:schemeClr val="tx1"/>
                </a:solidFill>
                <a:latin typeface="Perpetua" panose="02020502060401020303" pitchFamily="18" charset="0"/>
              </a:defRPr>
            </a:lvl8pPr>
            <a:lvl9pPr marL="3886200" indent="-228600" fontAlgn="base">
              <a:spcBef>
                <a:spcPct val="0"/>
              </a:spcBef>
              <a:spcAft>
                <a:spcPct val="0"/>
              </a:spcAft>
              <a:defRPr>
                <a:solidFill>
                  <a:schemeClr val="tx1"/>
                </a:solidFill>
                <a:latin typeface="Perpetua" panose="02020502060401020303" pitchFamily="18" charset="0"/>
              </a:defRPr>
            </a:lvl9pPr>
          </a:lstStyle>
          <a:p>
            <a:pPr fontAlgn="base">
              <a:spcBef>
                <a:spcPct val="0"/>
              </a:spcBef>
              <a:spcAft>
                <a:spcPct val="0"/>
              </a:spcAft>
            </a:pPr>
            <a:fld id="{22CACE0C-BBF5-40D8-9DF5-DA2F0B6705F6}" type="slidenum">
              <a:rPr lang="en-US" altLang="en-US">
                <a:solidFill>
                  <a:srgbClr val="FFFFFF"/>
                </a:solidFill>
                <a:latin typeface="Franklin Gothic Book" panose="020B0503020102020204" pitchFamily="34" charset="0"/>
                <a:cs typeface="Arial" panose="020B0604020202020204" pitchFamily="34" charset="0"/>
              </a:rPr>
              <a:pPr fontAlgn="base">
                <a:spcBef>
                  <a:spcPct val="0"/>
                </a:spcBef>
                <a:spcAft>
                  <a:spcPct val="0"/>
                </a:spcAft>
              </a:pPr>
              <a:t>17</a:t>
            </a:fld>
            <a:endParaRPr lang="en-US" altLang="en-US">
              <a:solidFill>
                <a:srgbClr val="FFFFFF"/>
              </a:solidFill>
              <a:latin typeface="Franklin Gothic Book" panose="020B0503020102020204" pitchFamily="34" charset="0"/>
              <a:cs typeface="Arial" panose="020B0604020202020204" pitchFamily="34" charset="0"/>
            </a:endParaRPr>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3906" name="Picture 2">
            <a:extLst>
              <a:ext uri="{FF2B5EF4-FFF2-40B4-BE49-F238E27FC236}">
                <a16:creationId xmlns:a16="http://schemas.microsoft.com/office/drawing/2014/main" id="{8E6C7441-24A0-4D6A-BCE8-DF49462C70A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67950" y="-123908"/>
            <a:ext cx="12359950" cy="69819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3907" name="Title 3">
            <a:extLst>
              <a:ext uri="{FF2B5EF4-FFF2-40B4-BE49-F238E27FC236}">
                <a16:creationId xmlns:a16="http://schemas.microsoft.com/office/drawing/2014/main" id="{37FF2747-209A-4014-91DA-68A64312F587}"/>
              </a:ext>
            </a:extLst>
          </p:cNvPr>
          <p:cNvSpPr>
            <a:spLocks noGrp="1"/>
          </p:cNvSpPr>
          <p:nvPr>
            <p:ph type="title"/>
          </p:nvPr>
        </p:nvSpPr>
        <p:spPr>
          <a:xfrm>
            <a:off x="1774825" y="5495926"/>
            <a:ext cx="7772400" cy="1362075"/>
          </a:xfrm>
        </p:spPr>
        <p:txBody>
          <a:bodyPr/>
          <a:lstStyle/>
          <a:p>
            <a:r>
              <a:rPr lang="en-US" altLang="en-US"/>
              <a:t>Reciprocal defense procurement agreements</a:t>
            </a:r>
          </a:p>
        </p:txBody>
      </p:sp>
      <p:sp>
        <p:nvSpPr>
          <p:cNvPr id="3" name="Slide Number Placeholder 2">
            <a:extLst>
              <a:ext uri="{FF2B5EF4-FFF2-40B4-BE49-F238E27FC236}">
                <a16:creationId xmlns:a16="http://schemas.microsoft.com/office/drawing/2014/main" id="{73A23455-1D22-433E-8C14-5CD3850608BC}"/>
              </a:ext>
            </a:extLst>
          </p:cNvPr>
          <p:cNvSpPr>
            <a:spLocks noGrp="1"/>
          </p:cNvSpPr>
          <p:nvPr>
            <p:ph type="sldNum" sz="quarter" idx="12"/>
          </p:nvPr>
        </p:nvSpPr>
        <p:spPr/>
        <p:txBody>
          <a:bodyPr/>
          <a:lstStyle>
            <a:lvl1pPr>
              <a:defRPr>
                <a:solidFill>
                  <a:schemeClr val="tx1"/>
                </a:solidFill>
                <a:latin typeface="Perpetua" panose="02020502060401020303" pitchFamily="18" charset="0"/>
              </a:defRPr>
            </a:lvl1pPr>
            <a:lvl2pPr marL="742950" indent="-285750">
              <a:defRPr>
                <a:solidFill>
                  <a:schemeClr val="tx1"/>
                </a:solidFill>
                <a:latin typeface="Perpetua" panose="02020502060401020303" pitchFamily="18" charset="0"/>
              </a:defRPr>
            </a:lvl2pPr>
            <a:lvl3pPr marL="1143000" indent="-228600">
              <a:defRPr>
                <a:solidFill>
                  <a:schemeClr val="tx1"/>
                </a:solidFill>
                <a:latin typeface="Perpetua" panose="02020502060401020303" pitchFamily="18" charset="0"/>
              </a:defRPr>
            </a:lvl3pPr>
            <a:lvl4pPr marL="1600200" indent="-228600">
              <a:defRPr>
                <a:solidFill>
                  <a:schemeClr val="tx1"/>
                </a:solidFill>
                <a:latin typeface="Perpetua" panose="02020502060401020303" pitchFamily="18" charset="0"/>
              </a:defRPr>
            </a:lvl4pPr>
            <a:lvl5pPr marL="2057400" indent="-228600">
              <a:defRPr>
                <a:solidFill>
                  <a:schemeClr val="tx1"/>
                </a:solidFill>
                <a:latin typeface="Perpetua" panose="02020502060401020303" pitchFamily="18" charset="0"/>
              </a:defRPr>
            </a:lvl5pPr>
            <a:lvl6pPr marL="2514600" indent="-228600" fontAlgn="base">
              <a:spcBef>
                <a:spcPct val="0"/>
              </a:spcBef>
              <a:spcAft>
                <a:spcPct val="0"/>
              </a:spcAft>
              <a:defRPr>
                <a:solidFill>
                  <a:schemeClr val="tx1"/>
                </a:solidFill>
                <a:latin typeface="Perpetua" panose="02020502060401020303" pitchFamily="18" charset="0"/>
              </a:defRPr>
            </a:lvl6pPr>
            <a:lvl7pPr marL="2971800" indent="-228600" fontAlgn="base">
              <a:spcBef>
                <a:spcPct val="0"/>
              </a:spcBef>
              <a:spcAft>
                <a:spcPct val="0"/>
              </a:spcAft>
              <a:defRPr>
                <a:solidFill>
                  <a:schemeClr val="tx1"/>
                </a:solidFill>
                <a:latin typeface="Perpetua" panose="02020502060401020303" pitchFamily="18" charset="0"/>
              </a:defRPr>
            </a:lvl7pPr>
            <a:lvl8pPr marL="3429000" indent="-228600" fontAlgn="base">
              <a:spcBef>
                <a:spcPct val="0"/>
              </a:spcBef>
              <a:spcAft>
                <a:spcPct val="0"/>
              </a:spcAft>
              <a:defRPr>
                <a:solidFill>
                  <a:schemeClr val="tx1"/>
                </a:solidFill>
                <a:latin typeface="Perpetua" panose="02020502060401020303" pitchFamily="18" charset="0"/>
              </a:defRPr>
            </a:lvl8pPr>
            <a:lvl9pPr marL="3886200" indent="-228600" fontAlgn="base">
              <a:spcBef>
                <a:spcPct val="0"/>
              </a:spcBef>
              <a:spcAft>
                <a:spcPct val="0"/>
              </a:spcAft>
              <a:defRPr>
                <a:solidFill>
                  <a:schemeClr val="tx1"/>
                </a:solidFill>
                <a:latin typeface="Perpetua" panose="02020502060401020303" pitchFamily="18" charset="0"/>
              </a:defRPr>
            </a:lvl9pPr>
          </a:lstStyle>
          <a:p>
            <a:pPr fontAlgn="base">
              <a:spcBef>
                <a:spcPct val="0"/>
              </a:spcBef>
              <a:spcAft>
                <a:spcPct val="0"/>
              </a:spcAft>
            </a:pPr>
            <a:fld id="{976F8E8B-E63F-44D3-BDB6-8FFD6B378C64}" type="slidenum">
              <a:rPr lang="en-US" altLang="en-US">
                <a:solidFill>
                  <a:srgbClr val="FFFFFF"/>
                </a:solidFill>
                <a:latin typeface="Franklin Gothic Book" panose="020B0503020102020204" pitchFamily="34" charset="0"/>
                <a:cs typeface="Arial" panose="020B0604020202020204" pitchFamily="34" charset="0"/>
              </a:rPr>
              <a:pPr fontAlgn="base">
                <a:spcBef>
                  <a:spcPct val="0"/>
                </a:spcBef>
                <a:spcAft>
                  <a:spcPct val="0"/>
                </a:spcAft>
              </a:pPr>
              <a:t>18</a:t>
            </a:fld>
            <a:endParaRPr lang="en-US" altLang="en-US">
              <a:solidFill>
                <a:srgbClr val="FFFFFF"/>
              </a:solidFill>
              <a:latin typeface="Franklin Gothic Book" panose="020B0503020102020204" pitchFamily="34" charset="0"/>
              <a:cs typeface="Arial" panose="020B0604020202020204" pitchFamily="34" charset="0"/>
            </a:endParaRPr>
          </a:p>
        </p:txBody>
      </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4930" name="Picture 3">
            <a:extLst>
              <a:ext uri="{FF2B5EF4-FFF2-40B4-BE49-F238E27FC236}">
                <a16:creationId xmlns:a16="http://schemas.microsoft.com/office/drawing/2014/main" id="{B418597D-C2D9-483E-9CB4-15B9B1A7EC5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455988" y="377825"/>
            <a:ext cx="6648450" cy="29337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1683" name="Title 1">
            <a:extLst>
              <a:ext uri="{FF2B5EF4-FFF2-40B4-BE49-F238E27FC236}">
                <a16:creationId xmlns:a16="http://schemas.microsoft.com/office/drawing/2014/main" id="{51D7DCC4-8044-4014-81C6-FB1E1107C9D6}"/>
              </a:ext>
            </a:extLst>
          </p:cNvPr>
          <p:cNvSpPr>
            <a:spLocks noGrp="1"/>
          </p:cNvSpPr>
          <p:nvPr>
            <p:ph type="title"/>
          </p:nvPr>
        </p:nvSpPr>
        <p:spPr>
          <a:xfrm>
            <a:off x="1501775" y="746125"/>
            <a:ext cx="1900238" cy="1066800"/>
          </a:xfrm>
        </p:spPr>
        <p:txBody>
          <a:bodyPr>
            <a:normAutofit fontScale="90000"/>
          </a:bodyPr>
          <a:lstStyle/>
          <a:p>
            <a:pPr fontAlgn="auto">
              <a:spcAft>
                <a:spcPts val="0"/>
              </a:spcAft>
              <a:defRPr/>
            </a:pPr>
            <a:r>
              <a:rPr lang="en-US" altLang="en-US" sz="1600" b="1"/>
              <a:t>Sample Reciprocal Defense Procurement Agreement:  </a:t>
            </a:r>
            <a:br>
              <a:rPr lang="en-US" altLang="en-US" sz="1600" b="1"/>
            </a:br>
            <a:r>
              <a:rPr lang="en-US" altLang="en-US" sz="1600" b="1"/>
              <a:t>U.S. - France</a:t>
            </a:r>
          </a:p>
        </p:txBody>
      </p:sp>
      <p:sp>
        <p:nvSpPr>
          <p:cNvPr id="124932" name="Right Arrow 7">
            <a:extLst>
              <a:ext uri="{FF2B5EF4-FFF2-40B4-BE49-F238E27FC236}">
                <a16:creationId xmlns:a16="http://schemas.microsoft.com/office/drawing/2014/main" id="{4B1F04CD-A851-40C9-8E8A-28F07B29EA79}"/>
              </a:ext>
            </a:extLst>
          </p:cNvPr>
          <p:cNvSpPr>
            <a:spLocks noChangeArrowheads="1"/>
          </p:cNvSpPr>
          <p:nvPr/>
        </p:nvSpPr>
        <p:spPr bwMode="auto">
          <a:xfrm>
            <a:off x="1552575" y="1944689"/>
            <a:ext cx="2325688" cy="936625"/>
          </a:xfrm>
          <a:prstGeom prst="rightArrow">
            <a:avLst>
              <a:gd name="adj1" fmla="val 50000"/>
              <a:gd name="adj2" fmla="val 49960"/>
            </a:avLst>
          </a:prstGeom>
          <a:solidFill>
            <a:schemeClr val="accent1"/>
          </a:solidFill>
          <a:ln w="9525" algn="ctr">
            <a:solidFill>
              <a:schemeClr val="tx1"/>
            </a:solidFill>
            <a:round/>
            <a:headEnd/>
            <a:tailEnd/>
          </a:ln>
        </p:spPr>
        <p:txBody>
          <a:bodyPr/>
          <a:lstStyle>
            <a:lvl1pPr>
              <a:spcBef>
                <a:spcPts val="575"/>
              </a:spcBef>
              <a:buClr>
                <a:schemeClr val="accent1"/>
              </a:buClr>
              <a:buSzPct val="85000"/>
              <a:buFont typeface="Wingdings 2" panose="05020102010507070707" pitchFamily="18" charset="2"/>
              <a:buChar char=""/>
              <a:defRPr sz="2600">
                <a:solidFill>
                  <a:schemeClr val="tx1"/>
                </a:solidFill>
                <a:latin typeface="Perpetua" panose="02020502060401020303" pitchFamily="18" charset="0"/>
              </a:defRPr>
            </a:lvl1pPr>
            <a:lvl2pPr marL="742950" indent="-285750">
              <a:spcBef>
                <a:spcPts val="375"/>
              </a:spcBef>
              <a:buClr>
                <a:schemeClr val="accent2"/>
              </a:buClr>
              <a:buSzPct val="85000"/>
              <a:buFont typeface="Wingdings 2" panose="05020102010507070707" pitchFamily="18" charset="2"/>
              <a:buChar char=""/>
              <a:defRPr sz="2400">
                <a:solidFill>
                  <a:schemeClr val="tx1"/>
                </a:solidFill>
                <a:latin typeface="Perpetua" panose="02020502060401020303" pitchFamily="18" charset="0"/>
              </a:defRPr>
            </a:lvl2pPr>
            <a:lvl3pPr marL="1143000" indent="-228600">
              <a:spcBef>
                <a:spcPts val="375"/>
              </a:spcBef>
              <a:buClr>
                <a:srgbClr val="E6B1AB"/>
              </a:buClr>
              <a:buSzPct val="85000"/>
              <a:buFont typeface="Wingdings 2" panose="05020102010507070707" pitchFamily="18" charset="2"/>
              <a:buChar char=""/>
              <a:defRPr sz="2000">
                <a:solidFill>
                  <a:schemeClr val="tx1"/>
                </a:solidFill>
                <a:latin typeface="Perpetua" panose="02020502060401020303" pitchFamily="18" charset="0"/>
              </a:defRPr>
            </a:lvl3pPr>
            <a:lvl4pPr marL="1600200" indent="-228600">
              <a:spcBef>
                <a:spcPts val="375"/>
              </a:spcBef>
              <a:buClr>
                <a:srgbClr val="A28E6A"/>
              </a:buClr>
              <a:buSzPct val="80000"/>
              <a:buFont typeface="Wingdings 2" panose="05020102010507070707" pitchFamily="18" charset="2"/>
              <a:buChar char=""/>
              <a:defRPr sz="2000">
                <a:solidFill>
                  <a:schemeClr val="tx1"/>
                </a:solidFill>
                <a:latin typeface="Perpetua" panose="02020502060401020303" pitchFamily="18" charset="0"/>
              </a:defRPr>
            </a:lvl4pPr>
            <a:lvl5pPr marL="2057400" indent="-228600">
              <a:spcBef>
                <a:spcPts val="375"/>
              </a:spcBef>
              <a:buClr>
                <a:srgbClr val="A28E6A"/>
              </a:buClr>
              <a:buChar char="o"/>
              <a:defRPr sz="2000">
                <a:solidFill>
                  <a:schemeClr val="tx1"/>
                </a:solidFill>
                <a:latin typeface="Perpetua" panose="02020502060401020303" pitchFamily="18" charset="0"/>
              </a:defRPr>
            </a:lvl5pPr>
            <a:lvl6pPr marL="2514600" indent="-228600" fontAlgn="base">
              <a:spcBef>
                <a:spcPts val="375"/>
              </a:spcBef>
              <a:spcAft>
                <a:spcPct val="0"/>
              </a:spcAft>
              <a:buClr>
                <a:srgbClr val="A28E6A"/>
              </a:buClr>
              <a:buChar char="o"/>
              <a:defRPr sz="2000">
                <a:solidFill>
                  <a:schemeClr val="tx1"/>
                </a:solidFill>
                <a:latin typeface="Perpetua" panose="02020502060401020303" pitchFamily="18" charset="0"/>
              </a:defRPr>
            </a:lvl6pPr>
            <a:lvl7pPr marL="2971800" indent="-228600" fontAlgn="base">
              <a:spcBef>
                <a:spcPts val="375"/>
              </a:spcBef>
              <a:spcAft>
                <a:spcPct val="0"/>
              </a:spcAft>
              <a:buClr>
                <a:srgbClr val="A28E6A"/>
              </a:buClr>
              <a:buChar char="o"/>
              <a:defRPr sz="2000">
                <a:solidFill>
                  <a:schemeClr val="tx1"/>
                </a:solidFill>
                <a:latin typeface="Perpetua" panose="02020502060401020303" pitchFamily="18" charset="0"/>
              </a:defRPr>
            </a:lvl7pPr>
            <a:lvl8pPr marL="3429000" indent="-228600" fontAlgn="base">
              <a:spcBef>
                <a:spcPts val="375"/>
              </a:spcBef>
              <a:spcAft>
                <a:spcPct val="0"/>
              </a:spcAft>
              <a:buClr>
                <a:srgbClr val="A28E6A"/>
              </a:buClr>
              <a:buChar char="o"/>
              <a:defRPr sz="2000">
                <a:solidFill>
                  <a:schemeClr val="tx1"/>
                </a:solidFill>
                <a:latin typeface="Perpetua" panose="02020502060401020303" pitchFamily="18" charset="0"/>
              </a:defRPr>
            </a:lvl8pPr>
            <a:lvl9pPr marL="3886200" indent="-228600" fontAlgn="base">
              <a:spcBef>
                <a:spcPts val="375"/>
              </a:spcBef>
              <a:spcAft>
                <a:spcPct val="0"/>
              </a:spcAft>
              <a:buClr>
                <a:srgbClr val="A28E6A"/>
              </a:buClr>
              <a:buChar char="o"/>
              <a:defRPr sz="2000">
                <a:solidFill>
                  <a:schemeClr val="tx1"/>
                </a:solidFill>
                <a:latin typeface="Perpetua" panose="02020502060401020303" pitchFamily="18" charset="0"/>
              </a:defRPr>
            </a:lvl9pPr>
          </a:lstStyle>
          <a:p>
            <a:pPr fontAlgn="base">
              <a:spcBef>
                <a:spcPct val="0"/>
              </a:spcBef>
              <a:spcAft>
                <a:spcPct val="0"/>
              </a:spcAft>
              <a:buClrTx/>
              <a:buSzTx/>
              <a:buNone/>
            </a:pPr>
            <a:r>
              <a:rPr lang="en-US" altLang="en-US" sz="2000">
                <a:solidFill>
                  <a:prstClr val="white"/>
                </a:solidFill>
                <a:latin typeface="Times New Roman" panose="02020603050405020304" pitchFamily="18" charset="0"/>
                <a:cs typeface="Arial" panose="020B0604020202020204" pitchFamily="34" charset="0"/>
              </a:rPr>
              <a:t>Don’t discriminate</a:t>
            </a:r>
          </a:p>
        </p:txBody>
      </p:sp>
      <p:pic>
        <p:nvPicPr>
          <p:cNvPr id="124933" name="Picture 2">
            <a:extLst>
              <a:ext uri="{FF2B5EF4-FFF2-40B4-BE49-F238E27FC236}">
                <a16:creationId xmlns:a16="http://schemas.microsoft.com/office/drawing/2014/main" id="{BD7A10DD-561D-4164-838E-7AB4E0A9B9B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455989" y="3416300"/>
            <a:ext cx="7229475" cy="3009900"/>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
        <p:nvSpPr>
          <p:cNvPr id="124934" name="Right Arrow 6">
            <a:extLst>
              <a:ext uri="{FF2B5EF4-FFF2-40B4-BE49-F238E27FC236}">
                <a16:creationId xmlns:a16="http://schemas.microsoft.com/office/drawing/2014/main" id="{1E928026-8FDB-4937-B7C6-1DDBF0A02515}"/>
              </a:ext>
            </a:extLst>
          </p:cNvPr>
          <p:cNvSpPr>
            <a:spLocks noChangeArrowheads="1"/>
          </p:cNvSpPr>
          <p:nvPr/>
        </p:nvSpPr>
        <p:spPr bwMode="auto">
          <a:xfrm>
            <a:off x="1524000" y="4016376"/>
            <a:ext cx="2528888" cy="1857375"/>
          </a:xfrm>
          <a:prstGeom prst="rightArrow">
            <a:avLst>
              <a:gd name="adj1" fmla="val 50000"/>
              <a:gd name="adj2" fmla="val 50118"/>
            </a:avLst>
          </a:prstGeom>
          <a:solidFill>
            <a:schemeClr val="accent1"/>
          </a:solidFill>
          <a:ln w="9525" algn="ctr">
            <a:solidFill>
              <a:schemeClr val="tx1"/>
            </a:solidFill>
            <a:round/>
            <a:headEnd/>
            <a:tailEnd/>
          </a:ln>
        </p:spPr>
        <p:txBody>
          <a:bodyPr/>
          <a:lstStyle>
            <a:lvl1pPr>
              <a:spcBef>
                <a:spcPts val="575"/>
              </a:spcBef>
              <a:buClr>
                <a:schemeClr val="accent1"/>
              </a:buClr>
              <a:buSzPct val="85000"/>
              <a:buFont typeface="Wingdings 2" panose="05020102010507070707" pitchFamily="18" charset="2"/>
              <a:buChar char=""/>
              <a:defRPr sz="2600">
                <a:solidFill>
                  <a:schemeClr val="tx1"/>
                </a:solidFill>
                <a:latin typeface="Perpetua" panose="02020502060401020303" pitchFamily="18" charset="0"/>
              </a:defRPr>
            </a:lvl1pPr>
            <a:lvl2pPr marL="742950" indent="-285750">
              <a:spcBef>
                <a:spcPts val="375"/>
              </a:spcBef>
              <a:buClr>
                <a:schemeClr val="accent2"/>
              </a:buClr>
              <a:buSzPct val="85000"/>
              <a:buFont typeface="Wingdings 2" panose="05020102010507070707" pitchFamily="18" charset="2"/>
              <a:buChar char=""/>
              <a:defRPr sz="2400">
                <a:solidFill>
                  <a:schemeClr val="tx1"/>
                </a:solidFill>
                <a:latin typeface="Perpetua" panose="02020502060401020303" pitchFamily="18" charset="0"/>
              </a:defRPr>
            </a:lvl2pPr>
            <a:lvl3pPr marL="1143000" indent="-228600">
              <a:spcBef>
                <a:spcPts val="375"/>
              </a:spcBef>
              <a:buClr>
                <a:srgbClr val="E6B1AB"/>
              </a:buClr>
              <a:buSzPct val="85000"/>
              <a:buFont typeface="Wingdings 2" panose="05020102010507070707" pitchFamily="18" charset="2"/>
              <a:buChar char=""/>
              <a:defRPr sz="2000">
                <a:solidFill>
                  <a:schemeClr val="tx1"/>
                </a:solidFill>
                <a:latin typeface="Perpetua" panose="02020502060401020303" pitchFamily="18" charset="0"/>
              </a:defRPr>
            </a:lvl3pPr>
            <a:lvl4pPr marL="1600200" indent="-228600">
              <a:spcBef>
                <a:spcPts val="375"/>
              </a:spcBef>
              <a:buClr>
                <a:srgbClr val="A28E6A"/>
              </a:buClr>
              <a:buSzPct val="80000"/>
              <a:buFont typeface="Wingdings 2" panose="05020102010507070707" pitchFamily="18" charset="2"/>
              <a:buChar char=""/>
              <a:defRPr sz="2000">
                <a:solidFill>
                  <a:schemeClr val="tx1"/>
                </a:solidFill>
                <a:latin typeface="Perpetua" panose="02020502060401020303" pitchFamily="18" charset="0"/>
              </a:defRPr>
            </a:lvl4pPr>
            <a:lvl5pPr marL="2057400" indent="-228600">
              <a:spcBef>
                <a:spcPts val="375"/>
              </a:spcBef>
              <a:buClr>
                <a:srgbClr val="A28E6A"/>
              </a:buClr>
              <a:buChar char="o"/>
              <a:defRPr sz="2000">
                <a:solidFill>
                  <a:schemeClr val="tx1"/>
                </a:solidFill>
                <a:latin typeface="Perpetua" panose="02020502060401020303" pitchFamily="18" charset="0"/>
              </a:defRPr>
            </a:lvl5pPr>
            <a:lvl6pPr marL="2514600" indent="-228600" fontAlgn="base">
              <a:spcBef>
                <a:spcPts val="375"/>
              </a:spcBef>
              <a:spcAft>
                <a:spcPct val="0"/>
              </a:spcAft>
              <a:buClr>
                <a:srgbClr val="A28E6A"/>
              </a:buClr>
              <a:buChar char="o"/>
              <a:defRPr sz="2000">
                <a:solidFill>
                  <a:schemeClr val="tx1"/>
                </a:solidFill>
                <a:latin typeface="Perpetua" panose="02020502060401020303" pitchFamily="18" charset="0"/>
              </a:defRPr>
            </a:lvl6pPr>
            <a:lvl7pPr marL="2971800" indent="-228600" fontAlgn="base">
              <a:spcBef>
                <a:spcPts val="375"/>
              </a:spcBef>
              <a:spcAft>
                <a:spcPct val="0"/>
              </a:spcAft>
              <a:buClr>
                <a:srgbClr val="A28E6A"/>
              </a:buClr>
              <a:buChar char="o"/>
              <a:defRPr sz="2000">
                <a:solidFill>
                  <a:schemeClr val="tx1"/>
                </a:solidFill>
                <a:latin typeface="Perpetua" panose="02020502060401020303" pitchFamily="18" charset="0"/>
              </a:defRPr>
            </a:lvl7pPr>
            <a:lvl8pPr marL="3429000" indent="-228600" fontAlgn="base">
              <a:spcBef>
                <a:spcPts val="375"/>
              </a:spcBef>
              <a:spcAft>
                <a:spcPct val="0"/>
              </a:spcAft>
              <a:buClr>
                <a:srgbClr val="A28E6A"/>
              </a:buClr>
              <a:buChar char="o"/>
              <a:defRPr sz="2000">
                <a:solidFill>
                  <a:schemeClr val="tx1"/>
                </a:solidFill>
                <a:latin typeface="Perpetua" panose="02020502060401020303" pitchFamily="18" charset="0"/>
              </a:defRPr>
            </a:lvl8pPr>
            <a:lvl9pPr marL="3886200" indent="-228600" fontAlgn="base">
              <a:spcBef>
                <a:spcPts val="375"/>
              </a:spcBef>
              <a:spcAft>
                <a:spcPct val="0"/>
              </a:spcAft>
              <a:buClr>
                <a:srgbClr val="A28E6A"/>
              </a:buClr>
              <a:buChar char="o"/>
              <a:defRPr sz="2000">
                <a:solidFill>
                  <a:schemeClr val="tx1"/>
                </a:solidFill>
                <a:latin typeface="Perpetua" panose="02020502060401020303" pitchFamily="18" charset="0"/>
              </a:defRPr>
            </a:lvl9pPr>
          </a:lstStyle>
          <a:p>
            <a:pPr fontAlgn="base">
              <a:spcBef>
                <a:spcPct val="0"/>
              </a:spcBef>
              <a:spcAft>
                <a:spcPct val="0"/>
              </a:spcAft>
              <a:buClrTx/>
              <a:buSzTx/>
              <a:buNone/>
            </a:pPr>
            <a:r>
              <a:rPr lang="en-US" altLang="en-US" sz="1800">
                <a:solidFill>
                  <a:prstClr val="white"/>
                </a:solidFill>
                <a:latin typeface="Times New Roman" panose="02020603050405020304" pitchFamily="18" charset="0"/>
                <a:cs typeface="Arial" panose="020B0604020202020204" pitchFamily="34" charset="0"/>
              </a:rPr>
              <a:t>Amended to cover both materiel and R&amp;D</a:t>
            </a:r>
          </a:p>
        </p:txBody>
      </p:sp>
      <p:pic>
        <p:nvPicPr>
          <p:cNvPr id="124935" name="Picture 6">
            <a:extLst>
              <a:ext uri="{FF2B5EF4-FFF2-40B4-BE49-F238E27FC236}">
                <a16:creationId xmlns:a16="http://schemas.microsoft.com/office/drawing/2014/main" id="{97A9A567-D805-4453-9505-4D4F53494BE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24000" y="2770189"/>
            <a:ext cx="1390650" cy="903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4936" name="Picture 8">
            <a:extLst>
              <a:ext uri="{FF2B5EF4-FFF2-40B4-BE49-F238E27FC236}">
                <a16:creationId xmlns:a16="http://schemas.microsoft.com/office/drawing/2014/main" id="{A4B5AFC0-ED85-43C0-9CBF-8C8A7DC2BA7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25588" y="3646489"/>
            <a:ext cx="1389062" cy="738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Slide Number Placeholder 2">
            <a:extLst>
              <a:ext uri="{FF2B5EF4-FFF2-40B4-BE49-F238E27FC236}">
                <a16:creationId xmlns:a16="http://schemas.microsoft.com/office/drawing/2014/main" id="{F924E886-C6EA-453B-90A5-57FCE27DDA1B}"/>
              </a:ext>
            </a:extLst>
          </p:cNvPr>
          <p:cNvSpPr>
            <a:spLocks noGrp="1"/>
          </p:cNvSpPr>
          <p:nvPr>
            <p:ph type="sldNum" sz="quarter" idx="4294967295"/>
          </p:nvPr>
        </p:nvSpPr>
        <p:spPr>
          <a:xfrm>
            <a:off x="1626394" y="6231082"/>
            <a:ext cx="457200" cy="457200"/>
          </a:xfrm>
        </p:spPr>
        <p:txBody>
          <a:bodyPr/>
          <a:lstStyle>
            <a:lvl1pPr>
              <a:defRPr>
                <a:solidFill>
                  <a:schemeClr val="tx1"/>
                </a:solidFill>
                <a:latin typeface="Perpetua" panose="02020502060401020303" pitchFamily="18" charset="0"/>
              </a:defRPr>
            </a:lvl1pPr>
            <a:lvl2pPr marL="742950" indent="-285750">
              <a:defRPr>
                <a:solidFill>
                  <a:schemeClr val="tx1"/>
                </a:solidFill>
                <a:latin typeface="Perpetua" panose="02020502060401020303" pitchFamily="18" charset="0"/>
              </a:defRPr>
            </a:lvl2pPr>
            <a:lvl3pPr marL="1143000" indent="-228600">
              <a:defRPr>
                <a:solidFill>
                  <a:schemeClr val="tx1"/>
                </a:solidFill>
                <a:latin typeface="Perpetua" panose="02020502060401020303" pitchFamily="18" charset="0"/>
              </a:defRPr>
            </a:lvl3pPr>
            <a:lvl4pPr marL="1600200" indent="-228600">
              <a:defRPr>
                <a:solidFill>
                  <a:schemeClr val="tx1"/>
                </a:solidFill>
                <a:latin typeface="Perpetua" panose="02020502060401020303" pitchFamily="18" charset="0"/>
              </a:defRPr>
            </a:lvl4pPr>
            <a:lvl5pPr marL="2057400" indent="-228600">
              <a:defRPr>
                <a:solidFill>
                  <a:schemeClr val="tx1"/>
                </a:solidFill>
                <a:latin typeface="Perpetua" panose="02020502060401020303" pitchFamily="18" charset="0"/>
              </a:defRPr>
            </a:lvl5pPr>
            <a:lvl6pPr marL="2514600" indent="-228600" fontAlgn="base">
              <a:spcBef>
                <a:spcPct val="0"/>
              </a:spcBef>
              <a:spcAft>
                <a:spcPct val="0"/>
              </a:spcAft>
              <a:defRPr>
                <a:solidFill>
                  <a:schemeClr val="tx1"/>
                </a:solidFill>
                <a:latin typeface="Perpetua" panose="02020502060401020303" pitchFamily="18" charset="0"/>
              </a:defRPr>
            </a:lvl6pPr>
            <a:lvl7pPr marL="2971800" indent="-228600" fontAlgn="base">
              <a:spcBef>
                <a:spcPct val="0"/>
              </a:spcBef>
              <a:spcAft>
                <a:spcPct val="0"/>
              </a:spcAft>
              <a:defRPr>
                <a:solidFill>
                  <a:schemeClr val="tx1"/>
                </a:solidFill>
                <a:latin typeface="Perpetua" panose="02020502060401020303" pitchFamily="18" charset="0"/>
              </a:defRPr>
            </a:lvl7pPr>
            <a:lvl8pPr marL="3429000" indent="-228600" fontAlgn="base">
              <a:spcBef>
                <a:spcPct val="0"/>
              </a:spcBef>
              <a:spcAft>
                <a:spcPct val="0"/>
              </a:spcAft>
              <a:defRPr>
                <a:solidFill>
                  <a:schemeClr val="tx1"/>
                </a:solidFill>
                <a:latin typeface="Perpetua" panose="02020502060401020303" pitchFamily="18" charset="0"/>
              </a:defRPr>
            </a:lvl8pPr>
            <a:lvl9pPr marL="3886200" indent="-228600" fontAlgn="base">
              <a:spcBef>
                <a:spcPct val="0"/>
              </a:spcBef>
              <a:spcAft>
                <a:spcPct val="0"/>
              </a:spcAft>
              <a:defRPr>
                <a:solidFill>
                  <a:schemeClr val="tx1"/>
                </a:solidFill>
                <a:latin typeface="Perpetua" panose="02020502060401020303" pitchFamily="18" charset="0"/>
              </a:defRPr>
            </a:lvl9pPr>
          </a:lstStyle>
          <a:p>
            <a:pPr fontAlgn="base">
              <a:spcBef>
                <a:spcPct val="0"/>
              </a:spcBef>
              <a:spcAft>
                <a:spcPct val="0"/>
              </a:spcAft>
            </a:pPr>
            <a:fld id="{62FC1B67-0ECE-4535-9A32-BF18DD3FE5AD}" type="slidenum">
              <a:rPr lang="en-US" altLang="en-US">
                <a:solidFill>
                  <a:srgbClr val="FFFFFF"/>
                </a:solidFill>
                <a:latin typeface="Franklin Gothic Book" panose="020B0503020102020204" pitchFamily="34" charset="0"/>
                <a:cs typeface="Arial" panose="020B0604020202020204" pitchFamily="34" charset="0"/>
              </a:rPr>
              <a:pPr fontAlgn="base">
                <a:spcBef>
                  <a:spcPct val="0"/>
                </a:spcBef>
                <a:spcAft>
                  <a:spcPct val="0"/>
                </a:spcAft>
              </a:pPr>
              <a:t>19</a:t>
            </a:fld>
            <a:endParaRPr lang="en-US" altLang="en-US">
              <a:solidFill>
                <a:srgbClr val="FFFFFF"/>
              </a:solidFill>
              <a:latin typeface="Franklin Gothic Book" panose="020B0503020102020204" pitchFamily="34" charset="0"/>
              <a:cs typeface="Arial" panose="020B0604020202020204" pitchFamily="34" charset="0"/>
            </a:endParaRP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3426" name="Picture 2">
            <a:extLst>
              <a:ext uri="{FF2B5EF4-FFF2-40B4-BE49-F238E27FC236}">
                <a16:creationId xmlns:a16="http://schemas.microsoft.com/office/drawing/2014/main" id="{FD4AEE36-7652-435B-B7E4-DCDCA685647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07976" y="0"/>
            <a:ext cx="10360025"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3427" name="Title 1">
            <a:extLst>
              <a:ext uri="{FF2B5EF4-FFF2-40B4-BE49-F238E27FC236}">
                <a16:creationId xmlns:a16="http://schemas.microsoft.com/office/drawing/2014/main" id="{312F7637-B6CC-40A4-AEE9-E56FDC7379CF}"/>
              </a:ext>
            </a:extLst>
          </p:cNvPr>
          <p:cNvSpPr>
            <a:spLocks noGrp="1"/>
          </p:cNvSpPr>
          <p:nvPr>
            <p:ph type="title"/>
          </p:nvPr>
        </p:nvSpPr>
        <p:spPr>
          <a:xfrm>
            <a:off x="1524000" y="0"/>
            <a:ext cx="7265988" cy="1143000"/>
          </a:xfrm>
        </p:spPr>
        <p:txBody>
          <a:bodyPr/>
          <a:lstStyle/>
          <a:p>
            <a:r>
              <a:rPr lang="en-US" altLang="en-US" sz="3200">
                <a:solidFill>
                  <a:srgbClr val="FFC000"/>
                </a:solidFill>
              </a:rPr>
              <a:t>Three “Pillars” to Sustainable Procurement</a:t>
            </a:r>
          </a:p>
        </p:txBody>
      </p:sp>
      <p:graphicFrame>
        <p:nvGraphicFramePr>
          <p:cNvPr id="6" name="Diagram 5">
            <a:extLst>
              <a:ext uri="{FF2B5EF4-FFF2-40B4-BE49-F238E27FC236}">
                <a16:creationId xmlns:a16="http://schemas.microsoft.com/office/drawing/2014/main" id="{40E691F5-69F4-4406-BAC7-7179E7D14387}"/>
              </a:ext>
            </a:extLst>
          </p:cNvPr>
          <p:cNvGraphicFramePr/>
          <p:nvPr/>
        </p:nvGraphicFramePr>
        <p:xfrm>
          <a:off x="381000" y="1371600"/>
          <a:ext cx="10287000" cy="472440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2" name="Slide Number Placeholder 1">
            <a:extLst>
              <a:ext uri="{FF2B5EF4-FFF2-40B4-BE49-F238E27FC236}">
                <a16:creationId xmlns:a16="http://schemas.microsoft.com/office/drawing/2014/main" id="{97B8E73A-C294-4812-91F8-E662DBE3C63F}"/>
              </a:ext>
            </a:extLst>
          </p:cNvPr>
          <p:cNvSpPr>
            <a:spLocks noGrp="1"/>
          </p:cNvSpPr>
          <p:nvPr>
            <p:ph type="sldNum" sz="quarter" idx="4294967295"/>
          </p:nvPr>
        </p:nvSpPr>
        <p:spPr>
          <a:xfrm>
            <a:off x="1626394" y="6231082"/>
            <a:ext cx="457200" cy="457200"/>
          </a:xfrm>
        </p:spPr>
        <p:txBody>
          <a:bodyPr/>
          <a:lstStyle>
            <a:lvl1pPr>
              <a:defRPr>
                <a:solidFill>
                  <a:schemeClr val="tx1"/>
                </a:solidFill>
                <a:latin typeface="Perpetua" panose="02020502060401020303" pitchFamily="18" charset="0"/>
              </a:defRPr>
            </a:lvl1pPr>
            <a:lvl2pPr marL="742950" indent="-285750">
              <a:defRPr>
                <a:solidFill>
                  <a:schemeClr val="tx1"/>
                </a:solidFill>
                <a:latin typeface="Perpetua" panose="02020502060401020303" pitchFamily="18" charset="0"/>
              </a:defRPr>
            </a:lvl2pPr>
            <a:lvl3pPr marL="1143000" indent="-228600">
              <a:defRPr>
                <a:solidFill>
                  <a:schemeClr val="tx1"/>
                </a:solidFill>
                <a:latin typeface="Perpetua" panose="02020502060401020303" pitchFamily="18" charset="0"/>
              </a:defRPr>
            </a:lvl3pPr>
            <a:lvl4pPr marL="1600200" indent="-228600">
              <a:defRPr>
                <a:solidFill>
                  <a:schemeClr val="tx1"/>
                </a:solidFill>
                <a:latin typeface="Perpetua" panose="02020502060401020303" pitchFamily="18" charset="0"/>
              </a:defRPr>
            </a:lvl4pPr>
            <a:lvl5pPr marL="2057400" indent="-228600">
              <a:defRPr>
                <a:solidFill>
                  <a:schemeClr val="tx1"/>
                </a:solidFill>
                <a:latin typeface="Perpetua" panose="02020502060401020303" pitchFamily="18" charset="0"/>
              </a:defRPr>
            </a:lvl5pPr>
            <a:lvl6pPr marL="2514600" indent="-228600" fontAlgn="base">
              <a:spcBef>
                <a:spcPct val="0"/>
              </a:spcBef>
              <a:spcAft>
                <a:spcPct val="0"/>
              </a:spcAft>
              <a:defRPr>
                <a:solidFill>
                  <a:schemeClr val="tx1"/>
                </a:solidFill>
                <a:latin typeface="Perpetua" panose="02020502060401020303" pitchFamily="18" charset="0"/>
              </a:defRPr>
            </a:lvl6pPr>
            <a:lvl7pPr marL="2971800" indent="-228600" fontAlgn="base">
              <a:spcBef>
                <a:spcPct val="0"/>
              </a:spcBef>
              <a:spcAft>
                <a:spcPct val="0"/>
              </a:spcAft>
              <a:defRPr>
                <a:solidFill>
                  <a:schemeClr val="tx1"/>
                </a:solidFill>
                <a:latin typeface="Perpetua" panose="02020502060401020303" pitchFamily="18" charset="0"/>
              </a:defRPr>
            </a:lvl7pPr>
            <a:lvl8pPr marL="3429000" indent="-228600" fontAlgn="base">
              <a:spcBef>
                <a:spcPct val="0"/>
              </a:spcBef>
              <a:spcAft>
                <a:spcPct val="0"/>
              </a:spcAft>
              <a:defRPr>
                <a:solidFill>
                  <a:schemeClr val="tx1"/>
                </a:solidFill>
                <a:latin typeface="Perpetua" panose="02020502060401020303" pitchFamily="18" charset="0"/>
              </a:defRPr>
            </a:lvl8pPr>
            <a:lvl9pPr marL="3886200" indent="-228600" fontAlgn="base">
              <a:spcBef>
                <a:spcPct val="0"/>
              </a:spcBef>
              <a:spcAft>
                <a:spcPct val="0"/>
              </a:spcAft>
              <a:defRPr>
                <a:solidFill>
                  <a:schemeClr val="tx1"/>
                </a:solidFill>
                <a:latin typeface="Perpetua" panose="02020502060401020303" pitchFamily="18" charset="0"/>
              </a:defRPr>
            </a:lvl9pPr>
          </a:lstStyle>
          <a:p>
            <a:pPr fontAlgn="base">
              <a:spcBef>
                <a:spcPct val="0"/>
              </a:spcBef>
              <a:spcAft>
                <a:spcPct val="0"/>
              </a:spcAft>
            </a:pPr>
            <a:fld id="{9F734F69-161D-4B23-ADAE-BB69EA9E4909}" type="slidenum">
              <a:rPr lang="en-US" altLang="en-US">
                <a:solidFill>
                  <a:srgbClr val="FFFFFF"/>
                </a:solidFill>
                <a:latin typeface="Franklin Gothic Book" panose="020B0503020102020204" pitchFamily="34" charset="0"/>
                <a:cs typeface="Arial" panose="020B0604020202020204" pitchFamily="34" charset="0"/>
              </a:rPr>
              <a:pPr fontAlgn="base">
                <a:spcBef>
                  <a:spcPct val="0"/>
                </a:spcBef>
                <a:spcAft>
                  <a:spcPct val="0"/>
                </a:spcAft>
              </a:pPr>
              <a:t>2</a:t>
            </a:fld>
            <a:endParaRPr lang="en-US" altLang="en-US">
              <a:solidFill>
                <a:srgbClr val="FFFFFF"/>
              </a:solidFill>
              <a:latin typeface="Franklin Gothic Book" panose="020B0503020102020204" pitchFamily="34" charset="0"/>
              <a:cs typeface="Arial" panose="020B0604020202020204" pitchFamily="34" charset="0"/>
            </a:endParaRPr>
          </a:p>
        </p:txBody>
      </p:sp>
    </p:spTree>
  </p:cSld>
  <p:clrMapOvr>
    <a:masterClrMapping/>
  </p:clrMapOvr>
  <p:transition spd="slow"/>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5954" name="Picture 2">
            <a:extLst>
              <a:ext uri="{FF2B5EF4-FFF2-40B4-BE49-F238E27FC236}">
                <a16:creationId xmlns:a16="http://schemas.microsoft.com/office/drawing/2014/main" id="{3BC2F631-626A-43A7-A20D-3EEFCE62193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676400" y="781050"/>
            <a:ext cx="4319588" cy="59563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25955" name="Picture 3">
            <a:extLst>
              <a:ext uri="{FF2B5EF4-FFF2-40B4-BE49-F238E27FC236}">
                <a16:creationId xmlns:a16="http://schemas.microsoft.com/office/drawing/2014/main" id="{9F08B170-A31B-4AEC-8D82-444C8DCFCD9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107113" y="1143000"/>
            <a:ext cx="4367212" cy="42672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25956" name="TextBox 1">
            <a:extLst>
              <a:ext uri="{FF2B5EF4-FFF2-40B4-BE49-F238E27FC236}">
                <a16:creationId xmlns:a16="http://schemas.microsoft.com/office/drawing/2014/main" id="{F39E7275-D8CC-4E95-8117-9C8147867D81}"/>
              </a:ext>
            </a:extLst>
          </p:cNvPr>
          <p:cNvSpPr txBox="1">
            <a:spLocks noChangeArrowheads="1"/>
          </p:cNvSpPr>
          <p:nvPr/>
        </p:nvSpPr>
        <p:spPr bwMode="auto">
          <a:xfrm>
            <a:off x="6629401" y="5638800"/>
            <a:ext cx="3681413" cy="954088"/>
          </a:xfrm>
          <a:prstGeom prst="rect">
            <a:avLst/>
          </a:prstGeom>
          <a:solidFill>
            <a:srgbClr val="FFFF00"/>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ts val="575"/>
              </a:spcBef>
              <a:buClr>
                <a:schemeClr val="accent1"/>
              </a:buClr>
              <a:buSzPct val="85000"/>
              <a:buFont typeface="Wingdings 2" panose="05020102010507070707" pitchFamily="18" charset="2"/>
              <a:buChar char=""/>
              <a:defRPr sz="2600">
                <a:solidFill>
                  <a:schemeClr val="tx1"/>
                </a:solidFill>
                <a:latin typeface="Perpetua" panose="02020502060401020303" pitchFamily="18" charset="0"/>
              </a:defRPr>
            </a:lvl1pPr>
            <a:lvl2pPr marL="742950" indent="-285750">
              <a:spcBef>
                <a:spcPts val="375"/>
              </a:spcBef>
              <a:buClr>
                <a:schemeClr val="accent2"/>
              </a:buClr>
              <a:buSzPct val="85000"/>
              <a:buFont typeface="Wingdings 2" panose="05020102010507070707" pitchFamily="18" charset="2"/>
              <a:buChar char=""/>
              <a:defRPr sz="2400">
                <a:solidFill>
                  <a:schemeClr val="tx1"/>
                </a:solidFill>
                <a:latin typeface="Perpetua" panose="02020502060401020303" pitchFamily="18" charset="0"/>
              </a:defRPr>
            </a:lvl2pPr>
            <a:lvl3pPr marL="1143000" indent="-228600">
              <a:spcBef>
                <a:spcPts val="375"/>
              </a:spcBef>
              <a:buClr>
                <a:srgbClr val="E6B1AB"/>
              </a:buClr>
              <a:buSzPct val="85000"/>
              <a:buFont typeface="Wingdings 2" panose="05020102010507070707" pitchFamily="18" charset="2"/>
              <a:buChar char=""/>
              <a:defRPr sz="2000">
                <a:solidFill>
                  <a:schemeClr val="tx1"/>
                </a:solidFill>
                <a:latin typeface="Perpetua" panose="02020502060401020303" pitchFamily="18" charset="0"/>
              </a:defRPr>
            </a:lvl3pPr>
            <a:lvl4pPr marL="1600200" indent="-228600">
              <a:spcBef>
                <a:spcPts val="375"/>
              </a:spcBef>
              <a:buClr>
                <a:srgbClr val="A28E6A"/>
              </a:buClr>
              <a:buSzPct val="80000"/>
              <a:buFont typeface="Wingdings 2" panose="05020102010507070707" pitchFamily="18" charset="2"/>
              <a:buChar char=""/>
              <a:defRPr sz="2000">
                <a:solidFill>
                  <a:schemeClr val="tx1"/>
                </a:solidFill>
                <a:latin typeface="Perpetua" panose="02020502060401020303" pitchFamily="18" charset="0"/>
              </a:defRPr>
            </a:lvl4pPr>
            <a:lvl5pPr marL="2057400" indent="-228600">
              <a:spcBef>
                <a:spcPts val="375"/>
              </a:spcBef>
              <a:buClr>
                <a:srgbClr val="A28E6A"/>
              </a:buClr>
              <a:buChar char="o"/>
              <a:defRPr sz="2000">
                <a:solidFill>
                  <a:schemeClr val="tx1"/>
                </a:solidFill>
                <a:latin typeface="Perpetua" panose="02020502060401020303" pitchFamily="18" charset="0"/>
              </a:defRPr>
            </a:lvl5pPr>
            <a:lvl6pPr marL="2514600" indent="-228600" fontAlgn="base">
              <a:spcBef>
                <a:spcPts val="375"/>
              </a:spcBef>
              <a:spcAft>
                <a:spcPct val="0"/>
              </a:spcAft>
              <a:buClr>
                <a:srgbClr val="A28E6A"/>
              </a:buClr>
              <a:buChar char="o"/>
              <a:defRPr sz="2000">
                <a:solidFill>
                  <a:schemeClr val="tx1"/>
                </a:solidFill>
                <a:latin typeface="Perpetua" panose="02020502060401020303" pitchFamily="18" charset="0"/>
              </a:defRPr>
            </a:lvl6pPr>
            <a:lvl7pPr marL="2971800" indent="-228600" fontAlgn="base">
              <a:spcBef>
                <a:spcPts val="375"/>
              </a:spcBef>
              <a:spcAft>
                <a:spcPct val="0"/>
              </a:spcAft>
              <a:buClr>
                <a:srgbClr val="A28E6A"/>
              </a:buClr>
              <a:buChar char="o"/>
              <a:defRPr sz="2000">
                <a:solidFill>
                  <a:schemeClr val="tx1"/>
                </a:solidFill>
                <a:latin typeface="Perpetua" panose="02020502060401020303" pitchFamily="18" charset="0"/>
              </a:defRPr>
            </a:lvl7pPr>
            <a:lvl8pPr marL="3429000" indent="-228600" fontAlgn="base">
              <a:spcBef>
                <a:spcPts val="375"/>
              </a:spcBef>
              <a:spcAft>
                <a:spcPct val="0"/>
              </a:spcAft>
              <a:buClr>
                <a:srgbClr val="A28E6A"/>
              </a:buClr>
              <a:buChar char="o"/>
              <a:defRPr sz="2000">
                <a:solidFill>
                  <a:schemeClr val="tx1"/>
                </a:solidFill>
                <a:latin typeface="Perpetua" panose="02020502060401020303" pitchFamily="18" charset="0"/>
              </a:defRPr>
            </a:lvl8pPr>
            <a:lvl9pPr marL="3886200" indent="-228600" fontAlgn="base">
              <a:spcBef>
                <a:spcPts val="375"/>
              </a:spcBef>
              <a:spcAft>
                <a:spcPct val="0"/>
              </a:spcAft>
              <a:buClr>
                <a:srgbClr val="A28E6A"/>
              </a:buClr>
              <a:buChar char="o"/>
              <a:defRPr sz="2000">
                <a:solidFill>
                  <a:schemeClr val="tx1"/>
                </a:solidFill>
                <a:latin typeface="Perpetua" panose="02020502060401020303" pitchFamily="18" charset="0"/>
              </a:defRPr>
            </a:lvl9pPr>
          </a:lstStyle>
          <a:p>
            <a:pPr algn="r" fontAlgn="base">
              <a:spcBef>
                <a:spcPct val="0"/>
              </a:spcBef>
              <a:spcAft>
                <a:spcPct val="0"/>
              </a:spcAft>
              <a:buClrTx/>
              <a:buSzTx/>
              <a:buNone/>
            </a:pPr>
            <a:r>
              <a:rPr lang="en-US" altLang="en-US" sz="2800" b="1">
                <a:solidFill>
                  <a:srgbClr val="FF0000"/>
                </a:solidFill>
                <a:latin typeface="Calibri" panose="020F0502020204030204" pitchFamily="34" charset="0"/>
                <a:cs typeface="Arial" panose="020B0604020202020204" pitchFamily="34" charset="0"/>
              </a:rPr>
              <a:t>Potential EU Protectionism</a:t>
            </a:r>
          </a:p>
        </p:txBody>
      </p:sp>
      <p:sp>
        <p:nvSpPr>
          <p:cNvPr id="4" name="Slide Number Placeholder 3">
            <a:extLst>
              <a:ext uri="{FF2B5EF4-FFF2-40B4-BE49-F238E27FC236}">
                <a16:creationId xmlns:a16="http://schemas.microsoft.com/office/drawing/2014/main" id="{D8E73244-4CA2-4133-A5FA-0C0E0815FDDB}"/>
              </a:ext>
            </a:extLst>
          </p:cNvPr>
          <p:cNvSpPr>
            <a:spLocks noGrp="1"/>
          </p:cNvSpPr>
          <p:nvPr>
            <p:ph type="sldNum" sz="quarter" idx="4294967295"/>
          </p:nvPr>
        </p:nvSpPr>
        <p:spPr>
          <a:xfrm>
            <a:off x="1626394" y="6231082"/>
            <a:ext cx="457200" cy="457200"/>
          </a:xfrm>
        </p:spPr>
        <p:txBody>
          <a:bodyPr/>
          <a:lstStyle>
            <a:lvl1pPr>
              <a:defRPr>
                <a:solidFill>
                  <a:schemeClr val="tx1"/>
                </a:solidFill>
                <a:latin typeface="Perpetua" panose="02020502060401020303" pitchFamily="18" charset="0"/>
              </a:defRPr>
            </a:lvl1pPr>
            <a:lvl2pPr marL="742950" indent="-285750">
              <a:defRPr>
                <a:solidFill>
                  <a:schemeClr val="tx1"/>
                </a:solidFill>
                <a:latin typeface="Perpetua" panose="02020502060401020303" pitchFamily="18" charset="0"/>
              </a:defRPr>
            </a:lvl2pPr>
            <a:lvl3pPr marL="1143000" indent="-228600">
              <a:defRPr>
                <a:solidFill>
                  <a:schemeClr val="tx1"/>
                </a:solidFill>
                <a:latin typeface="Perpetua" panose="02020502060401020303" pitchFamily="18" charset="0"/>
              </a:defRPr>
            </a:lvl3pPr>
            <a:lvl4pPr marL="1600200" indent="-228600">
              <a:defRPr>
                <a:solidFill>
                  <a:schemeClr val="tx1"/>
                </a:solidFill>
                <a:latin typeface="Perpetua" panose="02020502060401020303" pitchFamily="18" charset="0"/>
              </a:defRPr>
            </a:lvl4pPr>
            <a:lvl5pPr marL="2057400" indent="-228600">
              <a:defRPr>
                <a:solidFill>
                  <a:schemeClr val="tx1"/>
                </a:solidFill>
                <a:latin typeface="Perpetua" panose="02020502060401020303" pitchFamily="18" charset="0"/>
              </a:defRPr>
            </a:lvl5pPr>
            <a:lvl6pPr marL="2514600" indent="-228600" fontAlgn="base">
              <a:spcBef>
                <a:spcPct val="0"/>
              </a:spcBef>
              <a:spcAft>
                <a:spcPct val="0"/>
              </a:spcAft>
              <a:defRPr>
                <a:solidFill>
                  <a:schemeClr val="tx1"/>
                </a:solidFill>
                <a:latin typeface="Perpetua" panose="02020502060401020303" pitchFamily="18" charset="0"/>
              </a:defRPr>
            </a:lvl6pPr>
            <a:lvl7pPr marL="2971800" indent="-228600" fontAlgn="base">
              <a:spcBef>
                <a:spcPct val="0"/>
              </a:spcBef>
              <a:spcAft>
                <a:spcPct val="0"/>
              </a:spcAft>
              <a:defRPr>
                <a:solidFill>
                  <a:schemeClr val="tx1"/>
                </a:solidFill>
                <a:latin typeface="Perpetua" panose="02020502060401020303" pitchFamily="18" charset="0"/>
              </a:defRPr>
            </a:lvl7pPr>
            <a:lvl8pPr marL="3429000" indent="-228600" fontAlgn="base">
              <a:spcBef>
                <a:spcPct val="0"/>
              </a:spcBef>
              <a:spcAft>
                <a:spcPct val="0"/>
              </a:spcAft>
              <a:defRPr>
                <a:solidFill>
                  <a:schemeClr val="tx1"/>
                </a:solidFill>
                <a:latin typeface="Perpetua" panose="02020502060401020303" pitchFamily="18" charset="0"/>
              </a:defRPr>
            </a:lvl8pPr>
            <a:lvl9pPr marL="3886200" indent="-228600" fontAlgn="base">
              <a:spcBef>
                <a:spcPct val="0"/>
              </a:spcBef>
              <a:spcAft>
                <a:spcPct val="0"/>
              </a:spcAft>
              <a:defRPr>
                <a:solidFill>
                  <a:schemeClr val="tx1"/>
                </a:solidFill>
                <a:latin typeface="Perpetua" panose="02020502060401020303" pitchFamily="18" charset="0"/>
              </a:defRPr>
            </a:lvl9pPr>
          </a:lstStyle>
          <a:p>
            <a:pPr fontAlgn="base">
              <a:spcBef>
                <a:spcPct val="0"/>
              </a:spcBef>
              <a:spcAft>
                <a:spcPct val="0"/>
              </a:spcAft>
            </a:pPr>
            <a:fld id="{B9B95AD1-668F-44DD-B770-2AC8F30043CB}" type="slidenum">
              <a:rPr lang="en-US" altLang="en-US">
                <a:solidFill>
                  <a:srgbClr val="FFFFFF"/>
                </a:solidFill>
                <a:latin typeface="Franklin Gothic Book" panose="020B0503020102020204" pitchFamily="34" charset="0"/>
                <a:cs typeface="Arial" panose="020B0604020202020204" pitchFamily="34" charset="0"/>
              </a:rPr>
              <a:pPr fontAlgn="base">
                <a:spcBef>
                  <a:spcPct val="0"/>
                </a:spcBef>
                <a:spcAft>
                  <a:spcPct val="0"/>
                </a:spcAft>
              </a:pPr>
              <a:t>20</a:t>
            </a:fld>
            <a:endParaRPr lang="en-US" altLang="en-US">
              <a:solidFill>
                <a:srgbClr val="FFFFFF"/>
              </a:solidFill>
              <a:latin typeface="Franklin Gothic Book" panose="020B0503020102020204" pitchFamily="34" charset="0"/>
              <a:cs typeface="Arial" panose="020B0604020202020204" pitchFamily="34" charset="0"/>
            </a:endParaRPr>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126978" name="Picture 2">
            <a:extLst>
              <a:ext uri="{FF2B5EF4-FFF2-40B4-BE49-F238E27FC236}">
                <a16:creationId xmlns:a16="http://schemas.microsoft.com/office/drawing/2014/main" id="{2B665D84-3E03-4DD3-A4E0-6EA652FC001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79563" y="593726"/>
            <a:ext cx="946150" cy="57197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26979" name="Picture 3">
            <a:extLst>
              <a:ext uri="{FF2B5EF4-FFF2-40B4-BE49-F238E27FC236}">
                <a16:creationId xmlns:a16="http://schemas.microsoft.com/office/drawing/2014/main" id="{93274F5C-F7B4-4BEC-9C00-58514D60EB1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392864" y="762000"/>
            <a:ext cx="4275137" cy="3048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26980" name="TextBox 5">
            <a:extLst>
              <a:ext uri="{FF2B5EF4-FFF2-40B4-BE49-F238E27FC236}">
                <a16:creationId xmlns:a16="http://schemas.microsoft.com/office/drawing/2014/main" id="{67BA9446-224C-4524-AE98-3F7ED91EB295}"/>
              </a:ext>
            </a:extLst>
          </p:cNvPr>
          <p:cNvSpPr txBox="1">
            <a:spLocks noChangeArrowheads="1"/>
          </p:cNvSpPr>
          <p:nvPr/>
        </p:nvSpPr>
        <p:spPr bwMode="auto">
          <a:xfrm>
            <a:off x="2525713" y="914401"/>
            <a:ext cx="3867150" cy="5078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ts val="575"/>
              </a:spcBef>
              <a:buClr>
                <a:schemeClr val="accent1"/>
              </a:buClr>
              <a:buSzPct val="85000"/>
              <a:buFont typeface="Wingdings 2" panose="05020102010507070707" pitchFamily="18" charset="2"/>
              <a:buChar char=""/>
              <a:defRPr sz="2600">
                <a:solidFill>
                  <a:schemeClr val="tx1"/>
                </a:solidFill>
                <a:latin typeface="Perpetua" panose="02020502060401020303" pitchFamily="18" charset="0"/>
              </a:defRPr>
            </a:lvl1pPr>
            <a:lvl2pPr marL="742950" indent="-285750">
              <a:spcBef>
                <a:spcPts val="375"/>
              </a:spcBef>
              <a:buClr>
                <a:schemeClr val="accent2"/>
              </a:buClr>
              <a:buSzPct val="85000"/>
              <a:buFont typeface="Wingdings 2" panose="05020102010507070707" pitchFamily="18" charset="2"/>
              <a:buChar char=""/>
              <a:defRPr sz="2400">
                <a:solidFill>
                  <a:schemeClr val="tx1"/>
                </a:solidFill>
                <a:latin typeface="Perpetua" panose="02020502060401020303" pitchFamily="18" charset="0"/>
              </a:defRPr>
            </a:lvl2pPr>
            <a:lvl3pPr marL="1143000" indent="-228600">
              <a:spcBef>
                <a:spcPts val="375"/>
              </a:spcBef>
              <a:buClr>
                <a:srgbClr val="E6B1AB"/>
              </a:buClr>
              <a:buSzPct val="85000"/>
              <a:buFont typeface="Wingdings 2" panose="05020102010507070707" pitchFamily="18" charset="2"/>
              <a:buChar char=""/>
              <a:defRPr sz="2000">
                <a:solidFill>
                  <a:schemeClr val="tx1"/>
                </a:solidFill>
                <a:latin typeface="Perpetua" panose="02020502060401020303" pitchFamily="18" charset="0"/>
              </a:defRPr>
            </a:lvl3pPr>
            <a:lvl4pPr marL="1600200" indent="-228600">
              <a:spcBef>
                <a:spcPts val="375"/>
              </a:spcBef>
              <a:buClr>
                <a:srgbClr val="A28E6A"/>
              </a:buClr>
              <a:buSzPct val="80000"/>
              <a:buFont typeface="Wingdings 2" panose="05020102010507070707" pitchFamily="18" charset="2"/>
              <a:buChar char=""/>
              <a:defRPr sz="2000">
                <a:solidFill>
                  <a:schemeClr val="tx1"/>
                </a:solidFill>
                <a:latin typeface="Perpetua" panose="02020502060401020303" pitchFamily="18" charset="0"/>
              </a:defRPr>
            </a:lvl4pPr>
            <a:lvl5pPr marL="2057400" indent="-228600">
              <a:spcBef>
                <a:spcPts val="375"/>
              </a:spcBef>
              <a:buClr>
                <a:srgbClr val="A28E6A"/>
              </a:buClr>
              <a:buChar char="o"/>
              <a:defRPr sz="2000">
                <a:solidFill>
                  <a:schemeClr val="tx1"/>
                </a:solidFill>
                <a:latin typeface="Perpetua" panose="02020502060401020303" pitchFamily="18" charset="0"/>
              </a:defRPr>
            </a:lvl5pPr>
            <a:lvl6pPr marL="2514600" indent="-228600" fontAlgn="base">
              <a:spcBef>
                <a:spcPts val="375"/>
              </a:spcBef>
              <a:spcAft>
                <a:spcPct val="0"/>
              </a:spcAft>
              <a:buClr>
                <a:srgbClr val="A28E6A"/>
              </a:buClr>
              <a:buChar char="o"/>
              <a:defRPr sz="2000">
                <a:solidFill>
                  <a:schemeClr val="tx1"/>
                </a:solidFill>
                <a:latin typeface="Perpetua" panose="02020502060401020303" pitchFamily="18" charset="0"/>
              </a:defRPr>
            </a:lvl6pPr>
            <a:lvl7pPr marL="2971800" indent="-228600" fontAlgn="base">
              <a:spcBef>
                <a:spcPts val="375"/>
              </a:spcBef>
              <a:spcAft>
                <a:spcPct val="0"/>
              </a:spcAft>
              <a:buClr>
                <a:srgbClr val="A28E6A"/>
              </a:buClr>
              <a:buChar char="o"/>
              <a:defRPr sz="2000">
                <a:solidFill>
                  <a:schemeClr val="tx1"/>
                </a:solidFill>
                <a:latin typeface="Perpetua" panose="02020502060401020303" pitchFamily="18" charset="0"/>
              </a:defRPr>
            </a:lvl7pPr>
            <a:lvl8pPr marL="3429000" indent="-228600" fontAlgn="base">
              <a:spcBef>
                <a:spcPts val="375"/>
              </a:spcBef>
              <a:spcAft>
                <a:spcPct val="0"/>
              </a:spcAft>
              <a:buClr>
                <a:srgbClr val="A28E6A"/>
              </a:buClr>
              <a:buChar char="o"/>
              <a:defRPr sz="2000">
                <a:solidFill>
                  <a:schemeClr val="tx1"/>
                </a:solidFill>
                <a:latin typeface="Perpetua" panose="02020502060401020303" pitchFamily="18" charset="0"/>
              </a:defRPr>
            </a:lvl8pPr>
            <a:lvl9pPr marL="3886200" indent="-228600" fontAlgn="base">
              <a:spcBef>
                <a:spcPts val="375"/>
              </a:spcBef>
              <a:spcAft>
                <a:spcPct val="0"/>
              </a:spcAft>
              <a:buClr>
                <a:srgbClr val="A28E6A"/>
              </a:buClr>
              <a:buChar char="o"/>
              <a:defRPr sz="2000">
                <a:solidFill>
                  <a:schemeClr val="tx1"/>
                </a:solidFill>
                <a:latin typeface="Perpetua" panose="02020502060401020303" pitchFamily="18" charset="0"/>
              </a:defRPr>
            </a:lvl9pPr>
          </a:lstStyle>
          <a:p>
            <a:pPr fontAlgn="base">
              <a:spcBef>
                <a:spcPct val="0"/>
              </a:spcBef>
              <a:spcAft>
                <a:spcPct val="0"/>
              </a:spcAft>
              <a:buClrTx/>
              <a:buSzTx/>
              <a:buNone/>
            </a:pPr>
            <a:r>
              <a:rPr lang="en-US" altLang="en-US" sz="1800">
                <a:solidFill>
                  <a:prstClr val="black"/>
                </a:solidFill>
                <a:latin typeface="Calibri" panose="020F0502020204030204" pitchFamily="34" charset="0"/>
                <a:cs typeface="Arial" panose="020B0604020202020204" pitchFamily="34" charset="0"/>
              </a:rPr>
              <a:t>BRUSSELS (Reuters) –[June 7, 2017]  The European Union's executive is ready to increase support for the bloc's </a:t>
            </a:r>
            <a:r>
              <a:rPr lang="en-US" altLang="en-US" sz="1800" b="1">
                <a:solidFill>
                  <a:prstClr val="black"/>
                </a:solidFill>
                <a:latin typeface="Calibri" panose="020F0502020204030204" pitchFamily="34" charset="0"/>
                <a:cs typeface="Arial" panose="020B0604020202020204" pitchFamily="34" charset="0"/>
              </a:rPr>
              <a:t>first ever defense research program</a:t>
            </a:r>
            <a:r>
              <a:rPr lang="en-US" altLang="en-US" sz="1800">
                <a:solidFill>
                  <a:prstClr val="black"/>
                </a:solidFill>
                <a:latin typeface="Calibri" panose="020F0502020204030204" pitchFamily="34" charset="0"/>
                <a:cs typeface="Arial" panose="020B0604020202020204" pitchFamily="34" charset="0"/>
              </a:rPr>
              <a:t>, </a:t>
            </a:r>
            <a:r>
              <a:rPr lang="en-US" altLang="en-US" sz="1800" b="1">
                <a:solidFill>
                  <a:srgbClr val="FFC000"/>
                </a:solidFill>
                <a:latin typeface="Calibri" panose="020F0502020204030204" pitchFamily="34" charset="0"/>
                <a:cs typeface="Arial" panose="020B0604020202020204" pitchFamily="34" charset="0"/>
              </a:rPr>
              <a:t>offering more funds to develop new military hardware</a:t>
            </a:r>
            <a:r>
              <a:rPr lang="en-US" altLang="en-US" sz="1800">
                <a:solidFill>
                  <a:srgbClr val="FFC000"/>
                </a:solidFill>
                <a:latin typeface="Calibri" panose="020F0502020204030204" pitchFamily="34" charset="0"/>
                <a:cs typeface="Arial" panose="020B0604020202020204" pitchFamily="34" charset="0"/>
              </a:rPr>
              <a:t> </a:t>
            </a:r>
            <a:r>
              <a:rPr lang="en-US" altLang="en-US" sz="1800">
                <a:solidFill>
                  <a:prstClr val="black"/>
                </a:solidFill>
                <a:latin typeface="Calibri" panose="020F0502020204030204" pitchFamily="34" charset="0"/>
                <a:cs typeface="Arial" panose="020B0604020202020204" pitchFamily="34" charset="0"/>
              </a:rPr>
              <a:t>in its earliest stages after years of government cuts, a top EU official said.</a:t>
            </a:r>
          </a:p>
          <a:p>
            <a:pPr fontAlgn="base">
              <a:spcBef>
                <a:spcPct val="0"/>
              </a:spcBef>
              <a:spcAft>
                <a:spcPct val="0"/>
              </a:spcAft>
              <a:buClrTx/>
              <a:buSzTx/>
              <a:buNone/>
            </a:pPr>
            <a:r>
              <a:rPr lang="en-US" altLang="en-US" sz="1800">
                <a:solidFill>
                  <a:prstClr val="black"/>
                </a:solidFill>
                <a:latin typeface="Calibri" panose="020F0502020204030204" pitchFamily="34" charset="0"/>
                <a:cs typeface="Arial" panose="020B0604020202020204" pitchFamily="34" charset="0"/>
              </a:rPr>
              <a:t>Following a 90-million-euro pilot investment from the EU's common budget in 2017-2019, the </a:t>
            </a:r>
            <a:r>
              <a:rPr lang="en-US" altLang="en-US" sz="1800" b="1">
                <a:solidFill>
                  <a:srgbClr val="FFC000"/>
                </a:solidFill>
                <a:latin typeface="Calibri" panose="020F0502020204030204" pitchFamily="34" charset="0"/>
                <a:cs typeface="Arial" panose="020B0604020202020204" pitchFamily="34" charset="0"/>
              </a:rPr>
              <a:t>European Commission is proposing 500 million euros ($563 million) for the 2019-2020 period that could rise to 1.5 billion euros a year from 2021</a:t>
            </a:r>
            <a:r>
              <a:rPr lang="en-US" altLang="en-US" sz="1800" b="1">
                <a:solidFill>
                  <a:prstClr val="black"/>
                </a:solidFill>
                <a:latin typeface="Calibri" panose="020F0502020204030204" pitchFamily="34" charset="0"/>
                <a:cs typeface="Arial" panose="020B0604020202020204" pitchFamily="34" charset="0"/>
              </a:rPr>
              <a:t>, </a:t>
            </a:r>
            <a:r>
              <a:rPr lang="en-US" altLang="en-US" sz="1800">
                <a:solidFill>
                  <a:prstClr val="black"/>
                </a:solidFill>
                <a:latin typeface="Calibri" panose="020F0502020204030204" pitchFamily="34" charset="0"/>
                <a:cs typeface="Arial" panose="020B0604020202020204" pitchFamily="34" charset="0"/>
              </a:rPr>
              <a:t>Industry Commissioner Elzbieta Bienkowska told Reuters.</a:t>
            </a:r>
          </a:p>
          <a:p>
            <a:pPr fontAlgn="base">
              <a:spcBef>
                <a:spcPct val="0"/>
              </a:spcBef>
              <a:spcAft>
                <a:spcPct val="0"/>
              </a:spcAft>
              <a:buClrTx/>
              <a:buSzTx/>
              <a:buNone/>
            </a:pPr>
            <a:endParaRPr lang="en-US" altLang="en-US" sz="1800">
              <a:solidFill>
                <a:prstClr val="black"/>
              </a:solidFill>
              <a:latin typeface="Calibri" panose="020F0502020204030204" pitchFamily="34" charset="0"/>
              <a:cs typeface="Arial" panose="020B0604020202020204" pitchFamily="34" charset="0"/>
            </a:endParaRPr>
          </a:p>
        </p:txBody>
      </p:sp>
      <p:sp>
        <p:nvSpPr>
          <p:cNvPr id="126981" name="TextBox 6">
            <a:extLst>
              <a:ext uri="{FF2B5EF4-FFF2-40B4-BE49-F238E27FC236}">
                <a16:creationId xmlns:a16="http://schemas.microsoft.com/office/drawing/2014/main" id="{8A949EFC-4816-4413-99C7-8B51133E14E5}"/>
              </a:ext>
            </a:extLst>
          </p:cNvPr>
          <p:cNvSpPr txBox="1">
            <a:spLocks noChangeArrowheads="1"/>
          </p:cNvSpPr>
          <p:nvPr/>
        </p:nvSpPr>
        <p:spPr bwMode="auto">
          <a:xfrm>
            <a:off x="6772276" y="4267201"/>
            <a:ext cx="3516313" cy="1077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ts val="575"/>
              </a:spcBef>
              <a:buClr>
                <a:schemeClr val="accent1"/>
              </a:buClr>
              <a:buSzPct val="85000"/>
              <a:buFont typeface="Wingdings 2" panose="05020102010507070707" pitchFamily="18" charset="2"/>
              <a:buChar char=""/>
              <a:defRPr sz="2600">
                <a:solidFill>
                  <a:schemeClr val="tx1"/>
                </a:solidFill>
                <a:latin typeface="Perpetua" panose="02020502060401020303" pitchFamily="18" charset="0"/>
              </a:defRPr>
            </a:lvl1pPr>
            <a:lvl2pPr marL="742950" indent="-285750">
              <a:spcBef>
                <a:spcPts val="375"/>
              </a:spcBef>
              <a:buClr>
                <a:schemeClr val="accent2"/>
              </a:buClr>
              <a:buSzPct val="85000"/>
              <a:buFont typeface="Wingdings 2" panose="05020102010507070707" pitchFamily="18" charset="2"/>
              <a:buChar char=""/>
              <a:defRPr sz="2400">
                <a:solidFill>
                  <a:schemeClr val="tx1"/>
                </a:solidFill>
                <a:latin typeface="Perpetua" panose="02020502060401020303" pitchFamily="18" charset="0"/>
              </a:defRPr>
            </a:lvl2pPr>
            <a:lvl3pPr marL="1143000" indent="-228600">
              <a:spcBef>
                <a:spcPts val="375"/>
              </a:spcBef>
              <a:buClr>
                <a:srgbClr val="E6B1AB"/>
              </a:buClr>
              <a:buSzPct val="85000"/>
              <a:buFont typeface="Wingdings 2" panose="05020102010507070707" pitchFamily="18" charset="2"/>
              <a:buChar char=""/>
              <a:defRPr sz="2000">
                <a:solidFill>
                  <a:schemeClr val="tx1"/>
                </a:solidFill>
                <a:latin typeface="Perpetua" panose="02020502060401020303" pitchFamily="18" charset="0"/>
              </a:defRPr>
            </a:lvl3pPr>
            <a:lvl4pPr marL="1600200" indent="-228600">
              <a:spcBef>
                <a:spcPts val="375"/>
              </a:spcBef>
              <a:buClr>
                <a:srgbClr val="A28E6A"/>
              </a:buClr>
              <a:buSzPct val="80000"/>
              <a:buFont typeface="Wingdings 2" panose="05020102010507070707" pitchFamily="18" charset="2"/>
              <a:buChar char=""/>
              <a:defRPr sz="2000">
                <a:solidFill>
                  <a:schemeClr val="tx1"/>
                </a:solidFill>
                <a:latin typeface="Perpetua" panose="02020502060401020303" pitchFamily="18" charset="0"/>
              </a:defRPr>
            </a:lvl4pPr>
            <a:lvl5pPr marL="2057400" indent="-228600">
              <a:spcBef>
                <a:spcPts val="375"/>
              </a:spcBef>
              <a:buClr>
                <a:srgbClr val="A28E6A"/>
              </a:buClr>
              <a:buChar char="o"/>
              <a:defRPr sz="2000">
                <a:solidFill>
                  <a:schemeClr val="tx1"/>
                </a:solidFill>
                <a:latin typeface="Perpetua" panose="02020502060401020303" pitchFamily="18" charset="0"/>
              </a:defRPr>
            </a:lvl5pPr>
            <a:lvl6pPr marL="2514600" indent="-228600" fontAlgn="base">
              <a:spcBef>
                <a:spcPts val="375"/>
              </a:spcBef>
              <a:spcAft>
                <a:spcPct val="0"/>
              </a:spcAft>
              <a:buClr>
                <a:srgbClr val="A28E6A"/>
              </a:buClr>
              <a:buChar char="o"/>
              <a:defRPr sz="2000">
                <a:solidFill>
                  <a:schemeClr val="tx1"/>
                </a:solidFill>
                <a:latin typeface="Perpetua" panose="02020502060401020303" pitchFamily="18" charset="0"/>
              </a:defRPr>
            </a:lvl6pPr>
            <a:lvl7pPr marL="2971800" indent="-228600" fontAlgn="base">
              <a:spcBef>
                <a:spcPts val="375"/>
              </a:spcBef>
              <a:spcAft>
                <a:spcPct val="0"/>
              </a:spcAft>
              <a:buClr>
                <a:srgbClr val="A28E6A"/>
              </a:buClr>
              <a:buChar char="o"/>
              <a:defRPr sz="2000">
                <a:solidFill>
                  <a:schemeClr val="tx1"/>
                </a:solidFill>
                <a:latin typeface="Perpetua" panose="02020502060401020303" pitchFamily="18" charset="0"/>
              </a:defRPr>
            </a:lvl7pPr>
            <a:lvl8pPr marL="3429000" indent="-228600" fontAlgn="base">
              <a:spcBef>
                <a:spcPts val="375"/>
              </a:spcBef>
              <a:spcAft>
                <a:spcPct val="0"/>
              </a:spcAft>
              <a:buClr>
                <a:srgbClr val="A28E6A"/>
              </a:buClr>
              <a:buChar char="o"/>
              <a:defRPr sz="2000">
                <a:solidFill>
                  <a:schemeClr val="tx1"/>
                </a:solidFill>
                <a:latin typeface="Perpetua" panose="02020502060401020303" pitchFamily="18" charset="0"/>
              </a:defRPr>
            </a:lvl8pPr>
            <a:lvl9pPr marL="3886200" indent="-228600" fontAlgn="base">
              <a:spcBef>
                <a:spcPts val="375"/>
              </a:spcBef>
              <a:spcAft>
                <a:spcPct val="0"/>
              </a:spcAft>
              <a:buClr>
                <a:srgbClr val="A28E6A"/>
              </a:buClr>
              <a:buChar char="o"/>
              <a:defRPr sz="2000">
                <a:solidFill>
                  <a:schemeClr val="tx1"/>
                </a:solidFill>
                <a:latin typeface="Perpetua" panose="02020502060401020303" pitchFamily="18" charset="0"/>
              </a:defRPr>
            </a:lvl9pPr>
          </a:lstStyle>
          <a:p>
            <a:pPr algn="r" fontAlgn="base">
              <a:spcBef>
                <a:spcPct val="0"/>
              </a:spcBef>
              <a:spcAft>
                <a:spcPct val="0"/>
              </a:spcAft>
              <a:buClrTx/>
              <a:buSzTx/>
              <a:buNone/>
            </a:pPr>
            <a:r>
              <a:rPr lang="en-US" altLang="en-US" sz="3200" b="1">
                <a:solidFill>
                  <a:prstClr val="black"/>
                </a:solidFill>
                <a:latin typeface="Calibri" panose="020F0502020204030204" pitchFamily="34" charset="0"/>
                <a:cs typeface="Arial" panose="020B0604020202020204" pitchFamily="34" charset="0"/>
              </a:rPr>
              <a:t>European Defense Fund</a:t>
            </a:r>
          </a:p>
        </p:txBody>
      </p:sp>
      <p:pic>
        <p:nvPicPr>
          <p:cNvPr id="126982" name="Picture 5">
            <a:extLst>
              <a:ext uri="{FF2B5EF4-FFF2-40B4-BE49-F238E27FC236}">
                <a16:creationId xmlns:a16="http://schemas.microsoft.com/office/drawing/2014/main" id="{8F585A7C-9AAF-4120-8005-D08B1BCDFF9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879369" y="5789810"/>
            <a:ext cx="3416300" cy="8064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Slide Number Placeholder 2">
            <a:extLst>
              <a:ext uri="{FF2B5EF4-FFF2-40B4-BE49-F238E27FC236}">
                <a16:creationId xmlns:a16="http://schemas.microsoft.com/office/drawing/2014/main" id="{33A064A6-AC33-40CA-8463-C03902174DB5}"/>
              </a:ext>
            </a:extLst>
          </p:cNvPr>
          <p:cNvSpPr>
            <a:spLocks noGrp="1"/>
          </p:cNvSpPr>
          <p:nvPr>
            <p:ph type="sldNum" sz="quarter" idx="12"/>
          </p:nvPr>
        </p:nvSpPr>
        <p:spPr/>
        <p:txBody>
          <a:bodyPr/>
          <a:lstStyle>
            <a:lvl1pPr>
              <a:defRPr>
                <a:solidFill>
                  <a:schemeClr val="tx1"/>
                </a:solidFill>
                <a:latin typeface="Perpetua" panose="02020502060401020303" pitchFamily="18" charset="0"/>
              </a:defRPr>
            </a:lvl1pPr>
            <a:lvl2pPr marL="742950" indent="-285750">
              <a:defRPr>
                <a:solidFill>
                  <a:schemeClr val="tx1"/>
                </a:solidFill>
                <a:latin typeface="Perpetua" panose="02020502060401020303" pitchFamily="18" charset="0"/>
              </a:defRPr>
            </a:lvl2pPr>
            <a:lvl3pPr marL="1143000" indent="-228600">
              <a:defRPr>
                <a:solidFill>
                  <a:schemeClr val="tx1"/>
                </a:solidFill>
                <a:latin typeface="Perpetua" panose="02020502060401020303" pitchFamily="18" charset="0"/>
              </a:defRPr>
            </a:lvl3pPr>
            <a:lvl4pPr marL="1600200" indent="-228600">
              <a:defRPr>
                <a:solidFill>
                  <a:schemeClr val="tx1"/>
                </a:solidFill>
                <a:latin typeface="Perpetua" panose="02020502060401020303" pitchFamily="18" charset="0"/>
              </a:defRPr>
            </a:lvl4pPr>
            <a:lvl5pPr marL="2057400" indent="-228600">
              <a:defRPr>
                <a:solidFill>
                  <a:schemeClr val="tx1"/>
                </a:solidFill>
                <a:latin typeface="Perpetua" panose="02020502060401020303" pitchFamily="18" charset="0"/>
              </a:defRPr>
            </a:lvl5pPr>
            <a:lvl6pPr marL="2514600" indent="-228600" fontAlgn="base">
              <a:spcBef>
                <a:spcPct val="0"/>
              </a:spcBef>
              <a:spcAft>
                <a:spcPct val="0"/>
              </a:spcAft>
              <a:defRPr>
                <a:solidFill>
                  <a:schemeClr val="tx1"/>
                </a:solidFill>
                <a:latin typeface="Perpetua" panose="02020502060401020303" pitchFamily="18" charset="0"/>
              </a:defRPr>
            </a:lvl6pPr>
            <a:lvl7pPr marL="2971800" indent="-228600" fontAlgn="base">
              <a:spcBef>
                <a:spcPct val="0"/>
              </a:spcBef>
              <a:spcAft>
                <a:spcPct val="0"/>
              </a:spcAft>
              <a:defRPr>
                <a:solidFill>
                  <a:schemeClr val="tx1"/>
                </a:solidFill>
                <a:latin typeface="Perpetua" panose="02020502060401020303" pitchFamily="18" charset="0"/>
              </a:defRPr>
            </a:lvl7pPr>
            <a:lvl8pPr marL="3429000" indent="-228600" fontAlgn="base">
              <a:spcBef>
                <a:spcPct val="0"/>
              </a:spcBef>
              <a:spcAft>
                <a:spcPct val="0"/>
              </a:spcAft>
              <a:defRPr>
                <a:solidFill>
                  <a:schemeClr val="tx1"/>
                </a:solidFill>
                <a:latin typeface="Perpetua" panose="02020502060401020303" pitchFamily="18" charset="0"/>
              </a:defRPr>
            </a:lvl8pPr>
            <a:lvl9pPr marL="3886200" indent="-228600" fontAlgn="base">
              <a:spcBef>
                <a:spcPct val="0"/>
              </a:spcBef>
              <a:spcAft>
                <a:spcPct val="0"/>
              </a:spcAft>
              <a:defRPr>
                <a:solidFill>
                  <a:schemeClr val="tx1"/>
                </a:solidFill>
                <a:latin typeface="Perpetua" panose="02020502060401020303" pitchFamily="18" charset="0"/>
              </a:defRPr>
            </a:lvl9pPr>
          </a:lstStyle>
          <a:p>
            <a:pPr fontAlgn="base">
              <a:spcBef>
                <a:spcPct val="0"/>
              </a:spcBef>
              <a:spcAft>
                <a:spcPct val="0"/>
              </a:spcAft>
            </a:pPr>
            <a:fld id="{A2BA96CF-7132-47C9-94A9-4DC93820DB9F}" type="slidenum">
              <a:rPr lang="en-US" altLang="en-US">
                <a:solidFill>
                  <a:srgbClr val="FFFFFF"/>
                </a:solidFill>
                <a:latin typeface="Franklin Gothic Book" panose="020B0503020102020204" pitchFamily="34" charset="0"/>
                <a:cs typeface="Arial" panose="020B0604020202020204" pitchFamily="34" charset="0"/>
              </a:rPr>
              <a:pPr fontAlgn="base">
                <a:spcBef>
                  <a:spcPct val="0"/>
                </a:spcBef>
                <a:spcAft>
                  <a:spcPct val="0"/>
                </a:spcAft>
              </a:pPr>
              <a:t>21</a:t>
            </a:fld>
            <a:endParaRPr lang="en-US" altLang="en-US">
              <a:solidFill>
                <a:srgbClr val="FFFFFF"/>
              </a:solidFill>
              <a:latin typeface="Franklin Gothic Book" panose="020B0503020102020204" pitchFamily="34" charset="0"/>
              <a:cs typeface="Arial" panose="020B0604020202020204" pitchFamily="34" charset="0"/>
            </a:endParaRPr>
          </a:p>
        </p:txBody>
      </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00D37A-F307-4CB6-92BF-946252B52E5B}"/>
              </a:ext>
            </a:extLst>
          </p:cNvPr>
          <p:cNvSpPr>
            <a:spLocks noGrp="1"/>
          </p:cNvSpPr>
          <p:nvPr>
            <p:ph type="title"/>
          </p:nvPr>
        </p:nvSpPr>
        <p:spPr>
          <a:xfrm>
            <a:off x="1676400" y="609601"/>
            <a:ext cx="8229600" cy="1069975"/>
          </a:xfrm>
        </p:spPr>
        <p:txBody>
          <a:bodyPr rtlCol="0">
            <a:normAutofit/>
          </a:bodyPr>
          <a:lstStyle/>
          <a:p>
            <a:pPr fontAlgn="auto">
              <a:spcAft>
                <a:spcPts val="0"/>
              </a:spcAft>
              <a:defRPr/>
            </a:pPr>
            <a:r>
              <a:rPr lang="en-US" dirty="0"/>
              <a:t>EU Defense Fund:  Macron Manifesto</a:t>
            </a:r>
          </a:p>
        </p:txBody>
      </p:sp>
      <p:pic>
        <p:nvPicPr>
          <p:cNvPr id="128003" name="Picture 2">
            <a:extLst>
              <a:ext uri="{FF2B5EF4-FFF2-40B4-BE49-F238E27FC236}">
                <a16:creationId xmlns:a16="http://schemas.microsoft.com/office/drawing/2014/main" id="{C3775822-E3C8-4101-AD19-E004894069F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070100" y="2463800"/>
            <a:ext cx="6870700" cy="12827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28004" name="TextBox 3">
            <a:extLst>
              <a:ext uri="{FF2B5EF4-FFF2-40B4-BE49-F238E27FC236}">
                <a16:creationId xmlns:a16="http://schemas.microsoft.com/office/drawing/2014/main" id="{5962E614-BE90-4EE0-914C-9C4BB0BB11A2}"/>
              </a:ext>
            </a:extLst>
          </p:cNvPr>
          <p:cNvSpPr txBox="1">
            <a:spLocks noChangeArrowheads="1"/>
          </p:cNvSpPr>
          <p:nvPr/>
        </p:nvSpPr>
        <p:spPr bwMode="auto">
          <a:xfrm>
            <a:off x="2070100" y="3997325"/>
            <a:ext cx="8445500" cy="1631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ts val="575"/>
              </a:spcBef>
              <a:buClr>
                <a:schemeClr val="accent1"/>
              </a:buClr>
              <a:buSzPct val="85000"/>
              <a:buFont typeface="Wingdings 2" panose="05020102010507070707" pitchFamily="18" charset="2"/>
              <a:buChar char=""/>
              <a:defRPr sz="2600">
                <a:solidFill>
                  <a:schemeClr val="tx1"/>
                </a:solidFill>
                <a:latin typeface="Perpetua" panose="02020502060401020303" pitchFamily="18" charset="0"/>
              </a:defRPr>
            </a:lvl1pPr>
            <a:lvl2pPr marL="742950" indent="-285750">
              <a:spcBef>
                <a:spcPts val="375"/>
              </a:spcBef>
              <a:buClr>
                <a:schemeClr val="accent2"/>
              </a:buClr>
              <a:buSzPct val="85000"/>
              <a:buFont typeface="Wingdings 2" panose="05020102010507070707" pitchFamily="18" charset="2"/>
              <a:buChar char=""/>
              <a:defRPr sz="2400">
                <a:solidFill>
                  <a:schemeClr val="tx1"/>
                </a:solidFill>
                <a:latin typeface="Perpetua" panose="02020502060401020303" pitchFamily="18" charset="0"/>
              </a:defRPr>
            </a:lvl2pPr>
            <a:lvl3pPr marL="1143000" indent="-228600">
              <a:spcBef>
                <a:spcPts val="375"/>
              </a:spcBef>
              <a:buClr>
                <a:srgbClr val="E6B1AB"/>
              </a:buClr>
              <a:buSzPct val="85000"/>
              <a:buFont typeface="Wingdings 2" panose="05020102010507070707" pitchFamily="18" charset="2"/>
              <a:buChar char=""/>
              <a:defRPr sz="2000">
                <a:solidFill>
                  <a:schemeClr val="tx1"/>
                </a:solidFill>
                <a:latin typeface="Perpetua" panose="02020502060401020303" pitchFamily="18" charset="0"/>
              </a:defRPr>
            </a:lvl3pPr>
            <a:lvl4pPr marL="1600200" indent="-228600">
              <a:spcBef>
                <a:spcPts val="375"/>
              </a:spcBef>
              <a:buClr>
                <a:srgbClr val="A28E6A"/>
              </a:buClr>
              <a:buSzPct val="80000"/>
              <a:buFont typeface="Wingdings 2" panose="05020102010507070707" pitchFamily="18" charset="2"/>
              <a:buChar char=""/>
              <a:defRPr sz="2000">
                <a:solidFill>
                  <a:schemeClr val="tx1"/>
                </a:solidFill>
                <a:latin typeface="Perpetua" panose="02020502060401020303" pitchFamily="18" charset="0"/>
              </a:defRPr>
            </a:lvl4pPr>
            <a:lvl5pPr marL="2057400" indent="-228600">
              <a:spcBef>
                <a:spcPts val="375"/>
              </a:spcBef>
              <a:buClr>
                <a:srgbClr val="A28E6A"/>
              </a:buClr>
              <a:buChar char="o"/>
              <a:defRPr sz="2000">
                <a:solidFill>
                  <a:schemeClr val="tx1"/>
                </a:solidFill>
                <a:latin typeface="Perpetua" panose="02020502060401020303" pitchFamily="18" charset="0"/>
              </a:defRPr>
            </a:lvl5pPr>
            <a:lvl6pPr marL="2514600" indent="-228600" fontAlgn="base">
              <a:spcBef>
                <a:spcPts val="375"/>
              </a:spcBef>
              <a:spcAft>
                <a:spcPct val="0"/>
              </a:spcAft>
              <a:buClr>
                <a:srgbClr val="A28E6A"/>
              </a:buClr>
              <a:buChar char="o"/>
              <a:defRPr sz="2000">
                <a:solidFill>
                  <a:schemeClr val="tx1"/>
                </a:solidFill>
                <a:latin typeface="Perpetua" panose="02020502060401020303" pitchFamily="18" charset="0"/>
              </a:defRPr>
            </a:lvl6pPr>
            <a:lvl7pPr marL="2971800" indent="-228600" fontAlgn="base">
              <a:spcBef>
                <a:spcPts val="375"/>
              </a:spcBef>
              <a:spcAft>
                <a:spcPct val="0"/>
              </a:spcAft>
              <a:buClr>
                <a:srgbClr val="A28E6A"/>
              </a:buClr>
              <a:buChar char="o"/>
              <a:defRPr sz="2000">
                <a:solidFill>
                  <a:schemeClr val="tx1"/>
                </a:solidFill>
                <a:latin typeface="Perpetua" panose="02020502060401020303" pitchFamily="18" charset="0"/>
              </a:defRPr>
            </a:lvl7pPr>
            <a:lvl8pPr marL="3429000" indent="-228600" fontAlgn="base">
              <a:spcBef>
                <a:spcPts val="375"/>
              </a:spcBef>
              <a:spcAft>
                <a:spcPct val="0"/>
              </a:spcAft>
              <a:buClr>
                <a:srgbClr val="A28E6A"/>
              </a:buClr>
              <a:buChar char="o"/>
              <a:defRPr sz="2000">
                <a:solidFill>
                  <a:schemeClr val="tx1"/>
                </a:solidFill>
                <a:latin typeface="Perpetua" panose="02020502060401020303" pitchFamily="18" charset="0"/>
              </a:defRPr>
            </a:lvl8pPr>
            <a:lvl9pPr marL="3886200" indent="-228600" fontAlgn="base">
              <a:spcBef>
                <a:spcPts val="375"/>
              </a:spcBef>
              <a:spcAft>
                <a:spcPct val="0"/>
              </a:spcAft>
              <a:buClr>
                <a:srgbClr val="A28E6A"/>
              </a:buClr>
              <a:buChar char="o"/>
              <a:defRPr sz="2000">
                <a:solidFill>
                  <a:schemeClr val="tx1"/>
                </a:solidFill>
                <a:latin typeface="Perpetua" panose="02020502060401020303" pitchFamily="18" charset="0"/>
              </a:defRPr>
            </a:lvl9pPr>
          </a:lstStyle>
          <a:p>
            <a:pPr fontAlgn="base">
              <a:spcBef>
                <a:spcPct val="0"/>
              </a:spcBef>
              <a:spcAft>
                <a:spcPct val="0"/>
              </a:spcAft>
              <a:buClrTx/>
              <a:buSzTx/>
              <a:buNone/>
            </a:pPr>
            <a:r>
              <a:rPr lang="en-US" altLang="en-US" sz="2000" b="1">
                <a:solidFill>
                  <a:prstClr val="black"/>
                </a:solidFill>
                <a:latin typeface="Calibri" panose="020F0502020204030204" pitchFamily="34" charset="0"/>
                <a:cs typeface="Arial" panose="020B0604020202020204" pitchFamily="34" charset="0"/>
              </a:rPr>
              <a:t>	We will support the creation of a European Defense Fund to finance joint programs such as a European drone.</a:t>
            </a:r>
          </a:p>
          <a:p>
            <a:pPr fontAlgn="base">
              <a:spcBef>
                <a:spcPct val="0"/>
              </a:spcBef>
              <a:spcAft>
                <a:spcPct val="0"/>
              </a:spcAft>
              <a:buClrTx/>
              <a:buSzTx/>
              <a:buNone/>
            </a:pPr>
            <a:endParaRPr lang="en-US" altLang="en-US" sz="2000" b="1">
              <a:solidFill>
                <a:prstClr val="black"/>
              </a:solidFill>
              <a:latin typeface="Calibri" panose="020F0502020204030204" pitchFamily="34" charset="0"/>
              <a:cs typeface="Arial" panose="020B0604020202020204" pitchFamily="34" charset="0"/>
            </a:endParaRPr>
          </a:p>
          <a:p>
            <a:pPr fontAlgn="base">
              <a:spcBef>
                <a:spcPct val="0"/>
              </a:spcBef>
              <a:spcAft>
                <a:spcPct val="0"/>
              </a:spcAft>
              <a:buClrTx/>
              <a:buSzTx/>
              <a:buNone/>
            </a:pPr>
            <a:r>
              <a:rPr lang="en-US" altLang="en-US" sz="2000">
                <a:solidFill>
                  <a:prstClr val="black"/>
                </a:solidFill>
                <a:latin typeface="Calibri" panose="020F0502020204030204" pitchFamily="34" charset="0"/>
                <a:cs typeface="Arial" panose="020B0604020202020204" pitchFamily="34" charset="0"/>
              </a:rPr>
              <a:t>To continue to innovate in the face of American or Chinese giants, and in the face of increasing costs of armaments programs, a joint effort is key.</a:t>
            </a:r>
          </a:p>
        </p:txBody>
      </p:sp>
      <p:sp>
        <p:nvSpPr>
          <p:cNvPr id="5" name="Right Arrow 4">
            <a:extLst>
              <a:ext uri="{FF2B5EF4-FFF2-40B4-BE49-F238E27FC236}">
                <a16:creationId xmlns:a16="http://schemas.microsoft.com/office/drawing/2014/main" id="{D6D89926-0909-4D66-A516-4C88A8AE33CB}"/>
              </a:ext>
            </a:extLst>
          </p:cNvPr>
          <p:cNvSpPr/>
          <p:nvPr/>
        </p:nvSpPr>
        <p:spPr>
          <a:xfrm>
            <a:off x="2286000" y="4114800"/>
            <a:ext cx="215900" cy="22860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prstClr val="white"/>
              </a:solidFill>
              <a:latin typeface="Perpetua"/>
            </a:endParaRPr>
          </a:p>
        </p:txBody>
      </p:sp>
      <p:pic>
        <p:nvPicPr>
          <p:cNvPr id="128006" name="Picture 3">
            <a:extLst>
              <a:ext uri="{FF2B5EF4-FFF2-40B4-BE49-F238E27FC236}">
                <a16:creationId xmlns:a16="http://schemas.microsoft.com/office/drawing/2014/main" id="{92C90B98-1E6E-4DDA-9BFB-BD970A5C90A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52600" y="1676400"/>
            <a:ext cx="6311900" cy="7874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28007" name="Picture 4">
            <a:extLst>
              <a:ext uri="{FF2B5EF4-FFF2-40B4-BE49-F238E27FC236}">
                <a16:creationId xmlns:a16="http://schemas.microsoft.com/office/drawing/2014/main" id="{9A1F562C-DA2E-499D-B868-70B4DD8E032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393950" y="5668964"/>
            <a:ext cx="1574800" cy="10318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 name="Slide Number Placeholder 6">
            <a:extLst>
              <a:ext uri="{FF2B5EF4-FFF2-40B4-BE49-F238E27FC236}">
                <a16:creationId xmlns:a16="http://schemas.microsoft.com/office/drawing/2014/main" id="{C4AB9302-9585-4A13-9A5A-4E87F5791F7A}"/>
              </a:ext>
            </a:extLst>
          </p:cNvPr>
          <p:cNvSpPr>
            <a:spLocks noGrp="1"/>
          </p:cNvSpPr>
          <p:nvPr>
            <p:ph type="sldNum" sz="quarter" idx="12"/>
          </p:nvPr>
        </p:nvSpPr>
        <p:spPr/>
        <p:txBody>
          <a:bodyPr/>
          <a:lstStyle>
            <a:lvl1pPr>
              <a:defRPr>
                <a:solidFill>
                  <a:schemeClr val="tx1"/>
                </a:solidFill>
                <a:latin typeface="Perpetua" panose="02020502060401020303" pitchFamily="18" charset="0"/>
              </a:defRPr>
            </a:lvl1pPr>
            <a:lvl2pPr marL="742950" indent="-285750">
              <a:defRPr>
                <a:solidFill>
                  <a:schemeClr val="tx1"/>
                </a:solidFill>
                <a:latin typeface="Perpetua" panose="02020502060401020303" pitchFamily="18" charset="0"/>
              </a:defRPr>
            </a:lvl2pPr>
            <a:lvl3pPr marL="1143000" indent="-228600">
              <a:defRPr>
                <a:solidFill>
                  <a:schemeClr val="tx1"/>
                </a:solidFill>
                <a:latin typeface="Perpetua" panose="02020502060401020303" pitchFamily="18" charset="0"/>
              </a:defRPr>
            </a:lvl3pPr>
            <a:lvl4pPr marL="1600200" indent="-228600">
              <a:defRPr>
                <a:solidFill>
                  <a:schemeClr val="tx1"/>
                </a:solidFill>
                <a:latin typeface="Perpetua" panose="02020502060401020303" pitchFamily="18" charset="0"/>
              </a:defRPr>
            </a:lvl4pPr>
            <a:lvl5pPr marL="2057400" indent="-228600">
              <a:defRPr>
                <a:solidFill>
                  <a:schemeClr val="tx1"/>
                </a:solidFill>
                <a:latin typeface="Perpetua" panose="02020502060401020303" pitchFamily="18" charset="0"/>
              </a:defRPr>
            </a:lvl5pPr>
            <a:lvl6pPr marL="2514600" indent="-228600" fontAlgn="base">
              <a:spcBef>
                <a:spcPct val="0"/>
              </a:spcBef>
              <a:spcAft>
                <a:spcPct val="0"/>
              </a:spcAft>
              <a:defRPr>
                <a:solidFill>
                  <a:schemeClr val="tx1"/>
                </a:solidFill>
                <a:latin typeface="Perpetua" panose="02020502060401020303" pitchFamily="18" charset="0"/>
              </a:defRPr>
            </a:lvl6pPr>
            <a:lvl7pPr marL="2971800" indent="-228600" fontAlgn="base">
              <a:spcBef>
                <a:spcPct val="0"/>
              </a:spcBef>
              <a:spcAft>
                <a:spcPct val="0"/>
              </a:spcAft>
              <a:defRPr>
                <a:solidFill>
                  <a:schemeClr val="tx1"/>
                </a:solidFill>
                <a:latin typeface="Perpetua" panose="02020502060401020303" pitchFamily="18" charset="0"/>
              </a:defRPr>
            </a:lvl7pPr>
            <a:lvl8pPr marL="3429000" indent="-228600" fontAlgn="base">
              <a:spcBef>
                <a:spcPct val="0"/>
              </a:spcBef>
              <a:spcAft>
                <a:spcPct val="0"/>
              </a:spcAft>
              <a:defRPr>
                <a:solidFill>
                  <a:schemeClr val="tx1"/>
                </a:solidFill>
                <a:latin typeface="Perpetua" panose="02020502060401020303" pitchFamily="18" charset="0"/>
              </a:defRPr>
            </a:lvl8pPr>
            <a:lvl9pPr marL="3886200" indent="-228600" fontAlgn="base">
              <a:spcBef>
                <a:spcPct val="0"/>
              </a:spcBef>
              <a:spcAft>
                <a:spcPct val="0"/>
              </a:spcAft>
              <a:defRPr>
                <a:solidFill>
                  <a:schemeClr val="tx1"/>
                </a:solidFill>
                <a:latin typeface="Perpetua" panose="02020502060401020303" pitchFamily="18" charset="0"/>
              </a:defRPr>
            </a:lvl9pPr>
          </a:lstStyle>
          <a:p>
            <a:pPr fontAlgn="base">
              <a:spcBef>
                <a:spcPct val="0"/>
              </a:spcBef>
              <a:spcAft>
                <a:spcPct val="0"/>
              </a:spcAft>
            </a:pPr>
            <a:fld id="{5A794987-0EDD-49F8-94D2-A7E35BCB62F4}" type="slidenum">
              <a:rPr lang="en-US" altLang="en-US">
                <a:solidFill>
                  <a:srgbClr val="FFFFFF"/>
                </a:solidFill>
                <a:latin typeface="Franklin Gothic Book" panose="020B0503020102020204" pitchFamily="34" charset="0"/>
                <a:cs typeface="Arial" panose="020B0604020202020204" pitchFamily="34" charset="0"/>
              </a:rPr>
              <a:pPr fontAlgn="base">
                <a:spcBef>
                  <a:spcPct val="0"/>
                </a:spcBef>
                <a:spcAft>
                  <a:spcPct val="0"/>
                </a:spcAft>
              </a:pPr>
              <a:t>22</a:t>
            </a:fld>
            <a:endParaRPr lang="en-US" altLang="en-US">
              <a:solidFill>
                <a:srgbClr val="FFFFFF"/>
              </a:solidFill>
              <a:latin typeface="Franklin Gothic Book" panose="020B0503020102020204" pitchFamily="34" charset="0"/>
              <a:cs typeface="Arial" panose="020B0604020202020204" pitchFamily="34" charset="0"/>
            </a:endParaRPr>
          </a:p>
        </p:txBody>
      </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129026" name="Picture 3">
            <a:extLst>
              <a:ext uri="{FF2B5EF4-FFF2-40B4-BE49-F238E27FC236}">
                <a16:creationId xmlns:a16="http://schemas.microsoft.com/office/drawing/2014/main" id="{D99CEB83-7056-4D46-A104-6B6A7C3A28E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828801" y="1600201"/>
            <a:ext cx="7180263" cy="39846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29027" name="Title 1">
            <a:extLst>
              <a:ext uri="{FF2B5EF4-FFF2-40B4-BE49-F238E27FC236}">
                <a16:creationId xmlns:a16="http://schemas.microsoft.com/office/drawing/2014/main" id="{F3F392C1-D3BD-4154-8736-C34EB41A9162}"/>
              </a:ext>
            </a:extLst>
          </p:cNvPr>
          <p:cNvSpPr>
            <a:spLocks noGrp="1"/>
          </p:cNvSpPr>
          <p:nvPr>
            <p:ph type="title"/>
          </p:nvPr>
        </p:nvSpPr>
        <p:spPr>
          <a:xfrm>
            <a:off x="1538288" y="533401"/>
            <a:ext cx="8229600" cy="1069975"/>
          </a:xfrm>
        </p:spPr>
        <p:txBody>
          <a:bodyPr/>
          <a:lstStyle/>
          <a:p>
            <a:r>
              <a:rPr lang="en-US" altLang="en-US"/>
              <a:t>EU Defense Fund:  Progressing</a:t>
            </a:r>
          </a:p>
        </p:txBody>
      </p:sp>
      <p:pic>
        <p:nvPicPr>
          <p:cNvPr id="129028" name="Picture 2">
            <a:extLst>
              <a:ext uri="{FF2B5EF4-FFF2-40B4-BE49-F238E27FC236}">
                <a16:creationId xmlns:a16="http://schemas.microsoft.com/office/drawing/2014/main" id="{6DDE5E3A-5807-4FA8-82A8-42CA1BFC446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38288" y="5410200"/>
            <a:ext cx="8875712" cy="12319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TextBox 3">
            <a:extLst>
              <a:ext uri="{FF2B5EF4-FFF2-40B4-BE49-F238E27FC236}">
                <a16:creationId xmlns:a16="http://schemas.microsoft.com/office/drawing/2014/main" id="{2B5870B0-859A-4A83-9E3E-1485A866CDE8}"/>
              </a:ext>
            </a:extLst>
          </p:cNvPr>
          <p:cNvSpPr txBox="1"/>
          <p:nvPr/>
        </p:nvSpPr>
        <p:spPr>
          <a:xfrm>
            <a:off x="4876800" y="6026150"/>
            <a:ext cx="2667000" cy="369888"/>
          </a:xfrm>
          <a:prstGeom prst="rect">
            <a:avLst/>
          </a:prstGeom>
          <a:noFill/>
        </p:spPr>
        <p:txBody>
          <a:bodyPr>
            <a:spAutoFit/>
          </a:bodyPr>
          <a:lstStyle/>
          <a:p>
            <a:pPr>
              <a:defRPr/>
            </a:pPr>
            <a:r>
              <a:rPr lang="en-US" dirty="0">
                <a:solidFill>
                  <a:prstClr val="black"/>
                </a:solidFill>
                <a:latin typeface="Franklin Gothic Book"/>
                <a:cs typeface="Arial" panose="020B0604020202020204" pitchFamily="34" charset="0"/>
              </a:rPr>
              <a:t>(REUTERS)</a:t>
            </a:r>
          </a:p>
        </p:txBody>
      </p:sp>
      <p:sp>
        <p:nvSpPr>
          <p:cNvPr id="6" name="Slide Number Placeholder 5">
            <a:extLst>
              <a:ext uri="{FF2B5EF4-FFF2-40B4-BE49-F238E27FC236}">
                <a16:creationId xmlns:a16="http://schemas.microsoft.com/office/drawing/2014/main" id="{32D9E6CE-AA58-4FF0-9AED-F254E84D98F3}"/>
              </a:ext>
            </a:extLst>
          </p:cNvPr>
          <p:cNvSpPr>
            <a:spLocks noGrp="1"/>
          </p:cNvSpPr>
          <p:nvPr>
            <p:ph type="sldNum" sz="quarter" idx="12"/>
          </p:nvPr>
        </p:nvSpPr>
        <p:spPr/>
        <p:txBody>
          <a:bodyPr/>
          <a:lstStyle>
            <a:lvl1pPr>
              <a:defRPr>
                <a:solidFill>
                  <a:schemeClr val="tx1"/>
                </a:solidFill>
                <a:latin typeface="Perpetua" panose="02020502060401020303" pitchFamily="18" charset="0"/>
              </a:defRPr>
            </a:lvl1pPr>
            <a:lvl2pPr marL="742950" indent="-285750">
              <a:defRPr>
                <a:solidFill>
                  <a:schemeClr val="tx1"/>
                </a:solidFill>
                <a:latin typeface="Perpetua" panose="02020502060401020303" pitchFamily="18" charset="0"/>
              </a:defRPr>
            </a:lvl2pPr>
            <a:lvl3pPr marL="1143000" indent="-228600">
              <a:defRPr>
                <a:solidFill>
                  <a:schemeClr val="tx1"/>
                </a:solidFill>
                <a:latin typeface="Perpetua" panose="02020502060401020303" pitchFamily="18" charset="0"/>
              </a:defRPr>
            </a:lvl3pPr>
            <a:lvl4pPr marL="1600200" indent="-228600">
              <a:defRPr>
                <a:solidFill>
                  <a:schemeClr val="tx1"/>
                </a:solidFill>
                <a:latin typeface="Perpetua" panose="02020502060401020303" pitchFamily="18" charset="0"/>
              </a:defRPr>
            </a:lvl4pPr>
            <a:lvl5pPr marL="2057400" indent="-228600">
              <a:defRPr>
                <a:solidFill>
                  <a:schemeClr val="tx1"/>
                </a:solidFill>
                <a:latin typeface="Perpetua" panose="02020502060401020303" pitchFamily="18" charset="0"/>
              </a:defRPr>
            </a:lvl5pPr>
            <a:lvl6pPr marL="2514600" indent="-228600" fontAlgn="base">
              <a:spcBef>
                <a:spcPct val="0"/>
              </a:spcBef>
              <a:spcAft>
                <a:spcPct val="0"/>
              </a:spcAft>
              <a:defRPr>
                <a:solidFill>
                  <a:schemeClr val="tx1"/>
                </a:solidFill>
                <a:latin typeface="Perpetua" panose="02020502060401020303" pitchFamily="18" charset="0"/>
              </a:defRPr>
            </a:lvl6pPr>
            <a:lvl7pPr marL="2971800" indent="-228600" fontAlgn="base">
              <a:spcBef>
                <a:spcPct val="0"/>
              </a:spcBef>
              <a:spcAft>
                <a:spcPct val="0"/>
              </a:spcAft>
              <a:defRPr>
                <a:solidFill>
                  <a:schemeClr val="tx1"/>
                </a:solidFill>
                <a:latin typeface="Perpetua" panose="02020502060401020303" pitchFamily="18" charset="0"/>
              </a:defRPr>
            </a:lvl7pPr>
            <a:lvl8pPr marL="3429000" indent="-228600" fontAlgn="base">
              <a:spcBef>
                <a:spcPct val="0"/>
              </a:spcBef>
              <a:spcAft>
                <a:spcPct val="0"/>
              </a:spcAft>
              <a:defRPr>
                <a:solidFill>
                  <a:schemeClr val="tx1"/>
                </a:solidFill>
                <a:latin typeface="Perpetua" panose="02020502060401020303" pitchFamily="18" charset="0"/>
              </a:defRPr>
            </a:lvl8pPr>
            <a:lvl9pPr marL="3886200" indent="-228600" fontAlgn="base">
              <a:spcBef>
                <a:spcPct val="0"/>
              </a:spcBef>
              <a:spcAft>
                <a:spcPct val="0"/>
              </a:spcAft>
              <a:defRPr>
                <a:solidFill>
                  <a:schemeClr val="tx1"/>
                </a:solidFill>
                <a:latin typeface="Perpetua" panose="02020502060401020303" pitchFamily="18" charset="0"/>
              </a:defRPr>
            </a:lvl9pPr>
          </a:lstStyle>
          <a:p>
            <a:pPr fontAlgn="base">
              <a:spcBef>
                <a:spcPct val="0"/>
              </a:spcBef>
              <a:spcAft>
                <a:spcPct val="0"/>
              </a:spcAft>
            </a:pPr>
            <a:fld id="{407B8BDE-357D-4B40-AE55-B283FE6A935B}" type="slidenum">
              <a:rPr lang="en-US" altLang="en-US">
                <a:solidFill>
                  <a:srgbClr val="FFFFFF"/>
                </a:solidFill>
                <a:latin typeface="Franklin Gothic Book" panose="020B0503020102020204" pitchFamily="34" charset="0"/>
                <a:cs typeface="Arial" panose="020B0604020202020204" pitchFamily="34" charset="0"/>
              </a:rPr>
              <a:pPr fontAlgn="base">
                <a:spcBef>
                  <a:spcPct val="0"/>
                </a:spcBef>
                <a:spcAft>
                  <a:spcPct val="0"/>
                </a:spcAft>
              </a:pPr>
              <a:t>23</a:t>
            </a:fld>
            <a:endParaRPr lang="en-US" altLang="en-US">
              <a:solidFill>
                <a:srgbClr val="FFFFFF"/>
              </a:solidFill>
              <a:latin typeface="Franklin Gothic Book" panose="020B0503020102020204" pitchFamily="34" charset="0"/>
              <a:cs typeface="Arial" panose="020B0604020202020204" pitchFamily="34" charset="0"/>
            </a:endParaRPr>
          </a:p>
        </p:txBody>
      </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0050" name="Title 1">
            <a:extLst>
              <a:ext uri="{FF2B5EF4-FFF2-40B4-BE49-F238E27FC236}">
                <a16:creationId xmlns:a16="http://schemas.microsoft.com/office/drawing/2014/main" id="{A52C4CBA-26E0-4FAD-AA93-09D985D19DBD}"/>
              </a:ext>
            </a:extLst>
          </p:cNvPr>
          <p:cNvSpPr>
            <a:spLocks noGrp="1"/>
          </p:cNvSpPr>
          <p:nvPr>
            <p:ph type="title"/>
          </p:nvPr>
        </p:nvSpPr>
        <p:spPr>
          <a:xfrm>
            <a:off x="5029200" y="5772151"/>
            <a:ext cx="8229600" cy="1069975"/>
          </a:xfrm>
        </p:spPr>
        <p:txBody>
          <a:bodyPr/>
          <a:lstStyle/>
          <a:p>
            <a:r>
              <a:rPr lang="en-US" altLang="en-US" sz="2800"/>
              <a:t>Sept. 12, 2017</a:t>
            </a:r>
          </a:p>
        </p:txBody>
      </p:sp>
      <p:pic>
        <p:nvPicPr>
          <p:cNvPr id="130051" name="Picture 2">
            <a:extLst>
              <a:ext uri="{FF2B5EF4-FFF2-40B4-BE49-F238E27FC236}">
                <a16:creationId xmlns:a16="http://schemas.microsoft.com/office/drawing/2014/main" id="{A081F666-493B-4C97-8BC9-A55869FD8A9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828800" y="1600200"/>
            <a:ext cx="5080000" cy="47244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30052" name="Picture 3">
            <a:extLst>
              <a:ext uri="{FF2B5EF4-FFF2-40B4-BE49-F238E27FC236}">
                <a16:creationId xmlns:a16="http://schemas.microsoft.com/office/drawing/2014/main" id="{621584CD-2821-47B1-B277-2224FB683C5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24000" y="222250"/>
            <a:ext cx="8166100" cy="13779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30053" name="TextBox 3">
            <a:extLst>
              <a:ext uri="{FF2B5EF4-FFF2-40B4-BE49-F238E27FC236}">
                <a16:creationId xmlns:a16="http://schemas.microsoft.com/office/drawing/2014/main" id="{ED8D3866-7278-4F70-8280-78F8DBE8A530}"/>
              </a:ext>
            </a:extLst>
          </p:cNvPr>
          <p:cNvSpPr txBox="1">
            <a:spLocks noChangeArrowheads="1"/>
          </p:cNvSpPr>
          <p:nvPr/>
        </p:nvSpPr>
        <p:spPr bwMode="auto">
          <a:xfrm>
            <a:off x="7162800" y="1978025"/>
            <a:ext cx="3352800" cy="396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Perpetua" panose="02020502060401020303" pitchFamily="18" charset="0"/>
              </a:defRPr>
            </a:lvl1pPr>
            <a:lvl2pPr marL="742950" indent="-285750">
              <a:defRPr>
                <a:solidFill>
                  <a:schemeClr val="tx1"/>
                </a:solidFill>
                <a:latin typeface="Perpetua" panose="02020502060401020303" pitchFamily="18" charset="0"/>
              </a:defRPr>
            </a:lvl2pPr>
            <a:lvl3pPr marL="1143000" indent="-228600">
              <a:defRPr>
                <a:solidFill>
                  <a:schemeClr val="tx1"/>
                </a:solidFill>
                <a:latin typeface="Perpetua" panose="02020502060401020303" pitchFamily="18" charset="0"/>
              </a:defRPr>
            </a:lvl3pPr>
            <a:lvl4pPr marL="1600200" indent="-228600">
              <a:defRPr>
                <a:solidFill>
                  <a:schemeClr val="tx1"/>
                </a:solidFill>
                <a:latin typeface="Perpetua" panose="02020502060401020303" pitchFamily="18" charset="0"/>
              </a:defRPr>
            </a:lvl4pPr>
            <a:lvl5pPr marL="2057400" indent="-228600">
              <a:defRPr>
                <a:solidFill>
                  <a:schemeClr val="tx1"/>
                </a:solidFill>
                <a:latin typeface="Perpetua" panose="02020502060401020303" pitchFamily="18" charset="0"/>
              </a:defRPr>
            </a:lvl5pPr>
            <a:lvl6pPr marL="2514600" indent="-228600" fontAlgn="base">
              <a:spcBef>
                <a:spcPct val="0"/>
              </a:spcBef>
              <a:spcAft>
                <a:spcPct val="0"/>
              </a:spcAft>
              <a:defRPr>
                <a:solidFill>
                  <a:schemeClr val="tx1"/>
                </a:solidFill>
                <a:latin typeface="Perpetua" panose="02020502060401020303" pitchFamily="18" charset="0"/>
              </a:defRPr>
            </a:lvl6pPr>
            <a:lvl7pPr marL="2971800" indent="-228600" fontAlgn="base">
              <a:spcBef>
                <a:spcPct val="0"/>
              </a:spcBef>
              <a:spcAft>
                <a:spcPct val="0"/>
              </a:spcAft>
              <a:defRPr>
                <a:solidFill>
                  <a:schemeClr val="tx1"/>
                </a:solidFill>
                <a:latin typeface="Perpetua" panose="02020502060401020303" pitchFamily="18" charset="0"/>
              </a:defRPr>
            </a:lvl7pPr>
            <a:lvl8pPr marL="3429000" indent="-228600" fontAlgn="base">
              <a:spcBef>
                <a:spcPct val="0"/>
              </a:spcBef>
              <a:spcAft>
                <a:spcPct val="0"/>
              </a:spcAft>
              <a:defRPr>
                <a:solidFill>
                  <a:schemeClr val="tx1"/>
                </a:solidFill>
                <a:latin typeface="Perpetua" panose="02020502060401020303" pitchFamily="18" charset="0"/>
              </a:defRPr>
            </a:lvl8pPr>
            <a:lvl9pPr marL="3886200" indent="-228600" fontAlgn="base">
              <a:spcBef>
                <a:spcPct val="0"/>
              </a:spcBef>
              <a:spcAft>
                <a:spcPct val="0"/>
              </a:spcAft>
              <a:defRPr>
                <a:solidFill>
                  <a:schemeClr val="tx1"/>
                </a:solidFill>
                <a:latin typeface="Perpetua" panose="02020502060401020303" pitchFamily="18" charset="0"/>
              </a:defRPr>
            </a:lvl9pPr>
          </a:lstStyle>
          <a:p>
            <a:pPr fontAlgn="base">
              <a:spcBef>
                <a:spcPct val="0"/>
              </a:spcBef>
              <a:spcAft>
                <a:spcPct val="0"/>
              </a:spcAft>
            </a:pPr>
            <a:r>
              <a:rPr lang="en-US" altLang="en-US">
                <a:solidFill>
                  <a:srgbClr val="000000"/>
                </a:solidFill>
                <a:latin typeface="Georgia" panose="02040502050405020303" pitchFamily="18" charset="0"/>
                <a:cs typeface="Arial" panose="020B0604020202020204" pitchFamily="34" charset="0"/>
              </a:rPr>
              <a:t>The paper says the UK would like to work with the EU on its defence missions, and help with operational planning and developing their mandate. </a:t>
            </a:r>
            <a:r>
              <a:rPr lang="en-US" altLang="en-US" b="1">
                <a:solidFill>
                  <a:srgbClr val="000000"/>
                </a:solidFill>
                <a:latin typeface="Georgia" panose="02040502050405020303" pitchFamily="18" charset="0"/>
                <a:cs typeface="Arial" panose="020B0604020202020204" pitchFamily="34" charset="0"/>
              </a:rPr>
              <a:t>It also sets out plans for </a:t>
            </a:r>
            <a:r>
              <a:rPr lang="en-US" altLang="en-US" b="1">
                <a:solidFill>
                  <a:srgbClr val="FF0000"/>
                </a:solidFill>
                <a:latin typeface="Georgia" panose="02040502050405020303" pitchFamily="18" charset="0"/>
                <a:cs typeface="Arial" panose="020B0604020202020204" pitchFamily="34" charset="0"/>
              </a:rPr>
              <a:t>continuing to contribute to the commission’s nascent European defence fund</a:t>
            </a:r>
            <a:r>
              <a:rPr lang="en-US" altLang="en-US" b="1">
                <a:solidFill>
                  <a:srgbClr val="000000"/>
                </a:solidFill>
                <a:latin typeface="Georgia" panose="02040502050405020303" pitchFamily="18" charset="0"/>
                <a:cs typeface="Arial" panose="020B0604020202020204" pitchFamily="34" charset="0"/>
              </a:rPr>
              <a:t>, </a:t>
            </a:r>
            <a:r>
              <a:rPr lang="en-US" altLang="en-US">
                <a:solidFill>
                  <a:srgbClr val="000000"/>
                </a:solidFill>
                <a:latin typeface="Georgia" panose="02040502050405020303" pitchFamily="18" charset="0"/>
                <a:cs typeface="Arial" panose="020B0604020202020204" pitchFamily="34" charset="0"/>
              </a:rPr>
              <a:t>including the European defence research programme and the European defence industrial development programme.</a:t>
            </a:r>
          </a:p>
        </p:txBody>
      </p:sp>
      <p:sp>
        <p:nvSpPr>
          <p:cNvPr id="76806" name="Slide Number Placeholder 5">
            <a:extLst>
              <a:ext uri="{FF2B5EF4-FFF2-40B4-BE49-F238E27FC236}">
                <a16:creationId xmlns:a16="http://schemas.microsoft.com/office/drawing/2014/main" id="{59E65AD1-6FDD-4382-8EF5-C520334DF15D}"/>
              </a:ext>
            </a:extLst>
          </p:cNvPr>
          <p:cNvSpPr>
            <a:spLocks noGrp="1"/>
          </p:cNvSpPr>
          <p:nvPr>
            <p:ph type="sldNum" sz="quarter" idx="12"/>
          </p:nvPr>
        </p:nvSpPr>
        <p:spPr bwMode="auto">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noAutofit/>
          </a:bodyPr>
          <a:lstStyle>
            <a:lvl1pPr>
              <a:spcBef>
                <a:spcPts val="575"/>
              </a:spcBef>
              <a:buClr>
                <a:schemeClr val="accent1"/>
              </a:buClr>
              <a:buSzPct val="85000"/>
              <a:buFont typeface="Wingdings 2" panose="05020102010507070707" pitchFamily="18" charset="2"/>
              <a:buChar char=""/>
              <a:defRPr sz="2600">
                <a:solidFill>
                  <a:schemeClr val="tx1"/>
                </a:solidFill>
                <a:latin typeface="Perpetua" panose="02020502060401020303" pitchFamily="18" charset="0"/>
              </a:defRPr>
            </a:lvl1pPr>
            <a:lvl2pPr marL="742950" indent="-285750">
              <a:spcBef>
                <a:spcPts val="375"/>
              </a:spcBef>
              <a:buClr>
                <a:schemeClr val="accent2"/>
              </a:buClr>
              <a:buSzPct val="85000"/>
              <a:buFont typeface="Wingdings 2" panose="05020102010507070707" pitchFamily="18" charset="2"/>
              <a:buChar char=""/>
              <a:defRPr sz="2400">
                <a:solidFill>
                  <a:schemeClr val="tx1"/>
                </a:solidFill>
                <a:latin typeface="Perpetua" panose="02020502060401020303" pitchFamily="18" charset="0"/>
              </a:defRPr>
            </a:lvl2pPr>
            <a:lvl3pPr marL="1143000" indent="-228600">
              <a:spcBef>
                <a:spcPts val="375"/>
              </a:spcBef>
              <a:buClr>
                <a:srgbClr val="E6B1AB"/>
              </a:buClr>
              <a:buSzPct val="85000"/>
              <a:buFont typeface="Wingdings 2" panose="05020102010507070707" pitchFamily="18" charset="2"/>
              <a:buChar char=""/>
              <a:defRPr sz="2000">
                <a:solidFill>
                  <a:schemeClr val="tx1"/>
                </a:solidFill>
                <a:latin typeface="Perpetua" panose="02020502060401020303" pitchFamily="18" charset="0"/>
              </a:defRPr>
            </a:lvl3pPr>
            <a:lvl4pPr marL="1600200" indent="-228600">
              <a:spcBef>
                <a:spcPts val="375"/>
              </a:spcBef>
              <a:buClr>
                <a:srgbClr val="A28E6A"/>
              </a:buClr>
              <a:buSzPct val="80000"/>
              <a:buFont typeface="Wingdings 2" panose="05020102010507070707" pitchFamily="18" charset="2"/>
              <a:buChar char=""/>
              <a:defRPr sz="2000">
                <a:solidFill>
                  <a:schemeClr val="tx1"/>
                </a:solidFill>
                <a:latin typeface="Perpetua" panose="02020502060401020303" pitchFamily="18" charset="0"/>
              </a:defRPr>
            </a:lvl4pPr>
            <a:lvl5pPr marL="2057400" indent="-228600">
              <a:spcBef>
                <a:spcPts val="375"/>
              </a:spcBef>
              <a:buClr>
                <a:srgbClr val="A28E6A"/>
              </a:buClr>
              <a:buChar char="o"/>
              <a:defRPr sz="2000">
                <a:solidFill>
                  <a:schemeClr val="tx1"/>
                </a:solidFill>
                <a:latin typeface="Perpetua" panose="02020502060401020303" pitchFamily="18" charset="0"/>
              </a:defRPr>
            </a:lvl5pPr>
            <a:lvl6pPr marL="2514600" indent="-228600" fontAlgn="base">
              <a:spcBef>
                <a:spcPts val="375"/>
              </a:spcBef>
              <a:spcAft>
                <a:spcPct val="0"/>
              </a:spcAft>
              <a:buClr>
                <a:srgbClr val="A28E6A"/>
              </a:buClr>
              <a:buChar char="o"/>
              <a:defRPr sz="2000">
                <a:solidFill>
                  <a:schemeClr val="tx1"/>
                </a:solidFill>
                <a:latin typeface="Perpetua" panose="02020502060401020303" pitchFamily="18" charset="0"/>
              </a:defRPr>
            </a:lvl6pPr>
            <a:lvl7pPr marL="2971800" indent="-228600" fontAlgn="base">
              <a:spcBef>
                <a:spcPts val="375"/>
              </a:spcBef>
              <a:spcAft>
                <a:spcPct val="0"/>
              </a:spcAft>
              <a:buClr>
                <a:srgbClr val="A28E6A"/>
              </a:buClr>
              <a:buChar char="o"/>
              <a:defRPr sz="2000">
                <a:solidFill>
                  <a:schemeClr val="tx1"/>
                </a:solidFill>
                <a:latin typeface="Perpetua" panose="02020502060401020303" pitchFamily="18" charset="0"/>
              </a:defRPr>
            </a:lvl7pPr>
            <a:lvl8pPr marL="3429000" indent="-228600" fontAlgn="base">
              <a:spcBef>
                <a:spcPts val="375"/>
              </a:spcBef>
              <a:spcAft>
                <a:spcPct val="0"/>
              </a:spcAft>
              <a:buClr>
                <a:srgbClr val="A28E6A"/>
              </a:buClr>
              <a:buChar char="o"/>
              <a:defRPr sz="2000">
                <a:solidFill>
                  <a:schemeClr val="tx1"/>
                </a:solidFill>
                <a:latin typeface="Perpetua" panose="02020502060401020303" pitchFamily="18" charset="0"/>
              </a:defRPr>
            </a:lvl8pPr>
            <a:lvl9pPr marL="3886200" indent="-228600" fontAlgn="base">
              <a:spcBef>
                <a:spcPts val="375"/>
              </a:spcBef>
              <a:spcAft>
                <a:spcPct val="0"/>
              </a:spcAft>
              <a:buClr>
                <a:srgbClr val="A28E6A"/>
              </a:buClr>
              <a:buChar char="o"/>
              <a:defRPr sz="2000">
                <a:solidFill>
                  <a:schemeClr val="tx1"/>
                </a:solidFill>
                <a:latin typeface="Perpetua" panose="02020502060401020303" pitchFamily="18" charset="0"/>
              </a:defRPr>
            </a:lvl9pPr>
          </a:lstStyle>
          <a:p>
            <a:pPr fontAlgn="base">
              <a:spcBef>
                <a:spcPct val="0"/>
              </a:spcBef>
              <a:spcAft>
                <a:spcPct val="0"/>
              </a:spcAft>
              <a:buClrTx/>
              <a:buSzTx/>
              <a:buNone/>
            </a:pPr>
            <a:fld id="{767BE1D7-CD37-418D-907E-21802E7B8474}" type="slidenum">
              <a:rPr lang="en-US" altLang="en-US" sz="1400">
                <a:solidFill>
                  <a:srgbClr val="FFFFFF"/>
                </a:solidFill>
                <a:latin typeface="Georgia" panose="02040502050405020303" pitchFamily="18" charset="0"/>
                <a:cs typeface="Arial" panose="020B0604020202020204" pitchFamily="34" charset="0"/>
              </a:rPr>
              <a:pPr fontAlgn="base">
                <a:spcBef>
                  <a:spcPct val="0"/>
                </a:spcBef>
                <a:spcAft>
                  <a:spcPct val="0"/>
                </a:spcAft>
                <a:buClrTx/>
                <a:buSzTx/>
                <a:buNone/>
              </a:pPr>
              <a:t>24</a:t>
            </a:fld>
            <a:endParaRPr lang="en-US" altLang="en-US" sz="1400">
              <a:solidFill>
                <a:srgbClr val="FFFFFF"/>
              </a:solidFill>
              <a:latin typeface="Georgia" panose="02040502050405020303" pitchFamily="18" charset="0"/>
              <a:cs typeface="Arial" panose="020B0604020202020204" pitchFamily="34" charset="0"/>
            </a:endParaRPr>
          </a:p>
        </p:txBody>
      </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3" name="Table 2">
            <a:extLst>
              <a:ext uri="{FF2B5EF4-FFF2-40B4-BE49-F238E27FC236}">
                <a16:creationId xmlns:a16="http://schemas.microsoft.com/office/drawing/2014/main" id="{C3FE023D-3846-470D-98EB-1495C33CB3B5}"/>
              </a:ext>
            </a:extLst>
          </p:cNvPr>
          <p:cNvGraphicFramePr>
            <a:graphicFrameLocks noGrp="1"/>
          </p:cNvGraphicFramePr>
          <p:nvPr/>
        </p:nvGraphicFramePr>
        <p:xfrm>
          <a:off x="1524000" y="423863"/>
          <a:ext cx="6705600" cy="1279924"/>
        </p:xfrm>
        <a:graphic>
          <a:graphicData uri="http://schemas.openxmlformats.org/drawingml/2006/table">
            <a:tbl>
              <a:tblPr/>
              <a:tblGrid>
                <a:gridCol w="6705600">
                  <a:extLst>
                    <a:ext uri="{9D8B030D-6E8A-4147-A177-3AD203B41FA5}">
                      <a16:colId xmlns:a16="http://schemas.microsoft.com/office/drawing/2014/main" val="20000"/>
                    </a:ext>
                  </a:extLst>
                </a:gridCol>
              </a:tblGrid>
              <a:tr h="365543">
                <a:tc>
                  <a:txBody>
                    <a:bodyPr/>
                    <a:lstStyle/>
                    <a:p>
                      <a:endParaRPr lang="en-US" sz="1800" dirty="0"/>
                    </a:p>
                  </a:txBody>
                  <a:tcPr marT="45661" marB="45661" anchor="ctr">
                    <a:lnL>
                      <a:noFill/>
                    </a:lnL>
                    <a:lnR>
                      <a:noFill/>
                    </a:lnR>
                    <a:lnT>
                      <a:noFill/>
                    </a:lnT>
                    <a:lnB>
                      <a:noFill/>
                    </a:lnB>
                    <a:solidFill>
                      <a:srgbClr val="FFFFFF"/>
                    </a:solidFill>
                  </a:tcPr>
                </a:tc>
                <a:extLst>
                  <a:ext uri="{0D108BD9-81ED-4DB2-BD59-A6C34878D82A}">
                    <a16:rowId xmlns:a16="http://schemas.microsoft.com/office/drawing/2014/main" val="10000"/>
                  </a:ext>
                </a:extLst>
              </a:tr>
              <a:tr h="913982">
                <a:tc>
                  <a:txBody>
                    <a:bodyPr/>
                    <a:lstStyle/>
                    <a:p>
                      <a:pPr algn="l"/>
                      <a:r>
                        <a:rPr lang="en-US" sz="1400" b="1" dirty="0">
                          <a:solidFill>
                            <a:srgbClr val="002060"/>
                          </a:solidFill>
                          <a:effectLst/>
                          <a:latin typeface="Verdana"/>
                        </a:rPr>
                        <a:t>European Commission - Press release</a:t>
                      </a:r>
                    </a:p>
                    <a:p>
                      <a:pPr algn="l"/>
                      <a:r>
                        <a:rPr lang="en-US" sz="2000" b="1" i="0" dirty="0">
                          <a:solidFill>
                            <a:srgbClr val="002060"/>
                          </a:solidFill>
                          <a:effectLst/>
                          <a:latin typeface="inherit"/>
                        </a:rPr>
                        <a:t>A European </a:t>
                      </a:r>
                      <a:r>
                        <a:rPr lang="en-US" sz="2000" b="1" i="0" dirty="0" err="1">
                          <a:solidFill>
                            <a:srgbClr val="002060"/>
                          </a:solidFill>
                          <a:effectLst/>
                          <a:latin typeface="inherit"/>
                        </a:rPr>
                        <a:t>Defence</a:t>
                      </a:r>
                      <a:r>
                        <a:rPr lang="en-US" sz="2000" b="1" i="0" dirty="0">
                          <a:solidFill>
                            <a:srgbClr val="002060"/>
                          </a:solidFill>
                          <a:effectLst/>
                          <a:latin typeface="inherit"/>
                        </a:rPr>
                        <a:t> Fund: €5.5 billion per year to boost Europe's </a:t>
                      </a:r>
                      <a:r>
                        <a:rPr lang="en-US" sz="2000" b="1" i="0" dirty="0" err="1">
                          <a:solidFill>
                            <a:srgbClr val="002060"/>
                          </a:solidFill>
                          <a:effectLst/>
                          <a:latin typeface="inherit"/>
                        </a:rPr>
                        <a:t>defence</a:t>
                      </a:r>
                      <a:r>
                        <a:rPr lang="en-US" sz="2000" b="1" i="0" dirty="0">
                          <a:solidFill>
                            <a:srgbClr val="002060"/>
                          </a:solidFill>
                          <a:effectLst/>
                          <a:latin typeface="inherit"/>
                        </a:rPr>
                        <a:t> capabilities</a:t>
                      </a:r>
                    </a:p>
                  </a:txBody>
                  <a:tcPr marT="45661" marB="45661">
                    <a:lnL>
                      <a:noFill/>
                    </a:lnL>
                    <a:lnR>
                      <a:noFill/>
                    </a:lnR>
                    <a:lnT>
                      <a:noFill/>
                    </a:lnT>
                    <a:lnB>
                      <a:noFill/>
                    </a:lnB>
                    <a:solidFill>
                      <a:srgbClr val="FFFFFF"/>
                    </a:solidFill>
                  </a:tcPr>
                </a:tc>
                <a:extLst>
                  <a:ext uri="{0D108BD9-81ED-4DB2-BD59-A6C34878D82A}">
                    <a16:rowId xmlns:a16="http://schemas.microsoft.com/office/drawing/2014/main" val="10001"/>
                  </a:ext>
                </a:extLst>
              </a:tr>
            </a:tbl>
          </a:graphicData>
        </a:graphic>
      </p:graphicFrame>
      <p:pic>
        <p:nvPicPr>
          <p:cNvPr id="131077" name="Picture 5">
            <a:extLst>
              <a:ext uri="{FF2B5EF4-FFF2-40B4-BE49-F238E27FC236}">
                <a16:creationId xmlns:a16="http://schemas.microsoft.com/office/drawing/2014/main" id="{A4D2550D-870F-488E-A3F3-14863852CE1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24000" y="0"/>
            <a:ext cx="3416300" cy="8064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aphicFrame>
        <p:nvGraphicFramePr>
          <p:cNvPr id="5" name="Diagram 4">
            <a:extLst>
              <a:ext uri="{FF2B5EF4-FFF2-40B4-BE49-F238E27FC236}">
                <a16:creationId xmlns:a16="http://schemas.microsoft.com/office/drawing/2014/main" id="{F1DDE451-982F-4044-AB35-C9323A7CA9EC}"/>
              </a:ext>
            </a:extLst>
          </p:cNvPr>
          <p:cNvGraphicFramePr/>
          <p:nvPr/>
        </p:nvGraphicFramePr>
        <p:xfrm>
          <a:off x="1524000" y="2133600"/>
          <a:ext cx="6096000" cy="406400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graphicFrame>
        <p:nvGraphicFramePr>
          <p:cNvPr id="7" name="Diagram 6">
            <a:extLst>
              <a:ext uri="{FF2B5EF4-FFF2-40B4-BE49-F238E27FC236}">
                <a16:creationId xmlns:a16="http://schemas.microsoft.com/office/drawing/2014/main" id="{746DB39F-C7CC-45D7-99B4-9CAA51E1E2F0}"/>
              </a:ext>
            </a:extLst>
          </p:cNvPr>
          <p:cNvGraphicFramePr/>
          <p:nvPr/>
        </p:nvGraphicFramePr>
        <p:xfrm>
          <a:off x="4724400" y="2133600"/>
          <a:ext cx="6096000" cy="4064000"/>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sp>
        <p:nvSpPr>
          <p:cNvPr id="8" name="Slide Number Placeholder 7">
            <a:extLst>
              <a:ext uri="{FF2B5EF4-FFF2-40B4-BE49-F238E27FC236}">
                <a16:creationId xmlns:a16="http://schemas.microsoft.com/office/drawing/2014/main" id="{8A051BC9-A32D-4D63-ABBF-FDA3BD7FEC3C}"/>
              </a:ext>
            </a:extLst>
          </p:cNvPr>
          <p:cNvSpPr>
            <a:spLocks noGrp="1"/>
          </p:cNvSpPr>
          <p:nvPr>
            <p:ph type="sldNum" sz="quarter" idx="12"/>
          </p:nvPr>
        </p:nvSpPr>
        <p:spPr/>
        <p:txBody>
          <a:bodyPr/>
          <a:lstStyle>
            <a:lvl1pPr>
              <a:defRPr>
                <a:solidFill>
                  <a:schemeClr val="tx1"/>
                </a:solidFill>
                <a:latin typeface="Perpetua" panose="02020502060401020303" pitchFamily="18" charset="0"/>
              </a:defRPr>
            </a:lvl1pPr>
            <a:lvl2pPr marL="742950" indent="-285750">
              <a:defRPr>
                <a:solidFill>
                  <a:schemeClr val="tx1"/>
                </a:solidFill>
                <a:latin typeface="Perpetua" panose="02020502060401020303" pitchFamily="18" charset="0"/>
              </a:defRPr>
            </a:lvl2pPr>
            <a:lvl3pPr marL="1143000" indent="-228600">
              <a:defRPr>
                <a:solidFill>
                  <a:schemeClr val="tx1"/>
                </a:solidFill>
                <a:latin typeface="Perpetua" panose="02020502060401020303" pitchFamily="18" charset="0"/>
              </a:defRPr>
            </a:lvl3pPr>
            <a:lvl4pPr marL="1600200" indent="-228600">
              <a:defRPr>
                <a:solidFill>
                  <a:schemeClr val="tx1"/>
                </a:solidFill>
                <a:latin typeface="Perpetua" panose="02020502060401020303" pitchFamily="18" charset="0"/>
              </a:defRPr>
            </a:lvl4pPr>
            <a:lvl5pPr marL="2057400" indent="-228600">
              <a:defRPr>
                <a:solidFill>
                  <a:schemeClr val="tx1"/>
                </a:solidFill>
                <a:latin typeface="Perpetua" panose="02020502060401020303" pitchFamily="18" charset="0"/>
              </a:defRPr>
            </a:lvl5pPr>
            <a:lvl6pPr marL="2514600" indent="-228600" fontAlgn="base">
              <a:spcBef>
                <a:spcPct val="0"/>
              </a:spcBef>
              <a:spcAft>
                <a:spcPct val="0"/>
              </a:spcAft>
              <a:defRPr>
                <a:solidFill>
                  <a:schemeClr val="tx1"/>
                </a:solidFill>
                <a:latin typeface="Perpetua" panose="02020502060401020303" pitchFamily="18" charset="0"/>
              </a:defRPr>
            </a:lvl6pPr>
            <a:lvl7pPr marL="2971800" indent="-228600" fontAlgn="base">
              <a:spcBef>
                <a:spcPct val="0"/>
              </a:spcBef>
              <a:spcAft>
                <a:spcPct val="0"/>
              </a:spcAft>
              <a:defRPr>
                <a:solidFill>
                  <a:schemeClr val="tx1"/>
                </a:solidFill>
                <a:latin typeface="Perpetua" panose="02020502060401020303" pitchFamily="18" charset="0"/>
              </a:defRPr>
            </a:lvl7pPr>
            <a:lvl8pPr marL="3429000" indent="-228600" fontAlgn="base">
              <a:spcBef>
                <a:spcPct val="0"/>
              </a:spcBef>
              <a:spcAft>
                <a:spcPct val="0"/>
              </a:spcAft>
              <a:defRPr>
                <a:solidFill>
                  <a:schemeClr val="tx1"/>
                </a:solidFill>
                <a:latin typeface="Perpetua" panose="02020502060401020303" pitchFamily="18" charset="0"/>
              </a:defRPr>
            </a:lvl8pPr>
            <a:lvl9pPr marL="3886200" indent="-228600" fontAlgn="base">
              <a:spcBef>
                <a:spcPct val="0"/>
              </a:spcBef>
              <a:spcAft>
                <a:spcPct val="0"/>
              </a:spcAft>
              <a:defRPr>
                <a:solidFill>
                  <a:schemeClr val="tx1"/>
                </a:solidFill>
                <a:latin typeface="Perpetua" panose="02020502060401020303" pitchFamily="18" charset="0"/>
              </a:defRPr>
            </a:lvl9pPr>
          </a:lstStyle>
          <a:p>
            <a:pPr fontAlgn="base">
              <a:spcBef>
                <a:spcPct val="0"/>
              </a:spcBef>
              <a:spcAft>
                <a:spcPct val="0"/>
              </a:spcAft>
            </a:pPr>
            <a:fld id="{C71C11DD-3216-467B-B65E-D0A5F3709CFF}" type="slidenum">
              <a:rPr lang="en-US" altLang="en-US">
                <a:solidFill>
                  <a:srgbClr val="FFFFFF"/>
                </a:solidFill>
                <a:latin typeface="Franklin Gothic Book" panose="020B0503020102020204" pitchFamily="34" charset="0"/>
                <a:cs typeface="Arial" panose="020B0604020202020204" pitchFamily="34" charset="0"/>
              </a:rPr>
              <a:pPr fontAlgn="base">
                <a:spcBef>
                  <a:spcPct val="0"/>
                </a:spcBef>
                <a:spcAft>
                  <a:spcPct val="0"/>
                </a:spcAft>
              </a:pPr>
              <a:t>25</a:t>
            </a:fld>
            <a:endParaRPr lang="en-US" altLang="en-US">
              <a:solidFill>
                <a:srgbClr val="FFFFFF"/>
              </a:solidFill>
              <a:latin typeface="Franklin Gothic Book" panose="020B0503020102020204" pitchFamily="34" charset="0"/>
              <a:cs typeface="Arial" panose="020B0604020202020204" pitchFamily="34" charset="0"/>
            </a:endParaRPr>
          </a:p>
        </p:txBody>
      </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3" name="Table 2">
            <a:extLst>
              <a:ext uri="{FF2B5EF4-FFF2-40B4-BE49-F238E27FC236}">
                <a16:creationId xmlns:a16="http://schemas.microsoft.com/office/drawing/2014/main" id="{63C60CA1-3C2C-4983-95D3-531E23AF1A51}"/>
              </a:ext>
            </a:extLst>
          </p:cNvPr>
          <p:cNvGraphicFramePr>
            <a:graphicFrameLocks noGrp="1"/>
          </p:cNvGraphicFramePr>
          <p:nvPr/>
        </p:nvGraphicFramePr>
        <p:xfrm>
          <a:off x="1524000" y="423863"/>
          <a:ext cx="6705600" cy="1279924"/>
        </p:xfrm>
        <a:graphic>
          <a:graphicData uri="http://schemas.openxmlformats.org/drawingml/2006/table">
            <a:tbl>
              <a:tblPr/>
              <a:tblGrid>
                <a:gridCol w="6705600">
                  <a:extLst>
                    <a:ext uri="{9D8B030D-6E8A-4147-A177-3AD203B41FA5}">
                      <a16:colId xmlns:a16="http://schemas.microsoft.com/office/drawing/2014/main" val="20000"/>
                    </a:ext>
                  </a:extLst>
                </a:gridCol>
              </a:tblGrid>
              <a:tr h="365543">
                <a:tc>
                  <a:txBody>
                    <a:bodyPr/>
                    <a:lstStyle/>
                    <a:p>
                      <a:endParaRPr lang="en-US" sz="1800" dirty="0"/>
                    </a:p>
                  </a:txBody>
                  <a:tcPr marT="45661" marB="45661" anchor="ctr">
                    <a:lnL>
                      <a:noFill/>
                    </a:lnL>
                    <a:lnR>
                      <a:noFill/>
                    </a:lnR>
                    <a:lnT>
                      <a:noFill/>
                    </a:lnT>
                    <a:lnB>
                      <a:noFill/>
                    </a:lnB>
                    <a:solidFill>
                      <a:srgbClr val="FFFFFF"/>
                    </a:solidFill>
                  </a:tcPr>
                </a:tc>
                <a:extLst>
                  <a:ext uri="{0D108BD9-81ED-4DB2-BD59-A6C34878D82A}">
                    <a16:rowId xmlns:a16="http://schemas.microsoft.com/office/drawing/2014/main" val="10000"/>
                  </a:ext>
                </a:extLst>
              </a:tr>
              <a:tr h="913982">
                <a:tc>
                  <a:txBody>
                    <a:bodyPr/>
                    <a:lstStyle/>
                    <a:p>
                      <a:pPr algn="l"/>
                      <a:r>
                        <a:rPr lang="en-US" sz="1400" b="1" dirty="0">
                          <a:solidFill>
                            <a:srgbClr val="002060"/>
                          </a:solidFill>
                          <a:effectLst/>
                          <a:latin typeface="Verdana"/>
                        </a:rPr>
                        <a:t>European Commission - Press release</a:t>
                      </a:r>
                    </a:p>
                    <a:p>
                      <a:pPr algn="l"/>
                      <a:r>
                        <a:rPr lang="en-US" sz="2000" b="1" i="0" dirty="0">
                          <a:solidFill>
                            <a:srgbClr val="002060"/>
                          </a:solidFill>
                          <a:effectLst/>
                          <a:latin typeface="inherit"/>
                        </a:rPr>
                        <a:t>A European </a:t>
                      </a:r>
                      <a:r>
                        <a:rPr lang="en-US" sz="2000" b="1" i="0" dirty="0" err="1">
                          <a:solidFill>
                            <a:srgbClr val="002060"/>
                          </a:solidFill>
                          <a:effectLst/>
                          <a:latin typeface="inherit"/>
                        </a:rPr>
                        <a:t>Defence</a:t>
                      </a:r>
                      <a:r>
                        <a:rPr lang="en-US" sz="2000" b="1" i="0" dirty="0">
                          <a:solidFill>
                            <a:srgbClr val="002060"/>
                          </a:solidFill>
                          <a:effectLst/>
                          <a:latin typeface="inherit"/>
                        </a:rPr>
                        <a:t> Fund: €5.5 billion per year to boost Europe's </a:t>
                      </a:r>
                      <a:r>
                        <a:rPr lang="en-US" sz="2000" b="1" i="0" dirty="0" err="1">
                          <a:solidFill>
                            <a:srgbClr val="002060"/>
                          </a:solidFill>
                          <a:effectLst/>
                          <a:latin typeface="inherit"/>
                        </a:rPr>
                        <a:t>defence</a:t>
                      </a:r>
                      <a:r>
                        <a:rPr lang="en-US" sz="2000" b="1" i="0" dirty="0">
                          <a:solidFill>
                            <a:srgbClr val="002060"/>
                          </a:solidFill>
                          <a:effectLst/>
                          <a:latin typeface="inherit"/>
                        </a:rPr>
                        <a:t> capabilities</a:t>
                      </a:r>
                    </a:p>
                  </a:txBody>
                  <a:tcPr marT="45661" marB="45661">
                    <a:lnL>
                      <a:noFill/>
                    </a:lnL>
                    <a:lnR>
                      <a:noFill/>
                    </a:lnR>
                    <a:lnT>
                      <a:noFill/>
                    </a:lnT>
                    <a:lnB>
                      <a:noFill/>
                    </a:lnB>
                    <a:solidFill>
                      <a:srgbClr val="FFFFFF"/>
                    </a:solidFill>
                  </a:tcPr>
                </a:tc>
                <a:extLst>
                  <a:ext uri="{0D108BD9-81ED-4DB2-BD59-A6C34878D82A}">
                    <a16:rowId xmlns:a16="http://schemas.microsoft.com/office/drawing/2014/main" val="10001"/>
                  </a:ext>
                </a:extLst>
              </a:tr>
            </a:tbl>
          </a:graphicData>
        </a:graphic>
      </p:graphicFrame>
      <p:pic>
        <p:nvPicPr>
          <p:cNvPr id="132101" name="Picture 5">
            <a:extLst>
              <a:ext uri="{FF2B5EF4-FFF2-40B4-BE49-F238E27FC236}">
                <a16:creationId xmlns:a16="http://schemas.microsoft.com/office/drawing/2014/main" id="{20B5D416-4AF6-4EE0-9B4C-7C0FD5D3FA4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24000" y="0"/>
            <a:ext cx="3416300" cy="8064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aphicFrame>
        <p:nvGraphicFramePr>
          <p:cNvPr id="5" name="Diagram 4">
            <a:extLst>
              <a:ext uri="{FF2B5EF4-FFF2-40B4-BE49-F238E27FC236}">
                <a16:creationId xmlns:a16="http://schemas.microsoft.com/office/drawing/2014/main" id="{DCE9DB65-60BF-45D6-BC87-1190E6164BA0}"/>
              </a:ext>
            </a:extLst>
          </p:cNvPr>
          <p:cNvGraphicFramePr/>
          <p:nvPr/>
        </p:nvGraphicFramePr>
        <p:xfrm>
          <a:off x="1524000" y="2133600"/>
          <a:ext cx="6096000" cy="406400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graphicFrame>
        <p:nvGraphicFramePr>
          <p:cNvPr id="7" name="Diagram 6">
            <a:extLst>
              <a:ext uri="{FF2B5EF4-FFF2-40B4-BE49-F238E27FC236}">
                <a16:creationId xmlns:a16="http://schemas.microsoft.com/office/drawing/2014/main" id="{A72B48E3-AA38-4860-ADFD-BE08A1AD9E94}"/>
              </a:ext>
            </a:extLst>
          </p:cNvPr>
          <p:cNvGraphicFramePr/>
          <p:nvPr/>
        </p:nvGraphicFramePr>
        <p:xfrm>
          <a:off x="4724400" y="2133600"/>
          <a:ext cx="6096000" cy="4064000"/>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sp>
        <p:nvSpPr>
          <p:cNvPr id="8" name="Slide Number Placeholder 7">
            <a:extLst>
              <a:ext uri="{FF2B5EF4-FFF2-40B4-BE49-F238E27FC236}">
                <a16:creationId xmlns:a16="http://schemas.microsoft.com/office/drawing/2014/main" id="{40448118-B7A0-402B-9264-95D148794319}"/>
              </a:ext>
            </a:extLst>
          </p:cNvPr>
          <p:cNvSpPr>
            <a:spLocks noGrp="1"/>
          </p:cNvSpPr>
          <p:nvPr>
            <p:ph type="sldNum" sz="quarter" idx="12"/>
          </p:nvPr>
        </p:nvSpPr>
        <p:spPr/>
        <p:txBody>
          <a:bodyPr/>
          <a:lstStyle>
            <a:lvl1pPr>
              <a:defRPr>
                <a:solidFill>
                  <a:schemeClr val="tx1"/>
                </a:solidFill>
                <a:latin typeface="Perpetua" panose="02020502060401020303" pitchFamily="18" charset="0"/>
              </a:defRPr>
            </a:lvl1pPr>
            <a:lvl2pPr marL="742950" indent="-285750">
              <a:defRPr>
                <a:solidFill>
                  <a:schemeClr val="tx1"/>
                </a:solidFill>
                <a:latin typeface="Perpetua" panose="02020502060401020303" pitchFamily="18" charset="0"/>
              </a:defRPr>
            </a:lvl2pPr>
            <a:lvl3pPr marL="1143000" indent="-228600">
              <a:defRPr>
                <a:solidFill>
                  <a:schemeClr val="tx1"/>
                </a:solidFill>
                <a:latin typeface="Perpetua" panose="02020502060401020303" pitchFamily="18" charset="0"/>
              </a:defRPr>
            </a:lvl3pPr>
            <a:lvl4pPr marL="1600200" indent="-228600">
              <a:defRPr>
                <a:solidFill>
                  <a:schemeClr val="tx1"/>
                </a:solidFill>
                <a:latin typeface="Perpetua" panose="02020502060401020303" pitchFamily="18" charset="0"/>
              </a:defRPr>
            </a:lvl4pPr>
            <a:lvl5pPr marL="2057400" indent="-228600">
              <a:defRPr>
                <a:solidFill>
                  <a:schemeClr val="tx1"/>
                </a:solidFill>
                <a:latin typeface="Perpetua" panose="02020502060401020303" pitchFamily="18" charset="0"/>
              </a:defRPr>
            </a:lvl5pPr>
            <a:lvl6pPr marL="2514600" indent="-228600" fontAlgn="base">
              <a:spcBef>
                <a:spcPct val="0"/>
              </a:spcBef>
              <a:spcAft>
                <a:spcPct val="0"/>
              </a:spcAft>
              <a:defRPr>
                <a:solidFill>
                  <a:schemeClr val="tx1"/>
                </a:solidFill>
                <a:latin typeface="Perpetua" panose="02020502060401020303" pitchFamily="18" charset="0"/>
              </a:defRPr>
            </a:lvl6pPr>
            <a:lvl7pPr marL="2971800" indent="-228600" fontAlgn="base">
              <a:spcBef>
                <a:spcPct val="0"/>
              </a:spcBef>
              <a:spcAft>
                <a:spcPct val="0"/>
              </a:spcAft>
              <a:defRPr>
                <a:solidFill>
                  <a:schemeClr val="tx1"/>
                </a:solidFill>
                <a:latin typeface="Perpetua" panose="02020502060401020303" pitchFamily="18" charset="0"/>
              </a:defRPr>
            </a:lvl7pPr>
            <a:lvl8pPr marL="3429000" indent="-228600" fontAlgn="base">
              <a:spcBef>
                <a:spcPct val="0"/>
              </a:spcBef>
              <a:spcAft>
                <a:spcPct val="0"/>
              </a:spcAft>
              <a:defRPr>
                <a:solidFill>
                  <a:schemeClr val="tx1"/>
                </a:solidFill>
                <a:latin typeface="Perpetua" panose="02020502060401020303" pitchFamily="18" charset="0"/>
              </a:defRPr>
            </a:lvl8pPr>
            <a:lvl9pPr marL="3886200" indent="-228600" fontAlgn="base">
              <a:spcBef>
                <a:spcPct val="0"/>
              </a:spcBef>
              <a:spcAft>
                <a:spcPct val="0"/>
              </a:spcAft>
              <a:defRPr>
                <a:solidFill>
                  <a:schemeClr val="tx1"/>
                </a:solidFill>
                <a:latin typeface="Perpetua" panose="02020502060401020303" pitchFamily="18" charset="0"/>
              </a:defRPr>
            </a:lvl9pPr>
          </a:lstStyle>
          <a:p>
            <a:pPr fontAlgn="base">
              <a:spcBef>
                <a:spcPct val="0"/>
              </a:spcBef>
              <a:spcAft>
                <a:spcPct val="0"/>
              </a:spcAft>
            </a:pPr>
            <a:fld id="{A0113F42-D126-4B1C-80F2-5A2EF34281E9}" type="slidenum">
              <a:rPr lang="en-US" altLang="en-US">
                <a:solidFill>
                  <a:srgbClr val="FFFFFF"/>
                </a:solidFill>
                <a:latin typeface="Franklin Gothic Book" panose="020B0503020102020204" pitchFamily="34" charset="0"/>
                <a:cs typeface="Arial" panose="020B0604020202020204" pitchFamily="34" charset="0"/>
              </a:rPr>
              <a:pPr fontAlgn="base">
                <a:spcBef>
                  <a:spcPct val="0"/>
                </a:spcBef>
                <a:spcAft>
                  <a:spcPct val="0"/>
                </a:spcAft>
              </a:pPr>
              <a:t>26</a:t>
            </a:fld>
            <a:endParaRPr lang="en-US" altLang="en-US">
              <a:solidFill>
                <a:srgbClr val="FFFFFF"/>
              </a:solidFill>
              <a:latin typeface="Franklin Gothic Book" panose="020B0503020102020204" pitchFamily="34" charset="0"/>
              <a:cs typeface="Arial" panose="020B0604020202020204" pitchFamily="34" charset="0"/>
            </a:endParaRPr>
          </a:p>
        </p:txBody>
      </p:sp>
      <p:sp>
        <p:nvSpPr>
          <p:cNvPr id="132105" name="TextBox 1">
            <a:extLst>
              <a:ext uri="{FF2B5EF4-FFF2-40B4-BE49-F238E27FC236}">
                <a16:creationId xmlns:a16="http://schemas.microsoft.com/office/drawing/2014/main" id="{76C75A07-E468-4883-B838-9ED405619B41}"/>
              </a:ext>
            </a:extLst>
          </p:cNvPr>
          <p:cNvSpPr txBox="1">
            <a:spLocks noChangeArrowheads="1"/>
          </p:cNvSpPr>
          <p:nvPr/>
        </p:nvSpPr>
        <p:spPr bwMode="auto">
          <a:xfrm>
            <a:off x="2209800" y="2362200"/>
            <a:ext cx="8001000" cy="3046988"/>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ts val="575"/>
              </a:spcBef>
              <a:buClr>
                <a:schemeClr val="accent1"/>
              </a:buClr>
              <a:buSzPct val="85000"/>
              <a:buFont typeface="Wingdings 2" panose="05020102010507070707" pitchFamily="18" charset="2"/>
              <a:buChar char=""/>
              <a:defRPr sz="2600">
                <a:solidFill>
                  <a:schemeClr val="tx1"/>
                </a:solidFill>
                <a:latin typeface="Perpetua" panose="02020502060401020303" pitchFamily="18" charset="0"/>
              </a:defRPr>
            </a:lvl1pPr>
            <a:lvl2pPr marL="742950" indent="-285750">
              <a:spcBef>
                <a:spcPts val="375"/>
              </a:spcBef>
              <a:buClr>
                <a:schemeClr val="accent2"/>
              </a:buClr>
              <a:buSzPct val="85000"/>
              <a:buFont typeface="Wingdings 2" panose="05020102010507070707" pitchFamily="18" charset="2"/>
              <a:buChar char=""/>
              <a:defRPr sz="2400">
                <a:solidFill>
                  <a:schemeClr val="tx1"/>
                </a:solidFill>
                <a:latin typeface="Perpetua" panose="02020502060401020303" pitchFamily="18" charset="0"/>
              </a:defRPr>
            </a:lvl2pPr>
            <a:lvl3pPr marL="1143000" indent="-228600">
              <a:spcBef>
                <a:spcPts val="375"/>
              </a:spcBef>
              <a:buClr>
                <a:srgbClr val="E6B1AB"/>
              </a:buClr>
              <a:buSzPct val="85000"/>
              <a:buFont typeface="Wingdings 2" panose="05020102010507070707" pitchFamily="18" charset="2"/>
              <a:buChar char=""/>
              <a:defRPr sz="2000">
                <a:solidFill>
                  <a:schemeClr val="tx1"/>
                </a:solidFill>
                <a:latin typeface="Perpetua" panose="02020502060401020303" pitchFamily="18" charset="0"/>
              </a:defRPr>
            </a:lvl3pPr>
            <a:lvl4pPr marL="1600200" indent="-228600">
              <a:spcBef>
                <a:spcPts val="375"/>
              </a:spcBef>
              <a:buClr>
                <a:srgbClr val="A28E6A"/>
              </a:buClr>
              <a:buSzPct val="80000"/>
              <a:buFont typeface="Wingdings 2" panose="05020102010507070707" pitchFamily="18" charset="2"/>
              <a:buChar char=""/>
              <a:defRPr sz="2000">
                <a:solidFill>
                  <a:schemeClr val="tx1"/>
                </a:solidFill>
                <a:latin typeface="Perpetua" panose="02020502060401020303" pitchFamily="18" charset="0"/>
              </a:defRPr>
            </a:lvl4pPr>
            <a:lvl5pPr marL="2057400" indent="-228600">
              <a:spcBef>
                <a:spcPts val="375"/>
              </a:spcBef>
              <a:buClr>
                <a:srgbClr val="A28E6A"/>
              </a:buClr>
              <a:buChar char="o"/>
              <a:defRPr sz="2000">
                <a:solidFill>
                  <a:schemeClr val="tx1"/>
                </a:solidFill>
                <a:latin typeface="Perpetua" panose="02020502060401020303" pitchFamily="18" charset="0"/>
              </a:defRPr>
            </a:lvl5pPr>
            <a:lvl6pPr marL="2514600" indent="-228600" fontAlgn="base">
              <a:spcBef>
                <a:spcPts val="375"/>
              </a:spcBef>
              <a:spcAft>
                <a:spcPct val="0"/>
              </a:spcAft>
              <a:buClr>
                <a:srgbClr val="A28E6A"/>
              </a:buClr>
              <a:buChar char="o"/>
              <a:defRPr sz="2000">
                <a:solidFill>
                  <a:schemeClr val="tx1"/>
                </a:solidFill>
                <a:latin typeface="Perpetua" panose="02020502060401020303" pitchFamily="18" charset="0"/>
              </a:defRPr>
            </a:lvl6pPr>
            <a:lvl7pPr marL="2971800" indent="-228600" fontAlgn="base">
              <a:spcBef>
                <a:spcPts val="375"/>
              </a:spcBef>
              <a:spcAft>
                <a:spcPct val="0"/>
              </a:spcAft>
              <a:buClr>
                <a:srgbClr val="A28E6A"/>
              </a:buClr>
              <a:buChar char="o"/>
              <a:defRPr sz="2000">
                <a:solidFill>
                  <a:schemeClr val="tx1"/>
                </a:solidFill>
                <a:latin typeface="Perpetua" panose="02020502060401020303" pitchFamily="18" charset="0"/>
              </a:defRPr>
            </a:lvl7pPr>
            <a:lvl8pPr marL="3429000" indent="-228600" fontAlgn="base">
              <a:spcBef>
                <a:spcPts val="375"/>
              </a:spcBef>
              <a:spcAft>
                <a:spcPct val="0"/>
              </a:spcAft>
              <a:buClr>
                <a:srgbClr val="A28E6A"/>
              </a:buClr>
              <a:buChar char="o"/>
              <a:defRPr sz="2000">
                <a:solidFill>
                  <a:schemeClr val="tx1"/>
                </a:solidFill>
                <a:latin typeface="Perpetua" panose="02020502060401020303" pitchFamily="18" charset="0"/>
              </a:defRPr>
            </a:lvl8pPr>
            <a:lvl9pPr marL="3886200" indent="-228600" fontAlgn="base">
              <a:spcBef>
                <a:spcPts val="375"/>
              </a:spcBef>
              <a:spcAft>
                <a:spcPct val="0"/>
              </a:spcAft>
              <a:buClr>
                <a:srgbClr val="A28E6A"/>
              </a:buClr>
              <a:buChar char="o"/>
              <a:defRPr sz="2000">
                <a:solidFill>
                  <a:schemeClr val="tx1"/>
                </a:solidFill>
                <a:latin typeface="Perpetua" panose="02020502060401020303" pitchFamily="18" charset="0"/>
              </a:defRPr>
            </a:lvl9pPr>
          </a:lstStyle>
          <a:p>
            <a:pPr fontAlgn="base">
              <a:spcBef>
                <a:spcPct val="0"/>
              </a:spcBef>
              <a:spcAft>
                <a:spcPct val="0"/>
              </a:spcAft>
              <a:buClrTx/>
              <a:buSzTx/>
              <a:buNone/>
            </a:pPr>
            <a:r>
              <a:rPr lang="en-US" altLang="en-US" sz="3200" dirty="0">
                <a:solidFill>
                  <a:srgbClr val="FFFF00"/>
                </a:solidFill>
                <a:latin typeface="Calibri" panose="020F0502020204030204" pitchFamily="34" charset="0"/>
                <a:cs typeface="Arial" panose="020B0604020202020204" pitchFamily="34" charset="0"/>
              </a:rPr>
              <a:t>Expansion in 2018:</a:t>
            </a:r>
          </a:p>
          <a:p>
            <a:pPr fontAlgn="base">
              <a:spcBef>
                <a:spcPct val="0"/>
              </a:spcBef>
              <a:spcAft>
                <a:spcPct val="0"/>
              </a:spcAft>
              <a:buClrTx/>
              <a:buSzTx/>
              <a:buNone/>
            </a:pPr>
            <a:r>
              <a:rPr lang="en-US" altLang="en-US" sz="3200" dirty="0">
                <a:solidFill>
                  <a:srgbClr val="FFFF00"/>
                </a:solidFill>
                <a:latin typeface="Calibri" panose="020F0502020204030204" pitchFamily="34" charset="0"/>
                <a:cs typeface="Arial" panose="020B0604020202020204" pitchFamily="34" charset="0"/>
              </a:rPr>
              <a:t>In 2018, the European Commission  proposed a budget of €13 billion for 2021–2027 for the European </a:t>
            </a:r>
            <a:r>
              <a:rPr lang="en-US" altLang="en-US" sz="3200" dirty="0" err="1">
                <a:solidFill>
                  <a:srgbClr val="FFFF00"/>
                </a:solidFill>
                <a:latin typeface="Calibri" panose="020F0502020204030204" pitchFamily="34" charset="0"/>
                <a:cs typeface="Arial" panose="020B0604020202020204" pitchFamily="34" charset="0"/>
              </a:rPr>
              <a:t>Defence</a:t>
            </a:r>
            <a:r>
              <a:rPr lang="en-US" altLang="en-US" sz="3200" dirty="0">
                <a:solidFill>
                  <a:srgbClr val="FFFF00"/>
                </a:solidFill>
                <a:latin typeface="Calibri" panose="020F0502020204030204" pitchFamily="34" charset="0"/>
                <a:cs typeface="Arial" panose="020B0604020202020204" pitchFamily="34" charset="0"/>
              </a:rPr>
              <a:t> Fund. The new fund will be used to support innovation and development in defense across Europe.</a:t>
            </a:r>
          </a:p>
        </p:txBody>
      </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874" name="Title 1">
            <a:extLst>
              <a:ext uri="{FF2B5EF4-FFF2-40B4-BE49-F238E27FC236}">
                <a16:creationId xmlns:a16="http://schemas.microsoft.com/office/drawing/2014/main" id="{B365D609-42E5-4027-BA0B-6CBF942F5900}"/>
              </a:ext>
            </a:extLst>
          </p:cNvPr>
          <p:cNvSpPr>
            <a:spLocks noGrp="1"/>
          </p:cNvSpPr>
          <p:nvPr>
            <p:ph type="title"/>
          </p:nvPr>
        </p:nvSpPr>
        <p:spPr>
          <a:xfrm>
            <a:off x="1905000" y="512763"/>
            <a:ext cx="8305800" cy="1143000"/>
          </a:xfrm>
        </p:spPr>
        <p:txBody>
          <a:bodyPr>
            <a:normAutofit fontScale="90000"/>
          </a:bodyPr>
          <a:lstStyle/>
          <a:p>
            <a:pPr fontAlgn="auto">
              <a:spcAft>
                <a:spcPts val="0"/>
              </a:spcAft>
              <a:defRPr/>
            </a:pPr>
            <a:r>
              <a:rPr lang="en-US" altLang="en-US" sz="2400" dirty="0"/>
              <a:t>Continued Support: </a:t>
            </a:r>
            <a:br>
              <a:rPr lang="en-US" altLang="en-US" sz="2400" dirty="0"/>
            </a:br>
            <a:r>
              <a:rPr lang="en-US" altLang="en-US" sz="2400" dirty="0"/>
              <a:t>EU President Jean-Clause Juncker’s State of the Union Address (Sept. 2018)</a:t>
            </a:r>
            <a:br>
              <a:rPr lang="en-US" altLang="en-US" sz="2400" dirty="0"/>
            </a:br>
            <a:endParaRPr lang="en-US" altLang="en-US" sz="2400" dirty="0"/>
          </a:p>
        </p:txBody>
      </p:sp>
      <p:sp>
        <p:nvSpPr>
          <p:cNvPr id="4" name="Content Placeholder 3">
            <a:extLst>
              <a:ext uri="{FF2B5EF4-FFF2-40B4-BE49-F238E27FC236}">
                <a16:creationId xmlns:a16="http://schemas.microsoft.com/office/drawing/2014/main" id="{83018974-A199-4699-A3BC-A3D353D1B4A4}"/>
              </a:ext>
            </a:extLst>
          </p:cNvPr>
          <p:cNvSpPr>
            <a:spLocks noGrp="1"/>
          </p:cNvSpPr>
          <p:nvPr>
            <p:ph idx="1"/>
          </p:nvPr>
        </p:nvSpPr>
        <p:spPr>
          <a:xfrm>
            <a:off x="1981200" y="1447801"/>
            <a:ext cx="5943600" cy="4678363"/>
          </a:xfrm>
        </p:spPr>
        <p:txBody>
          <a:bodyPr rtlCol="0">
            <a:normAutofit fontScale="62500" lnSpcReduction="20000"/>
          </a:bodyPr>
          <a:lstStyle/>
          <a:p>
            <a:pPr marL="0" indent="0" fontAlgn="auto">
              <a:spcBef>
                <a:spcPts val="580"/>
              </a:spcBef>
              <a:spcAft>
                <a:spcPts val="0"/>
              </a:spcAft>
              <a:buNone/>
              <a:defRPr/>
            </a:pPr>
            <a:r>
              <a:rPr lang="en-US" sz="4400" dirty="0"/>
              <a:t>. . . [D]</a:t>
            </a:r>
            <a:r>
              <a:rPr lang="en-US" sz="4400" dirty="0" err="1"/>
              <a:t>espite</a:t>
            </a:r>
            <a:r>
              <a:rPr lang="en-US" sz="4400" dirty="0"/>
              <a:t> great resistance at the time - I reignited the Europe of </a:t>
            </a:r>
            <a:r>
              <a:rPr lang="en-US" sz="4400" dirty="0" err="1"/>
              <a:t>Defence</a:t>
            </a:r>
            <a:r>
              <a:rPr lang="en-US" sz="4400" dirty="0"/>
              <a:t> as early as 2014. </a:t>
            </a:r>
            <a:r>
              <a:rPr lang="en-US" sz="4400" b="1" dirty="0">
                <a:solidFill>
                  <a:srgbClr val="FFC000"/>
                </a:solidFill>
              </a:rPr>
              <a:t>And this is why I will continue to work day and night over the next months to see the European </a:t>
            </a:r>
            <a:r>
              <a:rPr lang="en-US" sz="4400" b="1" dirty="0" err="1">
                <a:solidFill>
                  <a:srgbClr val="FFC000"/>
                </a:solidFill>
              </a:rPr>
              <a:t>Defence</a:t>
            </a:r>
            <a:r>
              <a:rPr lang="en-US" sz="4400" b="1" dirty="0">
                <a:solidFill>
                  <a:srgbClr val="FFC000"/>
                </a:solidFill>
              </a:rPr>
              <a:t> Fund</a:t>
            </a:r>
            <a:r>
              <a:rPr lang="en-US" sz="4400" dirty="0"/>
              <a:t> and Permanent Structured Cooperation in </a:t>
            </a:r>
            <a:r>
              <a:rPr lang="en-US" sz="4400" dirty="0" err="1"/>
              <a:t>Defence</a:t>
            </a:r>
            <a:r>
              <a:rPr lang="en-US" sz="4400" dirty="0"/>
              <a:t> </a:t>
            </a:r>
            <a:r>
              <a:rPr lang="en-US" sz="4400" b="1" dirty="0">
                <a:solidFill>
                  <a:srgbClr val="FFC000"/>
                </a:solidFill>
              </a:rPr>
              <a:t>become fully operational</a:t>
            </a:r>
            <a:r>
              <a:rPr lang="en-US" sz="4400" dirty="0"/>
              <a:t>. Allow me to clarify one important point: we will not </a:t>
            </a:r>
            <a:r>
              <a:rPr lang="en-US" sz="4400" dirty="0" err="1"/>
              <a:t>militarise</a:t>
            </a:r>
            <a:r>
              <a:rPr lang="en-US" sz="4400" dirty="0"/>
              <a:t> the European Union. What we want is to become more autonomous and live up to our global responsibilities.</a:t>
            </a:r>
            <a:endParaRPr lang="en-US" dirty="0"/>
          </a:p>
        </p:txBody>
      </p:sp>
      <p:pic>
        <p:nvPicPr>
          <p:cNvPr id="133125" name="Picture 2">
            <a:extLst>
              <a:ext uri="{FF2B5EF4-FFF2-40B4-BE49-F238E27FC236}">
                <a16:creationId xmlns:a16="http://schemas.microsoft.com/office/drawing/2014/main" id="{D73BB447-5933-49C9-AAE5-533342206F5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229601" y="1676400"/>
            <a:ext cx="2324100" cy="304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6EBC0A4F-CF91-49A3-BBBD-C43C881887A6}"/>
              </a:ext>
            </a:extLst>
          </p:cNvPr>
          <p:cNvPicPr>
            <a:picLocks noChangeAspect="1"/>
          </p:cNvPicPr>
          <p:nvPr/>
        </p:nvPicPr>
        <p:blipFill>
          <a:blip r:embed="rId3"/>
          <a:stretch>
            <a:fillRect/>
          </a:stretch>
        </p:blipFill>
        <p:spPr>
          <a:xfrm>
            <a:off x="1752600" y="990601"/>
            <a:ext cx="8610600" cy="4358745"/>
          </a:xfrm>
          <a:prstGeom prst="rect">
            <a:avLst/>
          </a:prstGeom>
        </p:spPr>
      </p:pic>
    </p:spTree>
    <p:extLst>
      <p:ext uri="{BB962C8B-B14F-4D97-AF65-F5344CB8AC3E}">
        <p14:creationId xmlns:p14="http://schemas.microsoft.com/office/powerpoint/2010/main" val="417806396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A9C82F-9357-48F5-B371-D1784D8CAE46}"/>
              </a:ext>
            </a:extLst>
          </p:cNvPr>
          <p:cNvSpPr>
            <a:spLocks noGrp="1"/>
          </p:cNvSpPr>
          <p:nvPr>
            <p:ph type="title"/>
          </p:nvPr>
        </p:nvSpPr>
        <p:spPr>
          <a:xfrm>
            <a:off x="2057400" y="304800"/>
            <a:ext cx="5334000" cy="1066800"/>
          </a:xfrm>
        </p:spPr>
        <p:txBody>
          <a:bodyPr rtlCol="0">
            <a:normAutofit fontScale="90000"/>
          </a:bodyPr>
          <a:lstStyle/>
          <a:p>
            <a:pPr fontAlgn="auto">
              <a:spcAft>
                <a:spcPts val="0"/>
              </a:spcAft>
              <a:defRPr/>
            </a:pPr>
            <a:r>
              <a:rPr lang="en-US" dirty="0"/>
              <a:t>Domestic Preference Under EU Defense Fund</a:t>
            </a:r>
          </a:p>
        </p:txBody>
      </p:sp>
      <p:sp>
        <p:nvSpPr>
          <p:cNvPr id="134147" name="Content Placeholder 3">
            <a:extLst>
              <a:ext uri="{FF2B5EF4-FFF2-40B4-BE49-F238E27FC236}">
                <a16:creationId xmlns:a16="http://schemas.microsoft.com/office/drawing/2014/main" id="{33317943-ADD2-48FF-9344-7E5C80AC1B85}"/>
              </a:ext>
            </a:extLst>
          </p:cNvPr>
          <p:cNvSpPr>
            <a:spLocks noGrp="1"/>
          </p:cNvSpPr>
          <p:nvPr>
            <p:ph idx="1"/>
          </p:nvPr>
        </p:nvSpPr>
        <p:spPr>
          <a:xfrm>
            <a:off x="2083594" y="1941250"/>
            <a:ext cx="7772400" cy="4572000"/>
          </a:xfrm>
        </p:spPr>
        <p:txBody>
          <a:bodyPr/>
          <a:lstStyle/>
          <a:p>
            <a:r>
              <a:rPr lang="en-US" altLang="en-US" sz="2400" dirty="0"/>
              <a:t>“As the </a:t>
            </a:r>
            <a:r>
              <a:rPr lang="en-US" altLang="en-US" sz="2400" dirty="0" err="1"/>
              <a:t>Programme</a:t>
            </a:r>
            <a:r>
              <a:rPr lang="en-US" altLang="en-US" sz="2400" dirty="0"/>
              <a:t> aims at enhancing the competitiveness of the Union's </a:t>
            </a:r>
            <a:r>
              <a:rPr lang="en-US" altLang="en-US" sz="2400" dirty="0" err="1"/>
              <a:t>defence</a:t>
            </a:r>
            <a:r>
              <a:rPr lang="en-US" altLang="en-US" sz="2400" dirty="0"/>
              <a:t> industry, </a:t>
            </a:r>
            <a:r>
              <a:rPr lang="en-US" altLang="en-US" sz="2400" b="1" dirty="0">
                <a:solidFill>
                  <a:schemeClr val="accent1"/>
                </a:solidFill>
              </a:rPr>
              <a:t>only</a:t>
            </a:r>
            <a:r>
              <a:rPr lang="en-US" altLang="en-US" sz="2400" b="1" dirty="0">
                <a:solidFill>
                  <a:srgbClr val="FFFF00"/>
                </a:solidFill>
              </a:rPr>
              <a:t> </a:t>
            </a:r>
            <a:r>
              <a:rPr lang="en-US" altLang="en-US" sz="2400" b="1" dirty="0">
                <a:solidFill>
                  <a:srgbClr val="FFC000"/>
                </a:solidFill>
              </a:rPr>
              <a:t>entities established in the Union and effectively controlled by Member States or their nationals should be eligible for support</a:t>
            </a:r>
            <a:r>
              <a:rPr lang="en-US" altLang="en-US" sz="2400" dirty="0">
                <a:solidFill>
                  <a:srgbClr val="FFFF00"/>
                </a:solidFill>
              </a:rPr>
              <a:t>. </a:t>
            </a:r>
            <a:r>
              <a:rPr lang="en-US" altLang="en-US" sz="2400" dirty="0"/>
              <a:t>Additionally, in order to ensure the protection of essential security interests of the Union and its Member States, </a:t>
            </a:r>
            <a:r>
              <a:rPr lang="en-US" altLang="en-US" sz="2400" b="1" u="sng" dirty="0"/>
              <a:t>the infrastructure, facilities, assets and resources used by the beneficiaries and subcontractors in actions funded under the </a:t>
            </a:r>
            <a:r>
              <a:rPr lang="en-US" altLang="en-US" sz="2400" b="1" u="sng" dirty="0" err="1"/>
              <a:t>Programme</a:t>
            </a:r>
            <a:r>
              <a:rPr lang="en-US" altLang="en-US" sz="2400" b="1" u="sng" dirty="0"/>
              <a:t>, shall not be located on the territory of non-Member States</a:t>
            </a:r>
            <a:r>
              <a:rPr lang="en-US" altLang="en-US" sz="2400" b="1" dirty="0"/>
              <a:t>.”</a:t>
            </a:r>
            <a:endParaRPr lang="en-US" altLang="en-US" sz="2400" dirty="0"/>
          </a:p>
        </p:txBody>
      </p:sp>
      <p:pic>
        <p:nvPicPr>
          <p:cNvPr id="134148" name="Picture 2">
            <a:extLst>
              <a:ext uri="{FF2B5EF4-FFF2-40B4-BE49-F238E27FC236}">
                <a16:creationId xmlns:a16="http://schemas.microsoft.com/office/drawing/2014/main" id="{E699FAA4-23BF-403D-B7FB-2E52BD68965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153400" y="589133"/>
            <a:ext cx="1760538" cy="1220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4450" name="Picture 2">
            <a:extLst>
              <a:ext uri="{FF2B5EF4-FFF2-40B4-BE49-F238E27FC236}">
                <a16:creationId xmlns:a16="http://schemas.microsoft.com/office/drawing/2014/main" id="{37D804F6-19CF-44EC-B900-8A181E040B5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24000" y="0"/>
            <a:ext cx="9144000" cy="9175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4451" name="Picture 3">
            <a:extLst>
              <a:ext uri="{FF2B5EF4-FFF2-40B4-BE49-F238E27FC236}">
                <a16:creationId xmlns:a16="http://schemas.microsoft.com/office/drawing/2014/main" id="{2207EA5B-954D-4A3B-AAD8-D2610D40E0D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44638" y="762000"/>
            <a:ext cx="9123362" cy="6648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4452" name="Content Placeholder 2">
            <a:extLst>
              <a:ext uri="{FF2B5EF4-FFF2-40B4-BE49-F238E27FC236}">
                <a16:creationId xmlns:a16="http://schemas.microsoft.com/office/drawing/2014/main" id="{D34716BA-2907-4261-BB1D-73C140AD9AB8}"/>
              </a:ext>
            </a:extLst>
          </p:cNvPr>
          <p:cNvSpPr>
            <a:spLocks noGrp="1"/>
          </p:cNvSpPr>
          <p:nvPr>
            <p:ph idx="1"/>
          </p:nvPr>
        </p:nvSpPr>
        <p:spPr>
          <a:xfrm>
            <a:off x="1992313" y="-304800"/>
            <a:ext cx="8229600" cy="1295400"/>
          </a:xfrm>
          <a:solidFill>
            <a:schemeClr val="tx1"/>
          </a:solidFill>
        </p:spPr>
        <p:txBody>
          <a:bodyPr/>
          <a:lstStyle/>
          <a:p>
            <a:endParaRPr lang="en-US" altLang="en-US"/>
          </a:p>
          <a:p>
            <a:pPr algn="ctr">
              <a:buFont typeface="Arial" panose="020B0604020202020204" pitchFamily="34" charset="0"/>
              <a:buNone/>
            </a:pPr>
            <a:r>
              <a:rPr lang="en-US" altLang="en-US" sz="4000" b="1">
                <a:solidFill>
                  <a:schemeClr val="bg2"/>
                </a:solidFill>
              </a:rPr>
              <a:t> </a:t>
            </a:r>
            <a:r>
              <a:rPr lang="en-US" altLang="en-US" b="1">
                <a:solidFill>
                  <a:schemeClr val="bg2"/>
                </a:solidFill>
              </a:rPr>
              <a:t>Goal:  Reduce Government Scope 3 Emissions</a:t>
            </a:r>
          </a:p>
        </p:txBody>
      </p:sp>
      <p:sp>
        <p:nvSpPr>
          <p:cNvPr id="2" name="Slide Number Placeholder 1">
            <a:extLst>
              <a:ext uri="{FF2B5EF4-FFF2-40B4-BE49-F238E27FC236}">
                <a16:creationId xmlns:a16="http://schemas.microsoft.com/office/drawing/2014/main" id="{447909F2-7AF6-4359-8381-C0336ACF7194}"/>
              </a:ext>
            </a:extLst>
          </p:cNvPr>
          <p:cNvSpPr>
            <a:spLocks noGrp="1"/>
          </p:cNvSpPr>
          <p:nvPr>
            <p:ph type="sldNum" sz="quarter" idx="4294967295"/>
          </p:nvPr>
        </p:nvSpPr>
        <p:spPr>
          <a:xfrm>
            <a:off x="1626394" y="6231082"/>
            <a:ext cx="457200" cy="457200"/>
          </a:xfrm>
        </p:spPr>
        <p:txBody>
          <a:bodyPr/>
          <a:lstStyle>
            <a:lvl1pPr>
              <a:defRPr>
                <a:solidFill>
                  <a:schemeClr val="tx1"/>
                </a:solidFill>
                <a:latin typeface="Perpetua" panose="02020502060401020303" pitchFamily="18" charset="0"/>
              </a:defRPr>
            </a:lvl1pPr>
            <a:lvl2pPr marL="742950" indent="-285750">
              <a:defRPr>
                <a:solidFill>
                  <a:schemeClr val="tx1"/>
                </a:solidFill>
                <a:latin typeface="Perpetua" panose="02020502060401020303" pitchFamily="18" charset="0"/>
              </a:defRPr>
            </a:lvl2pPr>
            <a:lvl3pPr marL="1143000" indent="-228600">
              <a:defRPr>
                <a:solidFill>
                  <a:schemeClr val="tx1"/>
                </a:solidFill>
                <a:latin typeface="Perpetua" panose="02020502060401020303" pitchFamily="18" charset="0"/>
              </a:defRPr>
            </a:lvl3pPr>
            <a:lvl4pPr marL="1600200" indent="-228600">
              <a:defRPr>
                <a:solidFill>
                  <a:schemeClr val="tx1"/>
                </a:solidFill>
                <a:latin typeface="Perpetua" panose="02020502060401020303" pitchFamily="18" charset="0"/>
              </a:defRPr>
            </a:lvl4pPr>
            <a:lvl5pPr marL="2057400" indent="-228600">
              <a:defRPr>
                <a:solidFill>
                  <a:schemeClr val="tx1"/>
                </a:solidFill>
                <a:latin typeface="Perpetua" panose="02020502060401020303" pitchFamily="18" charset="0"/>
              </a:defRPr>
            </a:lvl5pPr>
            <a:lvl6pPr marL="2514600" indent="-228600" fontAlgn="base">
              <a:spcBef>
                <a:spcPct val="0"/>
              </a:spcBef>
              <a:spcAft>
                <a:spcPct val="0"/>
              </a:spcAft>
              <a:defRPr>
                <a:solidFill>
                  <a:schemeClr val="tx1"/>
                </a:solidFill>
                <a:latin typeface="Perpetua" panose="02020502060401020303" pitchFamily="18" charset="0"/>
              </a:defRPr>
            </a:lvl6pPr>
            <a:lvl7pPr marL="2971800" indent="-228600" fontAlgn="base">
              <a:spcBef>
                <a:spcPct val="0"/>
              </a:spcBef>
              <a:spcAft>
                <a:spcPct val="0"/>
              </a:spcAft>
              <a:defRPr>
                <a:solidFill>
                  <a:schemeClr val="tx1"/>
                </a:solidFill>
                <a:latin typeface="Perpetua" panose="02020502060401020303" pitchFamily="18" charset="0"/>
              </a:defRPr>
            </a:lvl7pPr>
            <a:lvl8pPr marL="3429000" indent="-228600" fontAlgn="base">
              <a:spcBef>
                <a:spcPct val="0"/>
              </a:spcBef>
              <a:spcAft>
                <a:spcPct val="0"/>
              </a:spcAft>
              <a:defRPr>
                <a:solidFill>
                  <a:schemeClr val="tx1"/>
                </a:solidFill>
                <a:latin typeface="Perpetua" panose="02020502060401020303" pitchFamily="18" charset="0"/>
              </a:defRPr>
            </a:lvl8pPr>
            <a:lvl9pPr marL="3886200" indent="-228600" fontAlgn="base">
              <a:spcBef>
                <a:spcPct val="0"/>
              </a:spcBef>
              <a:spcAft>
                <a:spcPct val="0"/>
              </a:spcAft>
              <a:defRPr>
                <a:solidFill>
                  <a:schemeClr val="tx1"/>
                </a:solidFill>
                <a:latin typeface="Perpetua" panose="02020502060401020303" pitchFamily="18" charset="0"/>
              </a:defRPr>
            </a:lvl9pPr>
          </a:lstStyle>
          <a:p>
            <a:pPr fontAlgn="base">
              <a:spcBef>
                <a:spcPct val="0"/>
              </a:spcBef>
              <a:spcAft>
                <a:spcPct val="0"/>
              </a:spcAft>
            </a:pPr>
            <a:fld id="{573BF4EE-1A5E-40C8-AEEC-69349D2E03E0}" type="slidenum">
              <a:rPr lang="en-US" altLang="en-US">
                <a:solidFill>
                  <a:srgbClr val="FFFFFF"/>
                </a:solidFill>
                <a:latin typeface="Franklin Gothic Book" panose="020B0503020102020204" pitchFamily="34" charset="0"/>
                <a:cs typeface="Arial" panose="020B0604020202020204" pitchFamily="34" charset="0"/>
              </a:rPr>
              <a:pPr fontAlgn="base">
                <a:spcBef>
                  <a:spcPct val="0"/>
                </a:spcBef>
                <a:spcAft>
                  <a:spcPct val="0"/>
                </a:spcAft>
              </a:pPr>
              <a:t>3</a:t>
            </a:fld>
            <a:endParaRPr lang="en-US" altLang="en-US">
              <a:solidFill>
                <a:srgbClr val="FFFFFF"/>
              </a:solidFill>
              <a:latin typeface="Franklin Gothic Book" panose="020B0503020102020204" pitchFamily="34" charset="0"/>
              <a:cs typeface="Arial" panose="020B0604020202020204" pitchFamily="34" charset="0"/>
            </a:endParaRPr>
          </a:p>
        </p:txBody>
      </p:sp>
    </p:spTree>
  </p:cSld>
  <p:clrMapOvr>
    <a:masterClrMapping/>
  </p:clrMapOvr>
  <p:transition spd="slow"/>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048FF6-66F4-4D66-A43F-3CFA4CE01690}"/>
              </a:ext>
            </a:extLst>
          </p:cNvPr>
          <p:cNvSpPr>
            <a:spLocks noGrp="1"/>
          </p:cNvSpPr>
          <p:nvPr>
            <p:ph type="title"/>
          </p:nvPr>
        </p:nvSpPr>
        <p:spPr>
          <a:xfrm>
            <a:off x="1905000" y="228600"/>
            <a:ext cx="8229600" cy="1066800"/>
          </a:xfrm>
        </p:spPr>
        <p:txBody>
          <a:bodyPr rtlCol="0">
            <a:normAutofit fontScale="90000"/>
          </a:bodyPr>
          <a:lstStyle/>
          <a:p>
            <a:pPr fontAlgn="auto">
              <a:spcAft>
                <a:spcPts val="0"/>
              </a:spcAft>
              <a:defRPr/>
            </a:pPr>
            <a:r>
              <a:rPr lang="en-US" dirty="0"/>
              <a:t>EU Defense Fund:</a:t>
            </a:r>
            <a:br>
              <a:rPr lang="en-US" dirty="0"/>
            </a:br>
            <a:r>
              <a:rPr lang="en-US" dirty="0"/>
              <a:t>Limited Caveat</a:t>
            </a:r>
          </a:p>
        </p:txBody>
      </p:sp>
      <p:sp>
        <p:nvSpPr>
          <p:cNvPr id="3" name="Content Placeholder 2">
            <a:extLst>
              <a:ext uri="{FF2B5EF4-FFF2-40B4-BE49-F238E27FC236}">
                <a16:creationId xmlns:a16="http://schemas.microsoft.com/office/drawing/2014/main" id="{00D1FA8E-FC84-4C4C-AAF4-1B0E366F9A3C}"/>
              </a:ext>
            </a:extLst>
          </p:cNvPr>
          <p:cNvSpPr>
            <a:spLocks noGrp="1"/>
          </p:cNvSpPr>
          <p:nvPr>
            <p:ph idx="1"/>
          </p:nvPr>
        </p:nvSpPr>
        <p:spPr/>
        <p:txBody>
          <a:bodyPr rtlCol="0">
            <a:normAutofit fontScale="92500" lnSpcReduction="20000"/>
          </a:bodyPr>
          <a:lstStyle/>
          <a:p>
            <a:pPr marL="109728" indent="0" fontAlgn="auto">
              <a:spcBef>
                <a:spcPts val="580"/>
              </a:spcBef>
              <a:spcAft>
                <a:spcPts val="0"/>
              </a:spcAft>
              <a:buNone/>
              <a:defRPr/>
            </a:pPr>
            <a:r>
              <a:rPr lang="en-US" dirty="0"/>
              <a:t>(16) The promotion of innovation and technological development in the Union </a:t>
            </a:r>
            <a:r>
              <a:rPr lang="en-US" dirty="0" err="1"/>
              <a:t>defence</a:t>
            </a:r>
            <a:r>
              <a:rPr lang="en-US" dirty="0"/>
              <a:t> industry should take place in a manner coherent with the security interests of the Union. Accordingly, the action's contribution to those interests and to the </a:t>
            </a:r>
            <a:r>
              <a:rPr lang="en-US" dirty="0" err="1"/>
              <a:t>defence</a:t>
            </a:r>
            <a:r>
              <a:rPr lang="en-US" dirty="0"/>
              <a:t> capability priorities commonly agreed by Member States should serve as an award criterion. Within the Union, common </a:t>
            </a:r>
            <a:r>
              <a:rPr lang="en-US" dirty="0" err="1"/>
              <a:t>defence</a:t>
            </a:r>
            <a:r>
              <a:rPr lang="en-US" dirty="0"/>
              <a:t> capability priorities are identified notably through the Capability Development Plan. Other Union processes such as the Coordinated Annual Review on </a:t>
            </a:r>
            <a:r>
              <a:rPr lang="en-US" dirty="0" err="1"/>
              <a:t>Defence</a:t>
            </a:r>
            <a:r>
              <a:rPr lang="en-US" dirty="0"/>
              <a:t> (CARD) and the Permanent Structured Cooperation will support the implementation of relevant priorities through enhanced cooperation. </a:t>
            </a:r>
            <a:r>
              <a:rPr lang="en-US" sz="4000" b="1" dirty="0">
                <a:solidFill>
                  <a:srgbClr val="FFC000"/>
                </a:solidFill>
              </a:rPr>
              <a:t>Where appropriate regional or international cooperative initiatives, such as in the NATO context, and serving the Union security and </a:t>
            </a:r>
            <a:r>
              <a:rPr lang="en-US" sz="4000" b="1" dirty="0" err="1">
                <a:solidFill>
                  <a:srgbClr val="FFC000"/>
                </a:solidFill>
              </a:rPr>
              <a:t>defence</a:t>
            </a:r>
            <a:r>
              <a:rPr lang="en-US" sz="4000" b="1" dirty="0">
                <a:solidFill>
                  <a:srgbClr val="FFC000"/>
                </a:solidFill>
              </a:rPr>
              <a:t> interest, may also be taken into account. </a:t>
            </a:r>
          </a:p>
        </p:txBody>
      </p:sp>
      <p:pic>
        <p:nvPicPr>
          <p:cNvPr id="135172" name="Picture 2">
            <a:extLst>
              <a:ext uri="{FF2B5EF4-FFF2-40B4-BE49-F238E27FC236}">
                <a16:creationId xmlns:a16="http://schemas.microsoft.com/office/drawing/2014/main" id="{8E3DD344-E6B3-44F9-8188-2C2E377AB48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467600" y="76201"/>
            <a:ext cx="1752600" cy="1216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335310-7FF3-4D9A-A42C-5E1E53422EB4}"/>
              </a:ext>
            </a:extLst>
          </p:cNvPr>
          <p:cNvSpPr>
            <a:spLocks noGrp="1"/>
          </p:cNvSpPr>
          <p:nvPr>
            <p:ph type="title"/>
          </p:nvPr>
        </p:nvSpPr>
        <p:spPr/>
        <p:txBody>
          <a:bodyPr/>
          <a:lstStyle/>
          <a:p>
            <a:r>
              <a:rPr lang="en-US" dirty="0"/>
              <a:t>U.S. Response:  June 2019</a:t>
            </a:r>
          </a:p>
        </p:txBody>
      </p:sp>
      <p:pic>
        <p:nvPicPr>
          <p:cNvPr id="4" name="Picture 3">
            <a:extLst>
              <a:ext uri="{FF2B5EF4-FFF2-40B4-BE49-F238E27FC236}">
                <a16:creationId xmlns:a16="http://schemas.microsoft.com/office/drawing/2014/main" id="{D15D0454-62FC-40E2-9762-479FE6E7B5A9}"/>
              </a:ext>
            </a:extLst>
          </p:cNvPr>
          <p:cNvPicPr>
            <a:picLocks noChangeAspect="1"/>
          </p:cNvPicPr>
          <p:nvPr/>
        </p:nvPicPr>
        <p:blipFill>
          <a:blip r:embed="rId2"/>
          <a:stretch>
            <a:fillRect/>
          </a:stretch>
        </p:blipFill>
        <p:spPr>
          <a:xfrm>
            <a:off x="2362201" y="1417638"/>
            <a:ext cx="5100667" cy="5223966"/>
          </a:xfrm>
          <a:prstGeom prst="rect">
            <a:avLst/>
          </a:prstGeom>
        </p:spPr>
      </p:pic>
    </p:spTree>
    <p:extLst>
      <p:ext uri="{BB962C8B-B14F-4D97-AF65-F5344CB8AC3E}">
        <p14:creationId xmlns:p14="http://schemas.microsoft.com/office/powerpoint/2010/main" val="280003598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9FDF2F-B940-4F67-9688-8FC293E0A4F2}"/>
              </a:ext>
            </a:extLst>
          </p:cNvPr>
          <p:cNvSpPr>
            <a:spLocks noGrp="1"/>
          </p:cNvSpPr>
          <p:nvPr>
            <p:ph type="title"/>
          </p:nvPr>
        </p:nvSpPr>
        <p:spPr/>
        <p:txBody>
          <a:bodyPr/>
          <a:lstStyle/>
          <a:p>
            <a:r>
              <a:rPr lang="en-US" dirty="0"/>
              <a:t>Anti-Corruption</a:t>
            </a:r>
          </a:p>
        </p:txBody>
      </p:sp>
      <p:sp>
        <p:nvSpPr>
          <p:cNvPr id="3" name="Text Placeholder 2">
            <a:extLst>
              <a:ext uri="{FF2B5EF4-FFF2-40B4-BE49-F238E27FC236}">
                <a16:creationId xmlns:a16="http://schemas.microsoft.com/office/drawing/2014/main" id="{9756F887-E77A-4F61-A49C-DCBF0BFC3D9A}"/>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271992461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Title 1">
            <a:extLst>
              <a:ext uri="{FF2B5EF4-FFF2-40B4-BE49-F238E27FC236}">
                <a16:creationId xmlns:a16="http://schemas.microsoft.com/office/drawing/2014/main" id="{AD20BE54-1B18-4460-A91E-5793C11316A7}"/>
              </a:ext>
            </a:extLst>
          </p:cNvPr>
          <p:cNvSpPr>
            <a:spLocks noGrp="1"/>
          </p:cNvSpPr>
          <p:nvPr>
            <p:ph type="title"/>
          </p:nvPr>
        </p:nvSpPr>
        <p:spPr/>
        <p:txBody>
          <a:bodyPr/>
          <a:lstStyle/>
          <a:p>
            <a:r>
              <a:rPr lang="en-US" altLang="en-US"/>
              <a:t>Risks of Corruption</a:t>
            </a:r>
          </a:p>
        </p:txBody>
      </p:sp>
      <p:graphicFrame>
        <p:nvGraphicFramePr>
          <p:cNvPr id="4" name="Content Placeholder 3">
            <a:extLst>
              <a:ext uri="{FF2B5EF4-FFF2-40B4-BE49-F238E27FC236}">
                <a16:creationId xmlns:a16="http://schemas.microsoft.com/office/drawing/2014/main" id="{26D13B42-D63F-4D71-8A72-5C6D24AE47A1}"/>
              </a:ext>
            </a:extLst>
          </p:cNvPr>
          <p:cNvGraphicFramePr>
            <a:graphicFrameLocks noGrp="1"/>
          </p:cNvGraphicFramePr>
          <p:nvPr>
            <p:ph idx="1"/>
          </p:nvPr>
        </p:nvGraphicFramePr>
        <p:xfrm>
          <a:off x="1981200" y="1600201"/>
          <a:ext cx="8229600" cy="452596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cSld>
  <p:clrMapOvr>
    <a:masterClrMapping/>
  </p:clrMapOvr>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22" name="Picture 6">
            <a:extLst>
              <a:ext uri="{FF2B5EF4-FFF2-40B4-BE49-F238E27FC236}">
                <a16:creationId xmlns:a16="http://schemas.microsoft.com/office/drawing/2014/main" id="{5F543F3A-6E32-4DFA-B0E3-BBB336F13E8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2400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123" name="Picture 8">
            <a:extLst>
              <a:ext uri="{FF2B5EF4-FFF2-40B4-BE49-F238E27FC236}">
                <a16:creationId xmlns:a16="http://schemas.microsoft.com/office/drawing/2014/main" id="{C98F6DCE-C105-4C53-850B-E429C2DAB05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858126" y="2305050"/>
            <a:ext cx="2809875" cy="3486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Content Placeholder 2">
            <a:extLst>
              <a:ext uri="{FF2B5EF4-FFF2-40B4-BE49-F238E27FC236}">
                <a16:creationId xmlns:a16="http://schemas.microsoft.com/office/drawing/2014/main" id="{4128956C-2DB3-44B7-A718-216E37E8F8AE}"/>
              </a:ext>
            </a:extLst>
          </p:cNvPr>
          <p:cNvSpPr>
            <a:spLocks noGrp="1"/>
          </p:cNvSpPr>
          <p:nvPr>
            <p:ph idx="1"/>
          </p:nvPr>
        </p:nvSpPr>
        <p:spPr>
          <a:xfrm>
            <a:off x="1981200" y="381000"/>
            <a:ext cx="8229600" cy="1828800"/>
          </a:xfrm>
        </p:spPr>
        <p:txBody>
          <a:bodyPr/>
          <a:lstStyle/>
          <a:p>
            <a:r>
              <a:rPr lang="en-US" altLang="en-US"/>
              <a:t>Public corruption occurs when an office-holder or other governmental employee acts in an official capacity for personal gain.</a:t>
            </a:r>
          </a:p>
        </p:txBody>
      </p:sp>
      <p:sp>
        <p:nvSpPr>
          <p:cNvPr id="4" name="Footer Placeholder 3">
            <a:extLst>
              <a:ext uri="{FF2B5EF4-FFF2-40B4-BE49-F238E27FC236}">
                <a16:creationId xmlns:a16="http://schemas.microsoft.com/office/drawing/2014/main" id="{F603F639-32AD-4B0F-92A9-68FFC61AE8E6}"/>
              </a:ext>
            </a:extLst>
          </p:cNvPr>
          <p:cNvSpPr>
            <a:spLocks noGrp="1"/>
          </p:cNvSpPr>
          <p:nvPr>
            <p:ph type="ftr" sz="quarter" idx="11"/>
          </p:nvPr>
        </p:nvSpPr>
        <p:spPr/>
        <p:txBody>
          <a:bodyPr/>
          <a:lstStyle/>
          <a:p>
            <a:pPr>
              <a:defRPr/>
            </a:pPr>
            <a:endParaRPr lang="en-US">
              <a:solidFill>
                <a:prstClr val="white">
                  <a:tint val="75000"/>
                </a:prstClr>
              </a:solidFill>
              <a:latin typeface="Calibri"/>
            </a:endParaRPr>
          </a:p>
        </p:txBody>
      </p:sp>
      <p:sp>
        <p:nvSpPr>
          <p:cNvPr id="6148" name="Oval 4">
            <a:extLst>
              <a:ext uri="{FF2B5EF4-FFF2-40B4-BE49-F238E27FC236}">
                <a16:creationId xmlns:a16="http://schemas.microsoft.com/office/drawing/2014/main" id="{E9EE2317-58E1-4195-9C86-5675964AAC19}"/>
              </a:ext>
            </a:extLst>
          </p:cNvPr>
          <p:cNvSpPr>
            <a:spLocks noChangeArrowheads="1"/>
          </p:cNvSpPr>
          <p:nvPr/>
        </p:nvSpPr>
        <p:spPr bwMode="auto">
          <a:xfrm>
            <a:off x="1524000" y="3962400"/>
            <a:ext cx="2133600" cy="914400"/>
          </a:xfrm>
          <a:prstGeom prst="ellipse">
            <a:avLst/>
          </a:prstGeom>
          <a:solidFill>
            <a:srgbClr val="FF6600"/>
          </a:solidFill>
          <a:ln w="9525">
            <a:solidFill>
              <a:schemeClr val="tx1"/>
            </a:solidFill>
            <a:round/>
            <a:headEnd/>
            <a:tailEnd/>
          </a:ln>
        </p:spPr>
        <p:txBody>
          <a:bodyPr wrap="none"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algn="ctr" fontAlgn="base">
              <a:spcBef>
                <a:spcPct val="0"/>
              </a:spcBef>
              <a:spcAft>
                <a:spcPct val="0"/>
              </a:spcAft>
            </a:pPr>
            <a:r>
              <a:rPr lang="en-US" altLang="en-US" sz="2800" b="1">
                <a:solidFill>
                  <a:prstClr val="white"/>
                </a:solidFill>
                <a:cs typeface="Arial" panose="020B0604020202020204" pitchFamily="34" charset="0"/>
              </a:rPr>
              <a:t>Principal</a:t>
            </a:r>
          </a:p>
        </p:txBody>
      </p:sp>
      <p:sp>
        <p:nvSpPr>
          <p:cNvPr id="6149" name="Oval 5">
            <a:extLst>
              <a:ext uri="{FF2B5EF4-FFF2-40B4-BE49-F238E27FC236}">
                <a16:creationId xmlns:a16="http://schemas.microsoft.com/office/drawing/2014/main" id="{15DC6804-A408-4EBB-B3F9-45F38FF4555C}"/>
              </a:ext>
            </a:extLst>
          </p:cNvPr>
          <p:cNvSpPr>
            <a:spLocks noChangeArrowheads="1"/>
          </p:cNvSpPr>
          <p:nvPr/>
        </p:nvSpPr>
        <p:spPr bwMode="auto">
          <a:xfrm>
            <a:off x="3657600" y="3810000"/>
            <a:ext cx="1981200" cy="1066800"/>
          </a:xfrm>
          <a:prstGeom prst="ellipse">
            <a:avLst/>
          </a:prstGeom>
          <a:solidFill>
            <a:schemeClr val="accent1"/>
          </a:solidFill>
          <a:ln w="9525">
            <a:solidFill>
              <a:schemeClr val="tx1"/>
            </a:solidFill>
            <a:round/>
            <a:headEnd/>
            <a:tailEnd/>
          </a:ln>
        </p:spPr>
        <p:txBody>
          <a:bodyPr wrap="none"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algn="ctr" fontAlgn="base">
              <a:spcBef>
                <a:spcPct val="0"/>
              </a:spcBef>
              <a:spcAft>
                <a:spcPct val="0"/>
              </a:spcAft>
            </a:pPr>
            <a:r>
              <a:rPr lang="en-US" altLang="en-US" sz="3200" b="1">
                <a:solidFill>
                  <a:prstClr val="white"/>
                </a:solidFill>
                <a:cs typeface="Arial" panose="020B0604020202020204" pitchFamily="34" charset="0"/>
              </a:rPr>
              <a:t>Agent 1</a:t>
            </a:r>
          </a:p>
          <a:p>
            <a:pPr algn="ctr" fontAlgn="base">
              <a:spcBef>
                <a:spcPct val="0"/>
              </a:spcBef>
              <a:spcAft>
                <a:spcPct val="0"/>
              </a:spcAft>
            </a:pPr>
            <a:r>
              <a:rPr lang="en-US" altLang="en-US" sz="3200" b="1">
                <a:solidFill>
                  <a:prstClr val="white"/>
                </a:solidFill>
                <a:cs typeface="Arial" panose="020B0604020202020204" pitchFamily="34" charset="0"/>
              </a:rPr>
              <a:t>CO</a:t>
            </a:r>
          </a:p>
        </p:txBody>
      </p:sp>
      <p:sp>
        <p:nvSpPr>
          <p:cNvPr id="6150" name="Rectangle 6">
            <a:extLst>
              <a:ext uri="{FF2B5EF4-FFF2-40B4-BE49-F238E27FC236}">
                <a16:creationId xmlns:a16="http://schemas.microsoft.com/office/drawing/2014/main" id="{9BF2CE98-7393-4D9F-B8DA-A756D619C207}"/>
              </a:ext>
            </a:extLst>
          </p:cNvPr>
          <p:cNvSpPr>
            <a:spLocks noChangeArrowheads="1"/>
          </p:cNvSpPr>
          <p:nvPr/>
        </p:nvSpPr>
        <p:spPr bwMode="auto">
          <a:xfrm>
            <a:off x="8382000" y="3810000"/>
            <a:ext cx="1981200" cy="1219200"/>
          </a:xfrm>
          <a:prstGeom prst="rect">
            <a:avLst/>
          </a:prstGeom>
          <a:solidFill>
            <a:srgbClr val="006600"/>
          </a:solidFill>
          <a:ln w="9525">
            <a:solidFill>
              <a:schemeClr val="tx1"/>
            </a:solidFill>
            <a:miter lim="800000"/>
            <a:headEnd/>
            <a:tailEnd/>
          </a:ln>
        </p:spPr>
        <p:txBody>
          <a:bodyPr wrap="none"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algn="ctr" fontAlgn="base">
              <a:spcBef>
                <a:spcPct val="0"/>
              </a:spcBef>
              <a:spcAft>
                <a:spcPct val="0"/>
              </a:spcAft>
            </a:pPr>
            <a:r>
              <a:rPr lang="en-US" altLang="en-US" sz="2800" b="1">
                <a:solidFill>
                  <a:prstClr val="white"/>
                </a:solidFill>
                <a:cs typeface="Arial" panose="020B0604020202020204" pitchFamily="34" charset="0"/>
              </a:rPr>
              <a:t>Purchase</a:t>
            </a:r>
          </a:p>
        </p:txBody>
      </p:sp>
      <p:sp>
        <p:nvSpPr>
          <p:cNvPr id="6151" name="Line 7">
            <a:extLst>
              <a:ext uri="{FF2B5EF4-FFF2-40B4-BE49-F238E27FC236}">
                <a16:creationId xmlns:a16="http://schemas.microsoft.com/office/drawing/2014/main" id="{069BD38E-A33C-4011-9891-02025296157A}"/>
              </a:ext>
            </a:extLst>
          </p:cNvPr>
          <p:cNvSpPr>
            <a:spLocks noChangeShapeType="1"/>
          </p:cNvSpPr>
          <p:nvPr/>
        </p:nvSpPr>
        <p:spPr bwMode="auto">
          <a:xfrm>
            <a:off x="3581400" y="4419600"/>
            <a:ext cx="685800" cy="0"/>
          </a:xfrm>
          <a:prstGeom prst="line">
            <a:avLst/>
          </a:prstGeom>
          <a:noFill/>
          <a:ln w="9525">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pPr fontAlgn="base">
              <a:spcBef>
                <a:spcPct val="0"/>
              </a:spcBef>
              <a:spcAft>
                <a:spcPct val="0"/>
              </a:spcAft>
            </a:pPr>
            <a:endParaRPr lang="en-US">
              <a:solidFill>
                <a:prstClr val="white"/>
              </a:solidFill>
              <a:latin typeface="Calibri" panose="020F0502020204030204" pitchFamily="34" charset="0"/>
              <a:cs typeface="Arial" panose="020B0604020202020204" pitchFamily="34" charset="0"/>
            </a:endParaRPr>
          </a:p>
        </p:txBody>
      </p:sp>
      <p:sp>
        <p:nvSpPr>
          <p:cNvPr id="6152" name="Line 8">
            <a:extLst>
              <a:ext uri="{FF2B5EF4-FFF2-40B4-BE49-F238E27FC236}">
                <a16:creationId xmlns:a16="http://schemas.microsoft.com/office/drawing/2014/main" id="{5A7B42A8-B027-4F93-BB7A-F22FD2AE5DFE}"/>
              </a:ext>
            </a:extLst>
          </p:cNvPr>
          <p:cNvSpPr>
            <a:spLocks noChangeShapeType="1"/>
          </p:cNvSpPr>
          <p:nvPr/>
        </p:nvSpPr>
        <p:spPr bwMode="auto">
          <a:xfrm>
            <a:off x="7391400" y="4267200"/>
            <a:ext cx="990600" cy="0"/>
          </a:xfrm>
          <a:prstGeom prst="line">
            <a:avLst/>
          </a:prstGeom>
          <a:noFill/>
          <a:ln w="9525">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pPr fontAlgn="base">
              <a:spcBef>
                <a:spcPct val="0"/>
              </a:spcBef>
              <a:spcAft>
                <a:spcPct val="0"/>
              </a:spcAft>
            </a:pPr>
            <a:endParaRPr lang="en-US">
              <a:solidFill>
                <a:prstClr val="white"/>
              </a:solidFill>
              <a:latin typeface="Calibri" panose="020F0502020204030204" pitchFamily="34" charset="0"/>
              <a:cs typeface="Arial" panose="020B0604020202020204" pitchFamily="34" charset="0"/>
            </a:endParaRPr>
          </a:p>
        </p:txBody>
      </p:sp>
      <p:sp>
        <p:nvSpPr>
          <p:cNvPr id="6153" name="Curved Down Arrow 10">
            <a:extLst>
              <a:ext uri="{FF2B5EF4-FFF2-40B4-BE49-F238E27FC236}">
                <a16:creationId xmlns:a16="http://schemas.microsoft.com/office/drawing/2014/main" id="{FFF69B2E-D198-4729-985B-6D2ED9CBA881}"/>
              </a:ext>
            </a:extLst>
          </p:cNvPr>
          <p:cNvSpPr>
            <a:spLocks noChangeArrowheads="1"/>
          </p:cNvSpPr>
          <p:nvPr/>
        </p:nvSpPr>
        <p:spPr bwMode="auto">
          <a:xfrm>
            <a:off x="2590800" y="2590800"/>
            <a:ext cx="3200400" cy="1143000"/>
          </a:xfrm>
          <a:prstGeom prst="curvedDownArrow">
            <a:avLst>
              <a:gd name="adj1" fmla="val 25006"/>
              <a:gd name="adj2" fmla="val 49998"/>
              <a:gd name="adj3" fmla="val 25000"/>
            </a:avLst>
          </a:prstGeom>
          <a:solidFill>
            <a:schemeClr val="accent1"/>
          </a:solidFill>
          <a:ln w="9525" algn="ctr">
            <a:solidFill>
              <a:schemeClr val="tx1"/>
            </a:solidFill>
            <a:round/>
            <a:headEnd/>
            <a:tailEnd/>
          </a:ln>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endParaRPr lang="en-US" altLang="en-US">
              <a:solidFill>
                <a:prstClr val="white"/>
              </a:solidFill>
              <a:cs typeface="Arial" panose="020B0604020202020204" pitchFamily="34" charset="0"/>
            </a:endParaRPr>
          </a:p>
        </p:txBody>
      </p:sp>
      <p:sp>
        <p:nvSpPr>
          <p:cNvPr id="6154" name="Curved Up Arrow 11">
            <a:extLst>
              <a:ext uri="{FF2B5EF4-FFF2-40B4-BE49-F238E27FC236}">
                <a16:creationId xmlns:a16="http://schemas.microsoft.com/office/drawing/2014/main" id="{5BA2D252-C5C2-4B0D-961E-88D82FB26E71}"/>
              </a:ext>
            </a:extLst>
          </p:cNvPr>
          <p:cNvSpPr>
            <a:spLocks noChangeArrowheads="1"/>
          </p:cNvSpPr>
          <p:nvPr/>
        </p:nvSpPr>
        <p:spPr bwMode="auto">
          <a:xfrm>
            <a:off x="2743200" y="4953000"/>
            <a:ext cx="2819400" cy="1219200"/>
          </a:xfrm>
          <a:prstGeom prst="curvedUpArrow">
            <a:avLst>
              <a:gd name="adj1" fmla="val 25009"/>
              <a:gd name="adj2" fmla="val 49997"/>
              <a:gd name="adj3" fmla="val 25000"/>
            </a:avLst>
          </a:prstGeom>
          <a:solidFill>
            <a:schemeClr val="accent1"/>
          </a:solidFill>
          <a:ln w="9525" algn="ctr">
            <a:solidFill>
              <a:schemeClr val="tx1"/>
            </a:solidFill>
            <a:round/>
            <a:headEnd/>
            <a:tailEnd/>
          </a:ln>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endParaRPr lang="en-US" altLang="en-US">
              <a:solidFill>
                <a:prstClr val="white"/>
              </a:solidFill>
              <a:cs typeface="Arial" panose="020B0604020202020204" pitchFamily="34" charset="0"/>
            </a:endParaRPr>
          </a:p>
        </p:txBody>
      </p:sp>
      <p:sp>
        <p:nvSpPr>
          <p:cNvPr id="6155" name="TextBox 12">
            <a:extLst>
              <a:ext uri="{FF2B5EF4-FFF2-40B4-BE49-F238E27FC236}">
                <a16:creationId xmlns:a16="http://schemas.microsoft.com/office/drawing/2014/main" id="{1E133413-A172-47E6-B281-2D906F5FA3B6}"/>
              </a:ext>
            </a:extLst>
          </p:cNvPr>
          <p:cNvSpPr txBox="1">
            <a:spLocks noChangeArrowheads="1"/>
          </p:cNvSpPr>
          <p:nvPr/>
        </p:nvSpPr>
        <p:spPr bwMode="auto">
          <a:xfrm>
            <a:off x="1828800" y="2514601"/>
            <a:ext cx="2514600"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r>
              <a:rPr lang="en-US" altLang="en-US" sz="2400" b="1">
                <a:solidFill>
                  <a:prstClr val="white"/>
                </a:solidFill>
                <a:cs typeface="Arial" panose="020B0604020202020204" pitchFamily="34" charset="0"/>
              </a:rPr>
              <a:t>MONITORING</a:t>
            </a:r>
          </a:p>
        </p:txBody>
      </p:sp>
      <p:sp>
        <p:nvSpPr>
          <p:cNvPr id="6156" name="TextBox 13">
            <a:extLst>
              <a:ext uri="{FF2B5EF4-FFF2-40B4-BE49-F238E27FC236}">
                <a16:creationId xmlns:a16="http://schemas.microsoft.com/office/drawing/2014/main" id="{0A919B3A-FDB7-4DC6-AD70-B1B31C0C73CF}"/>
              </a:ext>
            </a:extLst>
          </p:cNvPr>
          <p:cNvSpPr txBox="1">
            <a:spLocks noChangeArrowheads="1"/>
          </p:cNvSpPr>
          <p:nvPr/>
        </p:nvSpPr>
        <p:spPr bwMode="auto">
          <a:xfrm>
            <a:off x="2438400" y="5562601"/>
            <a:ext cx="2514600" cy="830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r>
              <a:rPr lang="en-US" altLang="en-US" sz="2400" b="1">
                <a:solidFill>
                  <a:prstClr val="white"/>
                </a:solidFill>
                <a:cs typeface="Arial" panose="020B0604020202020204" pitchFamily="34" charset="0"/>
              </a:rPr>
              <a:t>BONDING (PUNISHING)</a:t>
            </a:r>
          </a:p>
        </p:txBody>
      </p:sp>
      <p:cxnSp>
        <p:nvCxnSpPr>
          <p:cNvPr id="6157" name="Straight Arrow Connector 15">
            <a:extLst>
              <a:ext uri="{FF2B5EF4-FFF2-40B4-BE49-F238E27FC236}">
                <a16:creationId xmlns:a16="http://schemas.microsoft.com/office/drawing/2014/main" id="{065890A2-5312-41F0-A66C-5A6F060DE6F3}"/>
              </a:ext>
            </a:extLst>
          </p:cNvPr>
          <p:cNvCxnSpPr>
            <a:cxnSpLocks noChangeShapeType="1"/>
          </p:cNvCxnSpPr>
          <p:nvPr/>
        </p:nvCxnSpPr>
        <p:spPr bwMode="auto">
          <a:xfrm flipV="1">
            <a:off x="5410200" y="3352800"/>
            <a:ext cx="1219200" cy="609600"/>
          </a:xfrm>
          <a:prstGeom prst="straightConnector1">
            <a:avLst/>
          </a:prstGeom>
          <a:noFill/>
          <a:ln w="127000" algn="ctr">
            <a:solidFill>
              <a:srgbClr val="FF0000"/>
            </a:solidFill>
            <a:prstDash val="sysDot"/>
            <a:round/>
            <a:headEnd/>
            <a:tailEnd type="arrow" w="med" len="med"/>
          </a:ln>
          <a:extLst>
            <a:ext uri="{909E8E84-426E-40DD-AFC4-6F175D3DCCD1}">
              <a14:hiddenFill xmlns:a14="http://schemas.microsoft.com/office/drawing/2010/main">
                <a:noFill/>
              </a14:hiddenFill>
            </a:ext>
          </a:extLst>
        </p:spPr>
      </p:cxnSp>
      <p:sp>
        <p:nvSpPr>
          <p:cNvPr id="6158" name="Oval 5">
            <a:extLst>
              <a:ext uri="{FF2B5EF4-FFF2-40B4-BE49-F238E27FC236}">
                <a16:creationId xmlns:a16="http://schemas.microsoft.com/office/drawing/2014/main" id="{CD0458EC-DD6A-466E-8955-FB085C4CDFF9}"/>
              </a:ext>
            </a:extLst>
          </p:cNvPr>
          <p:cNvSpPr>
            <a:spLocks noChangeArrowheads="1"/>
          </p:cNvSpPr>
          <p:nvPr/>
        </p:nvSpPr>
        <p:spPr bwMode="auto">
          <a:xfrm>
            <a:off x="5791200" y="3733800"/>
            <a:ext cx="1981200" cy="1066800"/>
          </a:xfrm>
          <a:prstGeom prst="ellipse">
            <a:avLst/>
          </a:prstGeom>
          <a:solidFill>
            <a:schemeClr val="accent1"/>
          </a:solidFill>
          <a:ln w="9525">
            <a:solidFill>
              <a:schemeClr val="tx1"/>
            </a:solidFill>
            <a:round/>
            <a:headEnd/>
            <a:tailEnd/>
          </a:ln>
        </p:spPr>
        <p:txBody>
          <a:bodyPr wrap="none"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algn="ctr" fontAlgn="base">
              <a:spcBef>
                <a:spcPct val="0"/>
              </a:spcBef>
              <a:spcAft>
                <a:spcPct val="0"/>
              </a:spcAft>
            </a:pPr>
            <a:r>
              <a:rPr lang="en-US" altLang="en-US" sz="3200" b="1">
                <a:solidFill>
                  <a:prstClr val="white"/>
                </a:solidFill>
                <a:cs typeface="Arial" panose="020B0604020202020204" pitchFamily="34" charset="0"/>
              </a:rPr>
              <a:t>Agent 2</a:t>
            </a:r>
          </a:p>
          <a:p>
            <a:pPr algn="ctr" fontAlgn="base">
              <a:spcBef>
                <a:spcPct val="0"/>
              </a:spcBef>
              <a:spcAft>
                <a:spcPct val="0"/>
              </a:spcAft>
            </a:pPr>
            <a:r>
              <a:rPr lang="en-US" altLang="en-US" sz="2400" b="1">
                <a:solidFill>
                  <a:prstClr val="white"/>
                </a:solidFill>
                <a:cs typeface="Arial" panose="020B0604020202020204" pitchFamily="34" charset="0"/>
              </a:rPr>
              <a:t>Contractor</a:t>
            </a:r>
          </a:p>
        </p:txBody>
      </p:sp>
      <p:cxnSp>
        <p:nvCxnSpPr>
          <p:cNvPr id="6159" name="Straight Arrow Connector 15">
            <a:extLst>
              <a:ext uri="{FF2B5EF4-FFF2-40B4-BE49-F238E27FC236}">
                <a16:creationId xmlns:a16="http://schemas.microsoft.com/office/drawing/2014/main" id="{04B2C2D5-E53B-4C52-96F6-63378F805C1C}"/>
              </a:ext>
            </a:extLst>
          </p:cNvPr>
          <p:cNvCxnSpPr>
            <a:cxnSpLocks noChangeShapeType="1"/>
          </p:cNvCxnSpPr>
          <p:nvPr/>
        </p:nvCxnSpPr>
        <p:spPr bwMode="auto">
          <a:xfrm flipV="1">
            <a:off x="7315200" y="3200400"/>
            <a:ext cx="1219200" cy="609600"/>
          </a:xfrm>
          <a:prstGeom prst="straightConnector1">
            <a:avLst/>
          </a:prstGeom>
          <a:noFill/>
          <a:ln w="127000" algn="ctr">
            <a:solidFill>
              <a:srgbClr val="FF0000"/>
            </a:solidFill>
            <a:prstDash val="sysDot"/>
            <a:round/>
            <a:headEnd/>
            <a:tailEnd type="arrow" w="med" len="med"/>
          </a:ln>
          <a:extLst>
            <a:ext uri="{909E8E84-426E-40DD-AFC4-6F175D3DCCD1}">
              <a14:hiddenFill xmlns:a14="http://schemas.microsoft.com/office/drawing/2010/main">
                <a:noFill/>
              </a14:hiddenFill>
            </a:ext>
          </a:extLst>
        </p:spPr>
      </p:cxnSp>
    </p:spTree>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Title 3">
            <a:extLst>
              <a:ext uri="{FF2B5EF4-FFF2-40B4-BE49-F238E27FC236}">
                <a16:creationId xmlns:a16="http://schemas.microsoft.com/office/drawing/2014/main" id="{A123C6AD-0F68-4A8A-AECC-0BD0CAE0F315}"/>
              </a:ext>
            </a:extLst>
          </p:cNvPr>
          <p:cNvSpPr>
            <a:spLocks noGrp="1"/>
          </p:cNvSpPr>
          <p:nvPr>
            <p:ph type="title"/>
          </p:nvPr>
        </p:nvSpPr>
        <p:spPr>
          <a:solidFill>
            <a:schemeClr val="accent1">
              <a:lumMod val="10000"/>
              <a:lumOff val="90000"/>
            </a:schemeClr>
          </a:solidFill>
        </p:spPr>
        <p:txBody>
          <a:bodyPr rtlCol="0" anchor="t">
            <a:normAutofit/>
          </a:bodyPr>
          <a:lstStyle/>
          <a:p>
            <a:pPr algn="l" defTabSz="1219170" fontAlgn="auto">
              <a:spcAft>
                <a:spcPts val="0"/>
              </a:spcAft>
              <a:defRPr/>
            </a:pPr>
            <a:r>
              <a:rPr lang="en-US" altLang="en-US" sz="5867" dirty="0">
                <a:solidFill>
                  <a:schemeClr val="bg1"/>
                </a:solidFill>
              </a:rPr>
              <a:t>Processes</a:t>
            </a:r>
          </a:p>
        </p:txBody>
      </p:sp>
      <p:pic>
        <p:nvPicPr>
          <p:cNvPr id="7171" name="Picture 2">
            <a:extLst>
              <a:ext uri="{FF2B5EF4-FFF2-40B4-BE49-F238E27FC236}">
                <a16:creationId xmlns:a16="http://schemas.microsoft.com/office/drawing/2014/main" id="{62DA9FDB-DC1F-43A5-9B52-65F066FDA1A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324226" y="2406651"/>
            <a:ext cx="5114925" cy="2657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6">
            <a:extLst>
              <a:ext uri="{FF2B5EF4-FFF2-40B4-BE49-F238E27FC236}">
                <a16:creationId xmlns:a16="http://schemas.microsoft.com/office/drawing/2014/main" id="{6548F610-20A4-4B96-B6DC-F27153FA3748}"/>
              </a:ext>
            </a:extLst>
          </p:cNvPr>
          <p:cNvSpPr/>
          <p:nvPr/>
        </p:nvSpPr>
        <p:spPr>
          <a:xfrm>
            <a:off x="2308226" y="2613025"/>
            <a:ext cx="1247775" cy="914400"/>
          </a:xfrm>
          <a:prstGeom prst="rect">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dirty="0">
                <a:solidFill>
                  <a:prstClr val="white"/>
                </a:solidFill>
                <a:latin typeface="Calibri"/>
              </a:rPr>
              <a:t>Planning</a:t>
            </a:r>
          </a:p>
        </p:txBody>
      </p:sp>
      <p:sp>
        <p:nvSpPr>
          <p:cNvPr id="8" name="Rectangle 7">
            <a:extLst>
              <a:ext uri="{FF2B5EF4-FFF2-40B4-BE49-F238E27FC236}">
                <a16:creationId xmlns:a16="http://schemas.microsoft.com/office/drawing/2014/main" id="{5EFBCA51-A51F-454C-BF75-2B777694CE08}"/>
              </a:ext>
            </a:extLst>
          </p:cNvPr>
          <p:cNvSpPr/>
          <p:nvPr/>
        </p:nvSpPr>
        <p:spPr>
          <a:xfrm>
            <a:off x="7046913" y="4041775"/>
            <a:ext cx="914400" cy="914400"/>
          </a:xfrm>
          <a:prstGeom prst="rect">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dirty="0">
                <a:solidFill>
                  <a:prstClr val="white"/>
                </a:solidFill>
                <a:latin typeface="Calibri"/>
              </a:rPr>
              <a:t>Cost </a:t>
            </a:r>
            <a:r>
              <a:rPr lang="en-US" dirty="0" err="1">
                <a:solidFill>
                  <a:prstClr val="white"/>
                </a:solidFill>
                <a:latin typeface="Calibri"/>
              </a:rPr>
              <a:t>Reimb</a:t>
            </a:r>
            <a:r>
              <a:rPr lang="en-US" dirty="0">
                <a:solidFill>
                  <a:prstClr val="white"/>
                </a:solidFill>
                <a:latin typeface="Calibri"/>
              </a:rPr>
              <a:t>.</a:t>
            </a:r>
          </a:p>
        </p:txBody>
      </p:sp>
      <p:sp>
        <p:nvSpPr>
          <p:cNvPr id="10" name="Rectangle 9">
            <a:extLst>
              <a:ext uri="{FF2B5EF4-FFF2-40B4-BE49-F238E27FC236}">
                <a16:creationId xmlns:a16="http://schemas.microsoft.com/office/drawing/2014/main" id="{3BFC2F1F-B253-4C71-A330-CF3DEB907833}"/>
              </a:ext>
            </a:extLst>
          </p:cNvPr>
          <p:cNvSpPr/>
          <p:nvPr/>
        </p:nvSpPr>
        <p:spPr>
          <a:xfrm>
            <a:off x="5311775" y="3976688"/>
            <a:ext cx="1466850" cy="914400"/>
          </a:xfrm>
          <a:prstGeom prst="rect">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dirty="0">
                <a:solidFill>
                  <a:prstClr val="white"/>
                </a:solidFill>
                <a:latin typeface="Calibri"/>
              </a:rPr>
              <a:t>Competition - Methods</a:t>
            </a:r>
          </a:p>
        </p:txBody>
      </p:sp>
      <p:sp>
        <p:nvSpPr>
          <p:cNvPr id="11" name="Rectangle 10">
            <a:extLst>
              <a:ext uri="{FF2B5EF4-FFF2-40B4-BE49-F238E27FC236}">
                <a16:creationId xmlns:a16="http://schemas.microsoft.com/office/drawing/2014/main" id="{F6EDFF56-720D-4B23-ACCE-D451300195F9}"/>
              </a:ext>
            </a:extLst>
          </p:cNvPr>
          <p:cNvSpPr/>
          <p:nvPr/>
        </p:nvSpPr>
        <p:spPr>
          <a:xfrm>
            <a:off x="4862513" y="1851025"/>
            <a:ext cx="1581150" cy="914400"/>
          </a:xfrm>
          <a:prstGeom prst="rect">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dirty="0">
                <a:solidFill>
                  <a:prstClr val="white"/>
                </a:solidFill>
                <a:latin typeface="Calibri"/>
              </a:rPr>
              <a:t>Qualification</a:t>
            </a:r>
          </a:p>
        </p:txBody>
      </p:sp>
      <p:sp>
        <p:nvSpPr>
          <p:cNvPr id="12" name="Rectangle 11">
            <a:extLst>
              <a:ext uri="{FF2B5EF4-FFF2-40B4-BE49-F238E27FC236}">
                <a16:creationId xmlns:a16="http://schemas.microsoft.com/office/drawing/2014/main" id="{743699F0-9793-47A7-B1A1-255ECD264628}"/>
              </a:ext>
            </a:extLst>
          </p:cNvPr>
          <p:cNvSpPr/>
          <p:nvPr/>
        </p:nvSpPr>
        <p:spPr>
          <a:xfrm>
            <a:off x="6626226" y="1865313"/>
            <a:ext cx="1865313" cy="914400"/>
          </a:xfrm>
          <a:prstGeom prst="rect">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dirty="0">
                <a:solidFill>
                  <a:prstClr val="white"/>
                </a:solidFill>
                <a:latin typeface="Calibri"/>
              </a:rPr>
              <a:t>Responsiveness</a:t>
            </a:r>
          </a:p>
        </p:txBody>
      </p:sp>
      <p:cxnSp>
        <p:nvCxnSpPr>
          <p:cNvPr id="15" name="Straight Connector 14">
            <a:extLst>
              <a:ext uri="{FF2B5EF4-FFF2-40B4-BE49-F238E27FC236}">
                <a16:creationId xmlns:a16="http://schemas.microsoft.com/office/drawing/2014/main" id="{C35C97D8-8463-4743-A7B4-10C01C0A1B6B}"/>
              </a:ext>
            </a:extLst>
          </p:cNvPr>
          <p:cNvCxnSpPr/>
          <p:nvPr/>
        </p:nvCxnSpPr>
        <p:spPr>
          <a:xfrm flipH="1">
            <a:off x="6632575" y="2801938"/>
            <a:ext cx="349250" cy="449262"/>
          </a:xfrm>
          <a:prstGeom prst="line">
            <a:avLst/>
          </a:prstGeom>
          <a:ln w="9207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60615114-C342-4B61-BAB2-BA59AF04C90F}"/>
              </a:ext>
            </a:extLst>
          </p:cNvPr>
          <p:cNvCxnSpPr/>
          <p:nvPr/>
        </p:nvCxnSpPr>
        <p:spPr>
          <a:xfrm>
            <a:off x="6096001" y="2771775"/>
            <a:ext cx="231775" cy="465138"/>
          </a:xfrm>
          <a:prstGeom prst="line">
            <a:avLst/>
          </a:prstGeom>
          <a:ln w="92075">
            <a:solidFill>
              <a:srgbClr val="C00000"/>
            </a:solidFill>
          </a:ln>
        </p:spPr>
        <p:style>
          <a:lnRef idx="1">
            <a:schemeClr val="accent1"/>
          </a:lnRef>
          <a:fillRef idx="0">
            <a:schemeClr val="accent1"/>
          </a:fillRef>
          <a:effectRef idx="0">
            <a:schemeClr val="accent1"/>
          </a:effectRef>
          <a:fontRef idx="minor">
            <a:schemeClr val="tx1"/>
          </a:fontRef>
        </p:style>
      </p:cxnSp>
      <p:sp>
        <p:nvSpPr>
          <p:cNvPr id="22" name="Rectangle 21">
            <a:extLst>
              <a:ext uri="{FF2B5EF4-FFF2-40B4-BE49-F238E27FC236}">
                <a16:creationId xmlns:a16="http://schemas.microsoft.com/office/drawing/2014/main" id="{6323EE77-6098-44DF-87D7-5C9AB158904D}"/>
              </a:ext>
            </a:extLst>
          </p:cNvPr>
          <p:cNvSpPr/>
          <p:nvPr/>
        </p:nvSpPr>
        <p:spPr>
          <a:xfrm>
            <a:off x="3157538" y="1582738"/>
            <a:ext cx="1581150" cy="914400"/>
          </a:xfrm>
          <a:prstGeom prst="rect">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dirty="0">
                <a:solidFill>
                  <a:prstClr val="white"/>
                </a:solidFill>
                <a:latin typeface="Calibri"/>
              </a:rPr>
              <a:t>Rules</a:t>
            </a:r>
          </a:p>
        </p:txBody>
      </p:sp>
      <p:sp>
        <p:nvSpPr>
          <p:cNvPr id="24" name="Rectangle 23">
            <a:extLst>
              <a:ext uri="{FF2B5EF4-FFF2-40B4-BE49-F238E27FC236}">
                <a16:creationId xmlns:a16="http://schemas.microsoft.com/office/drawing/2014/main" id="{3B193AED-EDD1-4C54-B42C-94AAFB9CD3C4}"/>
              </a:ext>
            </a:extLst>
          </p:cNvPr>
          <p:cNvSpPr/>
          <p:nvPr/>
        </p:nvSpPr>
        <p:spPr>
          <a:xfrm>
            <a:off x="8091489" y="4035425"/>
            <a:ext cx="1582737" cy="914400"/>
          </a:xfrm>
          <a:prstGeom prst="rect">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dirty="0">
                <a:solidFill>
                  <a:prstClr val="white"/>
                </a:solidFill>
                <a:latin typeface="Calibri"/>
              </a:rPr>
              <a:t>Contract</a:t>
            </a:r>
          </a:p>
          <a:p>
            <a:pPr algn="ctr">
              <a:defRPr/>
            </a:pPr>
            <a:r>
              <a:rPr lang="en-US" dirty="0">
                <a:solidFill>
                  <a:prstClr val="white"/>
                </a:solidFill>
                <a:latin typeface="Calibri"/>
              </a:rPr>
              <a:t>Provisions</a:t>
            </a:r>
          </a:p>
        </p:txBody>
      </p:sp>
    </p:spTree>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38" name="Title 1">
            <a:extLst>
              <a:ext uri="{FF2B5EF4-FFF2-40B4-BE49-F238E27FC236}">
                <a16:creationId xmlns:a16="http://schemas.microsoft.com/office/drawing/2014/main" id="{4A44E6F7-D830-446B-BDC8-C6B01FC2723E}"/>
              </a:ext>
            </a:extLst>
          </p:cNvPr>
          <p:cNvSpPr>
            <a:spLocks noGrp="1"/>
          </p:cNvSpPr>
          <p:nvPr>
            <p:ph type="title"/>
          </p:nvPr>
        </p:nvSpPr>
        <p:spPr>
          <a:xfrm>
            <a:off x="1968501" y="142875"/>
            <a:ext cx="4492625" cy="1143000"/>
          </a:xfrm>
          <a:solidFill>
            <a:schemeClr val="accent1">
              <a:lumMod val="10000"/>
              <a:lumOff val="90000"/>
            </a:schemeClr>
          </a:solidFill>
        </p:spPr>
        <p:txBody>
          <a:bodyPr rtlCol="0" anchor="t">
            <a:normAutofit fontScale="90000"/>
          </a:bodyPr>
          <a:lstStyle/>
          <a:p>
            <a:pPr algn="l" defTabSz="1219170" fontAlgn="auto">
              <a:spcAft>
                <a:spcPts val="0"/>
              </a:spcAft>
              <a:defRPr/>
            </a:pPr>
            <a:r>
              <a:rPr lang="en-US" altLang="en-US" sz="5867" dirty="0">
                <a:solidFill>
                  <a:schemeClr val="bg1"/>
                </a:solidFill>
              </a:rPr>
              <a:t>Anti-Corruption</a:t>
            </a:r>
          </a:p>
        </p:txBody>
      </p:sp>
      <p:pic>
        <p:nvPicPr>
          <p:cNvPr id="8195" name="Picture 2">
            <a:extLst>
              <a:ext uri="{FF2B5EF4-FFF2-40B4-BE49-F238E27FC236}">
                <a16:creationId xmlns:a16="http://schemas.microsoft.com/office/drawing/2014/main" id="{AF31702B-6C9C-48A1-88C0-BE624D98884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394075" y="2560638"/>
            <a:ext cx="5257800" cy="2838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Isosceles Triangle 3">
            <a:extLst>
              <a:ext uri="{FF2B5EF4-FFF2-40B4-BE49-F238E27FC236}">
                <a16:creationId xmlns:a16="http://schemas.microsoft.com/office/drawing/2014/main" id="{4BAEEE1E-E4D7-4FC6-B9C6-526AFB2B88BB}"/>
              </a:ext>
            </a:extLst>
          </p:cNvPr>
          <p:cNvSpPr/>
          <p:nvPr/>
        </p:nvSpPr>
        <p:spPr>
          <a:xfrm>
            <a:off x="3962401" y="2960689"/>
            <a:ext cx="2365375" cy="784225"/>
          </a:xfrm>
          <a:prstGeom prst="triangle">
            <a:avLst/>
          </a:prstGeom>
          <a:solidFill>
            <a:srgbClr val="00B050"/>
          </a:solidFill>
          <a:effectLst>
            <a:outerShdw blurRad="50800" dist="38100" dir="18900000" algn="b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000" b="1" dirty="0">
                <a:solidFill>
                  <a:prstClr val="white"/>
                </a:solidFill>
                <a:latin typeface="Calibri"/>
              </a:rPr>
              <a:t>Professionalism</a:t>
            </a:r>
          </a:p>
        </p:txBody>
      </p:sp>
      <p:sp>
        <p:nvSpPr>
          <p:cNvPr id="6" name="Isosceles Triangle 5">
            <a:extLst>
              <a:ext uri="{FF2B5EF4-FFF2-40B4-BE49-F238E27FC236}">
                <a16:creationId xmlns:a16="http://schemas.microsoft.com/office/drawing/2014/main" id="{65EE385E-AB8E-4653-8B4E-A2D1AF886AAD}"/>
              </a:ext>
            </a:extLst>
          </p:cNvPr>
          <p:cNvSpPr/>
          <p:nvPr/>
        </p:nvSpPr>
        <p:spPr>
          <a:xfrm>
            <a:off x="1719264" y="3127375"/>
            <a:ext cx="2395537" cy="958850"/>
          </a:xfrm>
          <a:prstGeom prst="triangle">
            <a:avLst/>
          </a:prstGeom>
          <a:solidFill>
            <a:srgbClr val="00B050"/>
          </a:solidFill>
          <a:effectLst>
            <a:outerShdw blurRad="50800" dist="38100" dir="18900000" algn="b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b="1" dirty="0">
                <a:solidFill>
                  <a:prstClr val="white"/>
                </a:solidFill>
                <a:latin typeface="Calibri"/>
              </a:rPr>
              <a:t>Users</a:t>
            </a:r>
          </a:p>
        </p:txBody>
      </p:sp>
      <p:sp>
        <p:nvSpPr>
          <p:cNvPr id="7" name="Isosceles Triangle 6">
            <a:extLst>
              <a:ext uri="{FF2B5EF4-FFF2-40B4-BE49-F238E27FC236}">
                <a16:creationId xmlns:a16="http://schemas.microsoft.com/office/drawing/2014/main" id="{68565A01-D28B-4BC2-9218-9ABF7448DA62}"/>
              </a:ext>
            </a:extLst>
          </p:cNvPr>
          <p:cNvSpPr/>
          <p:nvPr/>
        </p:nvSpPr>
        <p:spPr>
          <a:xfrm>
            <a:off x="5275264" y="5218113"/>
            <a:ext cx="2395537" cy="957262"/>
          </a:xfrm>
          <a:prstGeom prst="triangle">
            <a:avLst/>
          </a:prstGeom>
          <a:solidFill>
            <a:srgbClr val="00B050"/>
          </a:solidFill>
          <a:effectLst>
            <a:outerShdw blurRad="50800" dist="38100" dir="18900000" algn="b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400" b="1" dirty="0">
                <a:solidFill>
                  <a:prstClr val="white"/>
                </a:solidFill>
                <a:latin typeface="Calibri"/>
              </a:rPr>
              <a:t>Conditions for Use</a:t>
            </a:r>
          </a:p>
        </p:txBody>
      </p:sp>
      <p:sp>
        <p:nvSpPr>
          <p:cNvPr id="8" name="Isosceles Triangle 7">
            <a:extLst>
              <a:ext uri="{FF2B5EF4-FFF2-40B4-BE49-F238E27FC236}">
                <a16:creationId xmlns:a16="http://schemas.microsoft.com/office/drawing/2014/main" id="{C44A2259-7F33-4F2A-BD91-76220BAD05BB}"/>
              </a:ext>
            </a:extLst>
          </p:cNvPr>
          <p:cNvSpPr/>
          <p:nvPr/>
        </p:nvSpPr>
        <p:spPr>
          <a:xfrm>
            <a:off x="4230689" y="4783139"/>
            <a:ext cx="2395537" cy="731837"/>
          </a:xfrm>
          <a:prstGeom prst="triangle">
            <a:avLst/>
          </a:prstGeom>
          <a:solidFill>
            <a:srgbClr val="008000"/>
          </a:solidFill>
          <a:effectLst>
            <a:outerShdw blurRad="50800" dist="38100" dir="18900000" algn="b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400" b="1" dirty="0">
                <a:solidFill>
                  <a:prstClr val="white"/>
                </a:solidFill>
                <a:latin typeface="Calibri"/>
              </a:rPr>
              <a:t>Challenges</a:t>
            </a:r>
          </a:p>
        </p:txBody>
      </p:sp>
      <p:sp>
        <p:nvSpPr>
          <p:cNvPr id="9" name="Isosceles Triangle 8">
            <a:extLst>
              <a:ext uri="{FF2B5EF4-FFF2-40B4-BE49-F238E27FC236}">
                <a16:creationId xmlns:a16="http://schemas.microsoft.com/office/drawing/2014/main" id="{21FCBDE7-274B-44CC-BFC2-4F710BD74F0D}"/>
              </a:ext>
            </a:extLst>
          </p:cNvPr>
          <p:cNvSpPr/>
          <p:nvPr/>
        </p:nvSpPr>
        <p:spPr>
          <a:xfrm>
            <a:off x="6073775" y="4710114"/>
            <a:ext cx="2025650" cy="631825"/>
          </a:xfrm>
          <a:prstGeom prst="triangle">
            <a:avLst/>
          </a:prstGeom>
          <a:solidFill>
            <a:srgbClr val="00B050"/>
          </a:solidFill>
          <a:effectLst>
            <a:outerShdw blurRad="50800" dist="38100" dir="18900000" algn="b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b="1" dirty="0">
                <a:solidFill>
                  <a:prstClr val="white"/>
                </a:solidFill>
                <a:latin typeface="Calibri"/>
              </a:rPr>
              <a:t>Audits</a:t>
            </a:r>
          </a:p>
        </p:txBody>
      </p:sp>
      <p:sp>
        <p:nvSpPr>
          <p:cNvPr id="10" name="Isosceles Triangle 9">
            <a:extLst>
              <a:ext uri="{FF2B5EF4-FFF2-40B4-BE49-F238E27FC236}">
                <a16:creationId xmlns:a16="http://schemas.microsoft.com/office/drawing/2014/main" id="{69192636-DBB5-44B3-A034-B98686FDF8F4}"/>
              </a:ext>
            </a:extLst>
          </p:cNvPr>
          <p:cNvSpPr/>
          <p:nvPr/>
        </p:nvSpPr>
        <p:spPr>
          <a:xfrm>
            <a:off x="4710113" y="1871663"/>
            <a:ext cx="2068512" cy="893762"/>
          </a:xfrm>
          <a:prstGeom prst="triangle">
            <a:avLst/>
          </a:prstGeom>
          <a:solidFill>
            <a:srgbClr val="00B050"/>
          </a:solidFill>
          <a:effectLst>
            <a:outerShdw blurRad="50800" dist="38100" dir="18900000" algn="b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200" b="1" dirty="0">
                <a:solidFill>
                  <a:prstClr val="white"/>
                </a:solidFill>
                <a:latin typeface="Calibri"/>
              </a:rPr>
              <a:t>Exclusion/</a:t>
            </a:r>
          </a:p>
          <a:p>
            <a:pPr algn="ctr">
              <a:defRPr/>
            </a:pPr>
            <a:r>
              <a:rPr lang="en-US" sz="1200" b="1" dirty="0">
                <a:solidFill>
                  <a:prstClr val="white"/>
                </a:solidFill>
                <a:latin typeface="Calibri"/>
              </a:rPr>
              <a:t>Debarment</a:t>
            </a:r>
          </a:p>
        </p:txBody>
      </p:sp>
      <p:sp>
        <p:nvSpPr>
          <p:cNvPr id="11" name="Isosceles Triangle 10">
            <a:extLst>
              <a:ext uri="{FF2B5EF4-FFF2-40B4-BE49-F238E27FC236}">
                <a16:creationId xmlns:a16="http://schemas.microsoft.com/office/drawing/2014/main" id="{C501B93F-CE17-407D-A4FC-FDABD1E28190}"/>
              </a:ext>
            </a:extLst>
          </p:cNvPr>
          <p:cNvSpPr/>
          <p:nvPr/>
        </p:nvSpPr>
        <p:spPr>
          <a:xfrm>
            <a:off x="6234113" y="1989138"/>
            <a:ext cx="2038350" cy="804862"/>
          </a:xfrm>
          <a:prstGeom prst="triangle">
            <a:avLst/>
          </a:prstGeom>
          <a:solidFill>
            <a:srgbClr val="00B050"/>
          </a:solidFill>
          <a:effectLst>
            <a:outerShdw blurRad="50800" dist="38100" dir="18900000" algn="b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b="1" dirty="0">
                <a:solidFill>
                  <a:prstClr val="white"/>
                </a:solidFill>
                <a:latin typeface="Calibri"/>
              </a:rPr>
              <a:t>Fraud</a:t>
            </a:r>
          </a:p>
        </p:txBody>
      </p:sp>
      <p:sp>
        <p:nvSpPr>
          <p:cNvPr id="12" name="Isosceles Triangle 11">
            <a:extLst>
              <a:ext uri="{FF2B5EF4-FFF2-40B4-BE49-F238E27FC236}">
                <a16:creationId xmlns:a16="http://schemas.microsoft.com/office/drawing/2014/main" id="{61C77D66-F687-4DB4-B150-67EF12384302}"/>
              </a:ext>
            </a:extLst>
          </p:cNvPr>
          <p:cNvSpPr/>
          <p:nvPr/>
        </p:nvSpPr>
        <p:spPr>
          <a:xfrm>
            <a:off x="8272463" y="3919539"/>
            <a:ext cx="2032000" cy="985837"/>
          </a:xfrm>
          <a:prstGeom prst="triangle">
            <a:avLst/>
          </a:prstGeom>
          <a:solidFill>
            <a:srgbClr val="00B050"/>
          </a:solidFill>
          <a:effectLst>
            <a:outerShdw blurRad="50800" dist="38100" dir="18900000" algn="b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b="1" dirty="0">
                <a:solidFill>
                  <a:prstClr val="white"/>
                </a:solidFill>
                <a:latin typeface="Calibri"/>
              </a:rPr>
              <a:t>Gov. Claims</a:t>
            </a:r>
          </a:p>
        </p:txBody>
      </p:sp>
      <p:sp>
        <p:nvSpPr>
          <p:cNvPr id="14" name="Isosceles Triangle 13">
            <a:extLst>
              <a:ext uri="{FF2B5EF4-FFF2-40B4-BE49-F238E27FC236}">
                <a16:creationId xmlns:a16="http://schemas.microsoft.com/office/drawing/2014/main" id="{DFC3FC86-ED13-426D-8175-D29EBAF31E76}"/>
              </a:ext>
            </a:extLst>
          </p:cNvPr>
          <p:cNvSpPr/>
          <p:nvPr/>
        </p:nvSpPr>
        <p:spPr>
          <a:xfrm>
            <a:off x="3832225" y="3773488"/>
            <a:ext cx="2393950" cy="958850"/>
          </a:xfrm>
          <a:prstGeom prst="triangle">
            <a:avLst/>
          </a:prstGeom>
          <a:solidFill>
            <a:srgbClr val="008000"/>
          </a:solidFill>
          <a:effectLst>
            <a:outerShdw blurRad="50800" dist="38100" dir="18900000" algn="b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b="1" dirty="0" err="1">
                <a:solidFill>
                  <a:prstClr val="white"/>
                </a:solidFill>
                <a:latin typeface="Calibri"/>
              </a:rPr>
              <a:t>UNCAC</a:t>
            </a:r>
            <a:endParaRPr lang="en-US" b="1" dirty="0">
              <a:solidFill>
                <a:prstClr val="white"/>
              </a:solidFill>
              <a:latin typeface="Calibri"/>
            </a:endParaRPr>
          </a:p>
        </p:txBody>
      </p:sp>
      <p:sp>
        <p:nvSpPr>
          <p:cNvPr id="15" name="Isosceles Triangle 14">
            <a:extLst>
              <a:ext uri="{FF2B5EF4-FFF2-40B4-BE49-F238E27FC236}">
                <a16:creationId xmlns:a16="http://schemas.microsoft.com/office/drawing/2014/main" id="{0463623F-E583-4665-B7FE-E349C6AFEED3}"/>
              </a:ext>
            </a:extLst>
          </p:cNvPr>
          <p:cNvSpPr/>
          <p:nvPr/>
        </p:nvSpPr>
        <p:spPr>
          <a:xfrm>
            <a:off x="2757489" y="2162175"/>
            <a:ext cx="2801937" cy="958850"/>
          </a:xfrm>
          <a:prstGeom prst="triangle">
            <a:avLst/>
          </a:prstGeom>
          <a:solidFill>
            <a:srgbClr val="008000"/>
          </a:solidFill>
          <a:effectLst>
            <a:outerShdw blurRad="50800" dist="38100" dir="18900000" algn="b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400" b="1" dirty="0">
                <a:solidFill>
                  <a:prstClr val="white"/>
                </a:solidFill>
                <a:latin typeface="Calibri"/>
              </a:rPr>
              <a:t>Transparency</a:t>
            </a:r>
          </a:p>
        </p:txBody>
      </p:sp>
      <p:sp>
        <p:nvSpPr>
          <p:cNvPr id="16" name="Isosceles Triangle 15">
            <a:extLst>
              <a:ext uri="{FF2B5EF4-FFF2-40B4-BE49-F238E27FC236}">
                <a16:creationId xmlns:a16="http://schemas.microsoft.com/office/drawing/2014/main" id="{D1BB5766-7BC9-4F6D-81A9-8BC4AA3CB259}"/>
              </a:ext>
            </a:extLst>
          </p:cNvPr>
          <p:cNvSpPr/>
          <p:nvPr/>
        </p:nvSpPr>
        <p:spPr>
          <a:xfrm>
            <a:off x="4978401" y="1058863"/>
            <a:ext cx="3381375" cy="958850"/>
          </a:xfrm>
          <a:prstGeom prst="triangle">
            <a:avLst/>
          </a:prstGeom>
          <a:solidFill>
            <a:srgbClr val="00B050"/>
          </a:solidFill>
          <a:effectLst>
            <a:outerShdw blurRad="50800" dist="38100" dir="18900000" algn="b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b="1" dirty="0">
                <a:solidFill>
                  <a:prstClr val="white"/>
                </a:solidFill>
                <a:latin typeface="Calibri"/>
              </a:rPr>
              <a:t>Compliance</a:t>
            </a:r>
          </a:p>
        </p:txBody>
      </p:sp>
      <p:sp>
        <p:nvSpPr>
          <p:cNvPr id="17" name="Isosceles Triangle 16">
            <a:extLst>
              <a:ext uri="{FF2B5EF4-FFF2-40B4-BE49-F238E27FC236}">
                <a16:creationId xmlns:a16="http://schemas.microsoft.com/office/drawing/2014/main" id="{369F3BE5-C435-4EE2-8814-628049F9FAC5}"/>
              </a:ext>
            </a:extLst>
          </p:cNvPr>
          <p:cNvSpPr/>
          <p:nvPr/>
        </p:nvSpPr>
        <p:spPr>
          <a:xfrm>
            <a:off x="2568575" y="1611313"/>
            <a:ext cx="2395538" cy="957262"/>
          </a:xfrm>
          <a:prstGeom prst="triangle">
            <a:avLst/>
          </a:prstGeom>
          <a:solidFill>
            <a:srgbClr val="00B050"/>
          </a:solidFill>
          <a:effectLst>
            <a:outerShdw blurRad="50800" dist="38100" dir="18900000" algn="b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b="1" dirty="0">
                <a:solidFill>
                  <a:prstClr val="white"/>
                </a:solidFill>
                <a:latin typeface="Calibri"/>
              </a:rPr>
              <a:t>“Brains”</a:t>
            </a:r>
          </a:p>
        </p:txBody>
      </p:sp>
      <p:sp>
        <p:nvSpPr>
          <p:cNvPr id="18" name="Isosceles Triangle 17">
            <a:extLst>
              <a:ext uri="{FF2B5EF4-FFF2-40B4-BE49-F238E27FC236}">
                <a16:creationId xmlns:a16="http://schemas.microsoft.com/office/drawing/2014/main" id="{D3922128-737C-48EE-87A7-1EE512B0F286}"/>
              </a:ext>
            </a:extLst>
          </p:cNvPr>
          <p:cNvSpPr/>
          <p:nvPr/>
        </p:nvSpPr>
        <p:spPr>
          <a:xfrm>
            <a:off x="2359025" y="4157663"/>
            <a:ext cx="2393950" cy="958850"/>
          </a:xfrm>
          <a:prstGeom prst="triangle">
            <a:avLst/>
          </a:prstGeom>
          <a:solidFill>
            <a:srgbClr val="008000"/>
          </a:solidFill>
          <a:effectLst>
            <a:outerShdw blurRad="50800" dist="38100" dir="18900000" algn="b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b="1" dirty="0">
                <a:solidFill>
                  <a:prstClr val="white"/>
                </a:solidFill>
                <a:latin typeface="Calibri"/>
              </a:rPr>
              <a:t>Ethics</a:t>
            </a:r>
          </a:p>
        </p:txBody>
      </p:sp>
      <p:sp>
        <p:nvSpPr>
          <p:cNvPr id="19" name="Isosceles Triangle 18">
            <a:extLst>
              <a:ext uri="{FF2B5EF4-FFF2-40B4-BE49-F238E27FC236}">
                <a16:creationId xmlns:a16="http://schemas.microsoft.com/office/drawing/2014/main" id="{7E448895-4CCB-4A3F-8AC7-2F8BA4251E38}"/>
              </a:ext>
            </a:extLst>
          </p:cNvPr>
          <p:cNvSpPr/>
          <p:nvPr/>
        </p:nvSpPr>
        <p:spPr>
          <a:xfrm>
            <a:off x="3832225" y="1285876"/>
            <a:ext cx="2038350" cy="804863"/>
          </a:xfrm>
          <a:prstGeom prst="triangle">
            <a:avLst/>
          </a:prstGeom>
          <a:solidFill>
            <a:srgbClr val="008000"/>
          </a:solidFill>
          <a:effectLst>
            <a:outerShdw blurRad="50800" dist="38100" dir="18900000" algn="b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600" b="1" dirty="0">
                <a:solidFill>
                  <a:prstClr val="white"/>
                </a:solidFill>
                <a:latin typeface="Calibri"/>
              </a:rPr>
              <a:t>Objective Criteria</a:t>
            </a:r>
          </a:p>
        </p:txBody>
      </p:sp>
    </p:spTree>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42" name="Picture 13">
            <a:extLst>
              <a:ext uri="{FF2B5EF4-FFF2-40B4-BE49-F238E27FC236}">
                <a16:creationId xmlns:a16="http://schemas.microsoft.com/office/drawing/2014/main" id="{C147026B-7070-4027-A936-CCDAADB3288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24000" y="0"/>
            <a:ext cx="96139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43" name="Title 3">
            <a:extLst>
              <a:ext uri="{FF2B5EF4-FFF2-40B4-BE49-F238E27FC236}">
                <a16:creationId xmlns:a16="http://schemas.microsoft.com/office/drawing/2014/main" id="{879A68C2-B259-4B5A-8AF3-858D172D5474}"/>
              </a:ext>
            </a:extLst>
          </p:cNvPr>
          <p:cNvSpPr>
            <a:spLocks noGrp="1"/>
          </p:cNvSpPr>
          <p:nvPr>
            <p:ph type="title"/>
          </p:nvPr>
        </p:nvSpPr>
        <p:spPr>
          <a:xfrm>
            <a:off x="2438400" y="-228600"/>
            <a:ext cx="8229600" cy="1143000"/>
          </a:xfrm>
        </p:spPr>
        <p:txBody>
          <a:bodyPr/>
          <a:lstStyle/>
          <a:p>
            <a:pPr algn="r"/>
            <a:r>
              <a:rPr lang="en-US" altLang="en-US" sz="4000"/>
              <a:t>Tools for Fighting Corruption</a:t>
            </a:r>
          </a:p>
        </p:txBody>
      </p:sp>
      <p:pic>
        <p:nvPicPr>
          <p:cNvPr id="10244" name="Picture 2">
            <a:extLst>
              <a:ext uri="{FF2B5EF4-FFF2-40B4-BE49-F238E27FC236}">
                <a16:creationId xmlns:a16="http://schemas.microsoft.com/office/drawing/2014/main" id="{4A22F14F-588D-43A2-A07B-C9363D0D56C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429500" y="4495800"/>
            <a:ext cx="3621088" cy="241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45" name="Picture 8">
            <a:extLst>
              <a:ext uri="{FF2B5EF4-FFF2-40B4-BE49-F238E27FC236}">
                <a16:creationId xmlns:a16="http://schemas.microsoft.com/office/drawing/2014/main" id="{9EECA428-F4E0-4FAE-8F04-A63C8FE3406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24000" y="762000"/>
            <a:ext cx="2046288" cy="2590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46" name="Picture 9">
            <a:extLst>
              <a:ext uri="{FF2B5EF4-FFF2-40B4-BE49-F238E27FC236}">
                <a16:creationId xmlns:a16="http://schemas.microsoft.com/office/drawing/2014/main" id="{2877C4B9-B5F3-4A16-A06C-E3622CAC6AC6}"/>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458201" y="1524001"/>
            <a:ext cx="2574925" cy="2614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47" name="TextBox 12">
            <a:extLst>
              <a:ext uri="{FF2B5EF4-FFF2-40B4-BE49-F238E27FC236}">
                <a16:creationId xmlns:a16="http://schemas.microsoft.com/office/drawing/2014/main" id="{76DA94CF-9980-4D19-96E0-7270445ED1AE}"/>
              </a:ext>
            </a:extLst>
          </p:cNvPr>
          <p:cNvSpPr txBox="1">
            <a:spLocks noChangeArrowheads="1"/>
          </p:cNvSpPr>
          <p:nvPr/>
        </p:nvSpPr>
        <p:spPr bwMode="auto">
          <a:xfrm>
            <a:off x="2057400" y="2590801"/>
            <a:ext cx="1676400" cy="646113"/>
          </a:xfrm>
          <a:prstGeom prst="rect">
            <a:avLst/>
          </a:prstGeom>
          <a:solidFill>
            <a:srgbClr val="FF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r>
              <a:rPr lang="en-US" altLang="en-US" b="1">
                <a:solidFill>
                  <a:prstClr val="white"/>
                </a:solidFill>
                <a:cs typeface="Arial" panose="020B0604020202020204" pitchFamily="34" charset="0"/>
              </a:rPr>
              <a:t>Suspension / Debarment</a:t>
            </a:r>
          </a:p>
        </p:txBody>
      </p:sp>
      <p:sp>
        <p:nvSpPr>
          <p:cNvPr id="10248" name="TextBox 13">
            <a:extLst>
              <a:ext uri="{FF2B5EF4-FFF2-40B4-BE49-F238E27FC236}">
                <a16:creationId xmlns:a16="http://schemas.microsoft.com/office/drawing/2014/main" id="{A14A0D12-4D29-467B-840A-AA536BDA76C4}"/>
              </a:ext>
            </a:extLst>
          </p:cNvPr>
          <p:cNvSpPr txBox="1">
            <a:spLocks noChangeArrowheads="1"/>
          </p:cNvSpPr>
          <p:nvPr/>
        </p:nvSpPr>
        <p:spPr bwMode="auto">
          <a:xfrm>
            <a:off x="8534400" y="1447801"/>
            <a:ext cx="1676400" cy="646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r>
              <a:rPr lang="en-US" altLang="en-US" b="1">
                <a:solidFill>
                  <a:prstClr val="black"/>
                </a:solidFill>
                <a:cs typeface="Arial" panose="020B0604020202020204" pitchFamily="34" charset="0"/>
              </a:rPr>
              <a:t>Tendering Rules</a:t>
            </a:r>
          </a:p>
        </p:txBody>
      </p:sp>
      <p:sp>
        <p:nvSpPr>
          <p:cNvPr id="15" name="TextBox 14">
            <a:extLst>
              <a:ext uri="{FF2B5EF4-FFF2-40B4-BE49-F238E27FC236}">
                <a16:creationId xmlns:a16="http://schemas.microsoft.com/office/drawing/2014/main" id="{75BE1AC4-C919-41A0-9BEB-93E9BAC26620}"/>
              </a:ext>
            </a:extLst>
          </p:cNvPr>
          <p:cNvSpPr txBox="1"/>
          <p:nvPr/>
        </p:nvSpPr>
        <p:spPr>
          <a:xfrm>
            <a:off x="9448800" y="6488114"/>
            <a:ext cx="1676400" cy="369887"/>
          </a:xfrm>
          <a:prstGeom prst="rect">
            <a:avLst/>
          </a:prstGeom>
          <a:solidFill>
            <a:schemeClr val="tx1"/>
          </a:solidFill>
        </p:spPr>
        <p:txBody>
          <a:bodyPr>
            <a:spAutoFit/>
          </a:bodyPr>
          <a:lstStyle/>
          <a:p>
            <a:pPr algn="r">
              <a:defRPr/>
            </a:pPr>
            <a:r>
              <a:rPr lang="en-US" b="1" dirty="0">
                <a:solidFill>
                  <a:prstClr val="black">
                    <a:lumMod val="50000"/>
                  </a:prstClr>
                </a:solidFill>
                <a:latin typeface="Calibri"/>
                <a:cs typeface="Arial" panose="020B0604020202020204" pitchFamily="34" charset="0"/>
              </a:rPr>
              <a:t>Prosecution</a:t>
            </a:r>
          </a:p>
        </p:txBody>
      </p:sp>
      <p:pic>
        <p:nvPicPr>
          <p:cNvPr id="10250" name="Picture 12">
            <a:extLst>
              <a:ext uri="{FF2B5EF4-FFF2-40B4-BE49-F238E27FC236}">
                <a16:creationId xmlns:a16="http://schemas.microsoft.com/office/drawing/2014/main" id="{AA827D5C-5CF5-4CC0-9A43-F898103FF154}"/>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553200" y="914400"/>
            <a:ext cx="2057400" cy="2571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 name="TextBox 18">
            <a:extLst>
              <a:ext uri="{FF2B5EF4-FFF2-40B4-BE49-F238E27FC236}">
                <a16:creationId xmlns:a16="http://schemas.microsoft.com/office/drawing/2014/main" id="{48F733CE-A544-4B4D-AA06-588794377D04}"/>
              </a:ext>
            </a:extLst>
          </p:cNvPr>
          <p:cNvSpPr txBox="1"/>
          <p:nvPr/>
        </p:nvSpPr>
        <p:spPr>
          <a:xfrm>
            <a:off x="7010400" y="1676400"/>
            <a:ext cx="1676400" cy="369888"/>
          </a:xfrm>
          <a:prstGeom prst="rect">
            <a:avLst/>
          </a:prstGeom>
          <a:noFill/>
        </p:spPr>
        <p:txBody>
          <a:bodyPr>
            <a:spAutoFit/>
          </a:bodyPr>
          <a:lstStyle/>
          <a:p>
            <a:pPr>
              <a:defRPr/>
            </a:pPr>
            <a:r>
              <a:rPr lang="en-US" b="1" dirty="0">
                <a:solidFill>
                  <a:prstClr val="black">
                    <a:lumMod val="50000"/>
                  </a:prstClr>
                </a:solidFill>
                <a:latin typeface="Calibri"/>
                <a:cs typeface="Arial" panose="020B0604020202020204" pitchFamily="34" charset="0"/>
              </a:rPr>
              <a:t>Audits</a:t>
            </a:r>
          </a:p>
        </p:txBody>
      </p:sp>
      <p:pic>
        <p:nvPicPr>
          <p:cNvPr id="10252" name="Picture 14">
            <a:extLst>
              <a:ext uri="{FF2B5EF4-FFF2-40B4-BE49-F238E27FC236}">
                <a16:creationId xmlns:a16="http://schemas.microsoft.com/office/drawing/2014/main" id="{91AEFD92-0CD2-42C4-88C5-027380545007}"/>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24000" y="4826000"/>
            <a:ext cx="3048000" cy="203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2" name="TextBox 21">
            <a:extLst>
              <a:ext uri="{FF2B5EF4-FFF2-40B4-BE49-F238E27FC236}">
                <a16:creationId xmlns:a16="http://schemas.microsoft.com/office/drawing/2014/main" id="{13314215-7311-4A69-9848-FFBAA7C00D7D}"/>
              </a:ext>
            </a:extLst>
          </p:cNvPr>
          <p:cNvSpPr txBox="1"/>
          <p:nvPr/>
        </p:nvSpPr>
        <p:spPr>
          <a:xfrm>
            <a:off x="2743200" y="6477000"/>
            <a:ext cx="1676400" cy="381000"/>
          </a:xfrm>
          <a:prstGeom prst="rect">
            <a:avLst/>
          </a:prstGeom>
          <a:noFill/>
        </p:spPr>
        <p:txBody>
          <a:bodyPr>
            <a:spAutoFit/>
          </a:bodyPr>
          <a:lstStyle/>
          <a:p>
            <a:pPr>
              <a:defRPr/>
            </a:pPr>
            <a:r>
              <a:rPr lang="en-US" b="1" dirty="0">
                <a:solidFill>
                  <a:prstClr val="black">
                    <a:lumMod val="50000"/>
                  </a:prstClr>
                </a:solidFill>
                <a:latin typeface="Calibri"/>
                <a:cs typeface="Arial" panose="020B0604020202020204" pitchFamily="34" charset="0"/>
              </a:rPr>
              <a:t>Bid Challenges</a:t>
            </a:r>
          </a:p>
        </p:txBody>
      </p:sp>
      <p:pic>
        <p:nvPicPr>
          <p:cNvPr id="10254" name="Picture 19">
            <a:extLst>
              <a:ext uri="{FF2B5EF4-FFF2-40B4-BE49-F238E27FC236}">
                <a16:creationId xmlns:a16="http://schemas.microsoft.com/office/drawing/2014/main" id="{D8EC4887-5A01-49E5-8EC0-8D353237264A}"/>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886200" y="762000"/>
            <a:ext cx="2413000" cy="1809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55" name="Picture 16">
            <a:extLst>
              <a:ext uri="{FF2B5EF4-FFF2-40B4-BE49-F238E27FC236}">
                <a16:creationId xmlns:a16="http://schemas.microsoft.com/office/drawing/2014/main" id="{4068F1D9-CB4D-41A7-8A76-C8C6058C46C7}"/>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495800" y="4743450"/>
            <a:ext cx="2990850" cy="2114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TextBox 25">
            <a:extLst>
              <a:ext uri="{FF2B5EF4-FFF2-40B4-BE49-F238E27FC236}">
                <a16:creationId xmlns:a16="http://schemas.microsoft.com/office/drawing/2014/main" id="{B8773FC5-40D4-427D-B496-2C14FD5D5909}"/>
              </a:ext>
            </a:extLst>
          </p:cNvPr>
          <p:cNvSpPr txBox="1"/>
          <p:nvPr/>
        </p:nvSpPr>
        <p:spPr>
          <a:xfrm>
            <a:off x="4876800" y="6400800"/>
            <a:ext cx="2438400" cy="369888"/>
          </a:xfrm>
          <a:prstGeom prst="rect">
            <a:avLst/>
          </a:prstGeom>
          <a:solidFill>
            <a:schemeClr val="bg1">
              <a:lumMod val="75000"/>
            </a:schemeClr>
          </a:solidFill>
        </p:spPr>
        <p:txBody>
          <a:bodyPr>
            <a:spAutoFit/>
          </a:bodyPr>
          <a:lstStyle/>
          <a:p>
            <a:pPr>
              <a:defRPr/>
            </a:pPr>
            <a:r>
              <a:rPr lang="en-US" b="1" dirty="0">
                <a:solidFill>
                  <a:prstClr val="white"/>
                </a:solidFill>
                <a:latin typeface="Calibri"/>
                <a:cs typeface="Arial" panose="020B0604020202020204" pitchFamily="34" charset="0"/>
              </a:rPr>
              <a:t>Transparency</a:t>
            </a:r>
          </a:p>
        </p:txBody>
      </p:sp>
      <p:pic>
        <p:nvPicPr>
          <p:cNvPr id="10257" name="Picture 18">
            <a:extLst>
              <a:ext uri="{FF2B5EF4-FFF2-40B4-BE49-F238E27FC236}">
                <a16:creationId xmlns:a16="http://schemas.microsoft.com/office/drawing/2014/main" id="{2E0C6CDE-0190-4BAF-A08D-90E84CDA4B2B}"/>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5029200" y="2209801"/>
            <a:ext cx="1828800" cy="2741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8" name="TextBox 27">
            <a:extLst>
              <a:ext uri="{FF2B5EF4-FFF2-40B4-BE49-F238E27FC236}">
                <a16:creationId xmlns:a16="http://schemas.microsoft.com/office/drawing/2014/main" id="{FA6076C4-C90B-4348-A9C1-ADA1BFBDC2E7}"/>
              </a:ext>
            </a:extLst>
          </p:cNvPr>
          <p:cNvSpPr txBox="1"/>
          <p:nvPr/>
        </p:nvSpPr>
        <p:spPr>
          <a:xfrm>
            <a:off x="4800600" y="4191000"/>
            <a:ext cx="2438400" cy="369888"/>
          </a:xfrm>
          <a:prstGeom prst="rect">
            <a:avLst/>
          </a:prstGeom>
          <a:solidFill>
            <a:schemeClr val="bg1">
              <a:lumMod val="75000"/>
            </a:schemeClr>
          </a:solidFill>
        </p:spPr>
        <p:txBody>
          <a:bodyPr>
            <a:spAutoFit/>
          </a:bodyPr>
          <a:lstStyle/>
          <a:p>
            <a:pPr>
              <a:defRPr/>
            </a:pPr>
            <a:r>
              <a:rPr lang="en-US" b="1" dirty="0">
                <a:solidFill>
                  <a:prstClr val="white"/>
                </a:solidFill>
                <a:latin typeface="Calibri"/>
                <a:cs typeface="Arial" panose="020B0604020202020204" pitchFamily="34" charset="0"/>
              </a:rPr>
              <a:t>Oversight</a:t>
            </a:r>
          </a:p>
        </p:txBody>
      </p:sp>
      <p:sp>
        <p:nvSpPr>
          <p:cNvPr id="30" name="TextBox 29">
            <a:extLst>
              <a:ext uri="{FF2B5EF4-FFF2-40B4-BE49-F238E27FC236}">
                <a16:creationId xmlns:a16="http://schemas.microsoft.com/office/drawing/2014/main" id="{F7E12038-5A5E-409C-BAC8-87658364617B}"/>
              </a:ext>
            </a:extLst>
          </p:cNvPr>
          <p:cNvSpPr txBox="1"/>
          <p:nvPr/>
        </p:nvSpPr>
        <p:spPr>
          <a:xfrm>
            <a:off x="3962400" y="1447800"/>
            <a:ext cx="2438400" cy="369888"/>
          </a:xfrm>
          <a:prstGeom prst="rect">
            <a:avLst/>
          </a:prstGeom>
          <a:solidFill>
            <a:schemeClr val="bg1">
              <a:lumMod val="75000"/>
            </a:schemeClr>
          </a:solidFill>
        </p:spPr>
        <p:txBody>
          <a:bodyPr>
            <a:spAutoFit/>
          </a:bodyPr>
          <a:lstStyle/>
          <a:p>
            <a:pPr>
              <a:defRPr/>
            </a:pPr>
            <a:r>
              <a:rPr lang="en-US" b="1" dirty="0">
                <a:solidFill>
                  <a:prstClr val="white"/>
                </a:solidFill>
                <a:latin typeface="Calibri"/>
                <a:cs typeface="Arial" panose="020B0604020202020204" pitchFamily="34" charset="0"/>
              </a:rPr>
              <a:t>Corporate Compliance</a:t>
            </a:r>
          </a:p>
        </p:txBody>
      </p:sp>
      <p:pic>
        <p:nvPicPr>
          <p:cNvPr id="10260" name="Picture 20">
            <a:extLst>
              <a:ext uri="{FF2B5EF4-FFF2-40B4-BE49-F238E27FC236}">
                <a16:creationId xmlns:a16="http://schemas.microsoft.com/office/drawing/2014/main" id="{9074A606-F264-41F5-A1EC-77812F7265DC}"/>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524001" y="3200400"/>
            <a:ext cx="1858963" cy="1981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2" name="TextBox 31">
            <a:extLst>
              <a:ext uri="{FF2B5EF4-FFF2-40B4-BE49-F238E27FC236}">
                <a16:creationId xmlns:a16="http://schemas.microsoft.com/office/drawing/2014/main" id="{9E5C23D8-2CF4-493F-8FB6-B23252E0D70A}"/>
              </a:ext>
            </a:extLst>
          </p:cNvPr>
          <p:cNvSpPr txBox="1"/>
          <p:nvPr/>
        </p:nvSpPr>
        <p:spPr>
          <a:xfrm>
            <a:off x="1752600" y="3200400"/>
            <a:ext cx="1676400" cy="381000"/>
          </a:xfrm>
          <a:prstGeom prst="rect">
            <a:avLst/>
          </a:prstGeom>
          <a:noFill/>
        </p:spPr>
        <p:txBody>
          <a:bodyPr>
            <a:spAutoFit/>
          </a:bodyPr>
          <a:lstStyle/>
          <a:p>
            <a:pPr>
              <a:defRPr/>
            </a:pPr>
            <a:r>
              <a:rPr lang="en-US" b="1" dirty="0">
                <a:solidFill>
                  <a:prstClr val="black">
                    <a:lumMod val="50000"/>
                  </a:prstClr>
                </a:solidFill>
                <a:latin typeface="Calibri"/>
                <a:cs typeface="Arial" panose="020B0604020202020204" pitchFamily="34" charset="0"/>
              </a:rPr>
              <a:t>Ethics</a:t>
            </a:r>
          </a:p>
        </p:txBody>
      </p:sp>
      <p:sp>
        <p:nvSpPr>
          <p:cNvPr id="23" name="Rectangle 22">
            <a:extLst>
              <a:ext uri="{FF2B5EF4-FFF2-40B4-BE49-F238E27FC236}">
                <a16:creationId xmlns:a16="http://schemas.microsoft.com/office/drawing/2014/main" id="{7E5F3F87-70CC-48BC-9DD8-5F7AC0D600A6}"/>
              </a:ext>
            </a:extLst>
          </p:cNvPr>
          <p:cNvSpPr/>
          <p:nvPr/>
        </p:nvSpPr>
        <p:spPr>
          <a:xfrm>
            <a:off x="10058400" y="6477000"/>
            <a:ext cx="990600" cy="762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prstClr val="white"/>
              </a:solidFill>
              <a:latin typeface="Calibri"/>
            </a:endParaRPr>
          </a:p>
        </p:txBody>
      </p:sp>
    </p:spTree>
  </p:cSld>
  <p:clrMapOvr>
    <a:masterClrMapping/>
  </p:clrMapOvr>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338" name="Picture 4" descr="red%20flag%20banner%20clipart">
            <a:extLst>
              <a:ext uri="{FF2B5EF4-FFF2-40B4-BE49-F238E27FC236}">
                <a16:creationId xmlns:a16="http://schemas.microsoft.com/office/drawing/2014/main" id="{2E9486E2-33BC-4154-812F-07CBDB809B6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24000" y="0"/>
            <a:ext cx="2838450" cy="2743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a:extLst>
              <a:ext uri="{FF2B5EF4-FFF2-40B4-BE49-F238E27FC236}">
                <a16:creationId xmlns:a16="http://schemas.microsoft.com/office/drawing/2014/main" id="{D5175A2E-7BF6-472D-AE7B-0E27DEB5F9FB}"/>
              </a:ext>
            </a:extLst>
          </p:cNvPr>
          <p:cNvSpPr>
            <a:spLocks noGrp="1"/>
          </p:cNvSpPr>
          <p:nvPr>
            <p:ph type="title"/>
          </p:nvPr>
        </p:nvSpPr>
        <p:spPr/>
        <p:txBody>
          <a:bodyPr rtlCol="0">
            <a:normAutofit/>
          </a:bodyPr>
          <a:lstStyle/>
          <a:p>
            <a:pPr fontAlgn="auto">
              <a:spcAft>
                <a:spcPts val="0"/>
              </a:spcAft>
              <a:defRPr/>
            </a:pPr>
            <a:r>
              <a:rPr lang="en-US" b="1" dirty="0">
                <a:solidFill>
                  <a:srgbClr val="FF0000"/>
                </a:solidFill>
              </a:rPr>
              <a:t>                  Red Flags </a:t>
            </a:r>
            <a:r>
              <a:rPr lang="en-US" dirty="0"/>
              <a:t>– Third Parties</a:t>
            </a:r>
          </a:p>
        </p:txBody>
      </p:sp>
      <p:graphicFrame>
        <p:nvGraphicFramePr>
          <p:cNvPr id="5" name="Content Placeholder 4">
            <a:extLst>
              <a:ext uri="{FF2B5EF4-FFF2-40B4-BE49-F238E27FC236}">
                <a16:creationId xmlns:a16="http://schemas.microsoft.com/office/drawing/2014/main" id="{11129D2C-C078-4F7E-858D-8B54D5590214}"/>
              </a:ext>
            </a:extLst>
          </p:cNvPr>
          <p:cNvGraphicFramePr>
            <a:graphicFrameLocks noGrp="1"/>
          </p:cNvGraphicFramePr>
          <p:nvPr>
            <p:ph idx="1"/>
          </p:nvPr>
        </p:nvGraphicFramePr>
        <p:xfrm>
          <a:off x="1981200" y="1600201"/>
          <a:ext cx="8229600" cy="4525963"/>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4" name="Footer Placeholder 3">
            <a:extLst>
              <a:ext uri="{FF2B5EF4-FFF2-40B4-BE49-F238E27FC236}">
                <a16:creationId xmlns:a16="http://schemas.microsoft.com/office/drawing/2014/main" id="{ACC495FF-B7EE-4A2F-A9BB-EC260ED561AC}"/>
              </a:ext>
            </a:extLst>
          </p:cNvPr>
          <p:cNvSpPr>
            <a:spLocks noGrp="1"/>
          </p:cNvSpPr>
          <p:nvPr>
            <p:ph type="ftr" sz="quarter" idx="11"/>
          </p:nvPr>
        </p:nvSpPr>
        <p:spPr/>
        <p:txBody>
          <a:bodyPr/>
          <a:lstStyle/>
          <a:p>
            <a:pPr>
              <a:defRPr/>
            </a:pPr>
            <a:endParaRPr lang="en-US">
              <a:solidFill>
                <a:prstClr val="white">
                  <a:tint val="75000"/>
                </a:prstClr>
              </a:solidFill>
              <a:latin typeface="Calibri"/>
            </a:endParaRPr>
          </a:p>
        </p:txBody>
      </p:sp>
      <p:sp>
        <p:nvSpPr>
          <p:cNvPr id="14342" name="AutoShape 2" descr="Image result for red flag clip art">
            <a:extLst>
              <a:ext uri="{FF2B5EF4-FFF2-40B4-BE49-F238E27FC236}">
                <a16:creationId xmlns:a16="http://schemas.microsoft.com/office/drawing/2014/main" id="{04A8E9A3-CE64-4DCD-B754-887533CBD939}"/>
              </a:ext>
            </a:extLst>
          </p:cNvPr>
          <p:cNvSpPr>
            <a:spLocks noChangeAspect="1" noChangeArrowheads="1"/>
          </p:cNvSpPr>
          <p:nvPr/>
        </p:nvSpPr>
        <p:spPr bwMode="auto">
          <a:xfrm>
            <a:off x="1679575" y="-144463"/>
            <a:ext cx="304800" cy="3048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endParaRPr lang="en-US" altLang="en-US">
              <a:solidFill>
                <a:prstClr val="white"/>
              </a:solidFill>
              <a:cs typeface="Arial" panose="020B0604020202020204" pitchFamily="34" charset="0"/>
            </a:endParaRPr>
          </a:p>
        </p:txBody>
      </p:sp>
      <p:pic>
        <p:nvPicPr>
          <p:cNvPr id="14343" name="Picture 2">
            <a:extLst>
              <a:ext uri="{FF2B5EF4-FFF2-40B4-BE49-F238E27FC236}">
                <a16:creationId xmlns:a16="http://schemas.microsoft.com/office/drawing/2014/main" id="{074C11BD-2DB1-4AF6-BE42-4E93429942EB}"/>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06537" y="5016500"/>
            <a:ext cx="1436688" cy="18415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5474" name="Picture 2">
            <a:extLst>
              <a:ext uri="{FF2B5EF4-FFF2-40B4-BE49-F238E27FC236}">
                <a16:creationId xmlns:a16="http://schemas.microsoft.com/office/drawing/2014/main" id="{C2BD1C67-E7D8-423B-8649-CA3E238CE48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9850" y="394996"/>
            <a:ext cx="8547100" cy="4343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Box 3">
            <a:extLst>
              <a:ext uri="{FF2B5EF4-FFF2-40B4-BE49-F238E27FC236}">
                <a16:creationId xmlns:a16="http://schemas.microsoft.com/office/drawing/2014/main" id="{9F49CBE9-0CC7-4750-9E7F-5D099A4EDE55}"/>
              </a:ext>
            </a:extLst>
          </p:cNvPr>
          <p:cNvSpPr txBox="1"/>
          <p:nvPr/>
        </p:nvSpPr>
        <p:spPr>
          <a:xfrm>
            <a:off x="2244725" y="4045502"/>
            <a:ext cx="3962400" cy="768350"/>
          </a:xfrm>
          <a:prstGeom prst="rect">
            <a:avLst/>
          </a:prstGeom>
          <a:solidFill>
            <a:schemeClr val="accent2">
              <a:lumMod val="50000"/>
            </a:schemeClr>
          </a:solidFill>
        </p:spPr>
        <p:txBody>
          <a:bodyPr>
            <a:spAutoFit/>
          </a:bodyPr>
          <a:lstStyle/>
          <a:p>
            <a:pPr algn="ctr">
              <a:defRPr/>
            </a:pPr>
            <a:r>
              <a:rPr lang="en-US" sz="4400" b="1" dirty="0">
                <a:solidFill>
                  <a:srgbClr val="FFC000"/>
                </a:solidFill>
                <a:latin typeface="Perpetua"/>
                <a:cs typeface="Arial" panose="020B0604020202020204" pitchFamily="34" charset="0"/>
              </a:rPr>
              <a:t>Eco-Labels</a:t>
            </a:r>
          </a:p>
        </p:txBody>
      </p:sp>
      <p:cxnSp>
        <p:nvCxnSpPr>
          <p:cNvPr id="6" name="Straight Arrow Connector 5">
            <a:extLst>
              <a:ext uri="{FF2B5EF4-FFF2-40B4-BE49-F238E27FC236}">
                <a16:creationId xmlns:a16="http://schemas.microsoft.com/office/drawing/2014/main" id="{48FC0CB7-36AD-4B6E-8DD6-8387786C7155}"/>
              </a:ext>
            </a:extLst>
          </p:cNvPr>
          <p:cNvCxnSpPr/>
          <p:nvPr/>
        </p:nvCxnSpPr>
        <p:spPr>
          <a:xfrm flipH="1" flipV="1">
            <a:off x="2511425" y="2904932"/>
            <a:ext cx="1371600" cy="1216025"/>
          </a:xfrm>
          <a:prstGeom prst="straightConnector1">
            <a:avLst/>
          </a:prstGeom>
          <a:ln w="79375">
            <a:solidFill>
              <a:schemeClr val="accent2">
                <a:lumMod val="50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8" name="Straight Arrow Connector 7">
            <a:extLst>
              <a:ext uri="{FF2B5EF4-FFF2-40B4-BE49-F238E27FC236}">
                <a16:creationId xmlns:a16="http://schemas.microsoft.com/office/drawing/2014/main" id="{DF831A78-153F-4CE5-B950-8F6B8526FDEA}"/>
              </a:ext>
            </a:extLst>
          </p:cNvPr>
          <p:cNvCxnSpPr/>
          <p:nvPr/>
        </p:nvCxnSpPr>
        <p:spPr>
          <a:xfrm flipV="1">
            <a:off x="4887686" y="2516187"/>
            <a:ext cx="1676400" cy="1825625"/>
          </a:xfrm>
          <a:prstGeom prst="straightConnector1">
            <a:avLst/>
          </a:prstGeom>
          <a:ln w="79375">
            <a:solidFill>
              <a:schemeClr val="accent2">
                <a:lumMod val="50000"/>
              </a:schemeClr>
            </a:solidFill>
            <a:tailEnd type="arrow"/>
          </a:ln>
        </p:spPr>
        <p:style>
          <a:lnRef idx="1">
            <a:schemeClr val="accent1"/>
          </a:lnRef>
          <a:fillRef idx="0">
            <a:schemeClr val="accent1"/>
          </a:fillRef>
          <a:effectRef idx="0">
            <a:schemeClr val="accent1"/>
          </a:effectRef>
          <a:fontRef idx="minor">
            <a:schemeClr val="tx1"/>
          </a:fontRef>
        </p:style>
      </p:cxnSp>
      <p:pic>
        <p:nvPicPr>
          <p:cNvPr id="105478" name="Picture 4">
            <a:extLst>
              <a:ext uri="{FF2B5EF4-FFF2-40B4-BE49-F238E27FC236}">
                <a16:creationId xmlns:a16="http://schemas.microsoft.com/office/drawing/2014/main" id="{A5CAEF0E-E457-4365-821F-CCF7FC7CC19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t="-629" b="6921"/>
          <a:stretch>
            <a:fillRect/>
          </a:stretch>
        </p:blipFill>
        <p:spPr bwMode="auto">
          <a:xfrm>
            <a:off x="8382000" y="4518025"/>
            <a:ext cx="1804988" cy="1784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Slide Number Placeholder 1">
            <a:extLst>
              <a:ext uri="{FF2B5EF4-FFF2-40B4-BE49-F238E27FC236}">
                <a16:creationId xmlns:a16="http://schemas.microsoft.com/office/drawing/2014/main" id="{1D59B54A-B744-46DE-9BC6-C932030F34FE}"/>
              </a:ext>
            </a:extLst>
          </p:cNvPr>
          <p:cNvSpPr>
            <a:spLocks noGrp="1"/>
          </p:cNvSpPr>
          <p:nvPr>
            <p:ph type="sldNum" sz="quarter" idx="12"/>
          </p:nvPr>
        </p:nvSpPr>
        <p:spPr/>
        <p:txBody>
          <a:bodyPr/>
          <a:lstStyle>
            <a:lvl1pPr>
              <a:defRPr>
                <a:solidFill>
                  <a:schemeClr val="tx1"/>
                </a:solidFill>
                <a:latin typeface="Perpetua" panose="02020502060401020303" pitchFamily="18" charset="0"/>
              </a:defRPr>
            </a:lvl1pPr>
            <a:lvl2pPr marL="742950" indent="-285750">
              <a:defRPr>
                <a:solidFill>
                  <a:schemeClr val="tx1"/>
                </a:solidFill>
                <a:latin typeface="Perpetua" panose="02020502060401020303" pitchFamily="18" charset="0"/>
              </a:defRPr>
            </a:lvl2pPr>
            <a:lvl3pPr marL="1143000" indent="-228600">
              <a:defRPr>
                <a:solidFill>
                  <a:schemeClr val="tx1"/>
                </a:solidFill>
                <a:latin typeface="Perpetua" panose="02020502060401020303" pitchFamily="18" charset="0"/>
              </a:defRPr>
            </a:lvl3pPr>
            <a:lvl4pPr marL="1600200" indent="-228600">
              <a:defRPr>
                <a:solidFill>
                  <a:schemeClr val="tx1"/>
                </a:solidFill>
                <a:latin typeface="Perpetua" panose="02020502060401020303" pitchFamily="18" charset="0"/>
              </a:defRPr>
            </a:lvl4pPr>
            <a:lvl5pPr marL="2057400" indent="-228600">
              <a:defRPr>
                <a:solidFill>
                  <a:schemeClr val="tx1"/>
                </a:solidFill>
                <a:latin typeface="Perpetua" panose="02020502060401020303" pitchFamily="18" charset="0"/>
              </a:defRPr>
            </a:lvl5pPr>
            <a:lvl6pPr marL="2514600" indent="-228600" fontAlgn="base">
              <a:spcBef>
                <a:spcPct val="0"/>
              </a:spcBef>
              <a:spcAft>
                <a:spcPct val="0"/>
              </a:spcAft>
              <a:defRPr>
                <a:solidFill>
                  <a:schemeClr val="tx1"/>
                </a:solidFill>
                <a:latin typeface="Perpetua" panose="02020502060401020303" pitchFamily="18" charset="0"/>
              </a:defRPr>
            </a:lvl6pPr>
            <a:lvl7pPr marL="2971800" indent="-228600" fontAlgn="base">
              <a:spcBef>
                <a:spcPct val="0"/>
              </a:spcBef>
              <a:spcAft>
                <a:spcPct val="0"/>
              </a:spcAft>
              <a:defRPr>
                <a:solidFill>
                  <a:schemeClr val="tx1"/>
                </a:solidFill>
                <a:latin typeface="Perpetua" panose="02020502060401020303" pitchFamily="18" charset="0"/>
              </a:defRPr>
            </a:lvl7pPr>
            <a:lvl8pPr marL="3429000" indent="-228600" fontAlgn="base">
              <a:spcBef>
                <a:spcPct val="0"/>
              </a:spcBef>
              <a:spcAft>
                <a:spcPct val="0"/>
              </a:spcAft>
              <a:defRPr>
                <a:solidFill>
                  <a:schemeClr val="tx1"/>
                </a:solidFill>
                <a:latin typeface="Perpetua" panose="02020502060401020303" pitchFamily="18" charset="0"/>
              </a:defRPr>
            </a:lvl8pPr>
            <a:lvl9pPr marL="3886200" indent="-228600" fontAlgn="base">
              <a:spcBef>
                <a:spcPct val="0"/>
              </a:spcBef>
              <a:spcAft>
                <a:spcPct val="0"/>
              </a:spcAft>
              <a:defRPr>
                <a:solidFill>
                  <a:schemeClr val="tx1"/>
                </a:solidFill>
                <a:latin typeface="Perpetua" panose="02020502060401020303" pitchFamily="18" charset="0"/>
              </a:defRPr>
            </a:lvl9pPr>
          </a:lstStyle>
          <a:p>
            <a:pPr fontAlgn="base">
              <a:spcBef>
                <a:spcPct val="0"/>
              </a:spcBef>
              <a:spcAft>
                <a:spcPct val="0"/>
              </a:spcAft>
            </a:pPr>
            <a:fld id="{15CACA62-0160-4AD8-83F3-E8538E3F20E6}" type="slidenum">
              <a:rPr lang="en-US" altLang="en-US">
                <a:solidFill>
                  <a:srgbClr val="FFFFFF"/>
                </a:solidFill>
                <a:latin typeface="Franklin Gothic Book" panose="020B0503020102020204" pitchFamily="34" charset="0"/>
                <a:cs typeface="Arial" panose="020B0604020202020204" pitchFamily="34" charset="0"/>
              </a:rPr>
              <a:pPr fontAlgn="base">
                <a:spcBef>
                  <a:spcPct val="0"/>
                </a:spcBef>
                <a:spcAft>
                  <a:spcPct val="0"/>
                </a:spcAft>
              </a:pPr>
              <a:t>4</a:t>
            </a:fld>
            <a:endParaRPr lang="en-US" altLang="en-US">
              <a:solidFill>
                <a:srgbClr val="FFFFFF"/>
              </a:solidFill>
              <a:latin typeface="Franklin Gothic Book" panose="020B0503020102020204" pitchFamily="34" charset="0"/>
              <a:cs typeface="Arial" panose="020B0604020202020204" pitchFamily="34" charset="0"/>
            </a:endParaRPr>
          </a:p>
        </p:txBody>
      </p:sp>
    </p:spTree>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Title 1">
            <a:extLst>
              <a:ext uri="{FF2B5EF4-FFF2-40B4-BE49-F238E27FC236}">
                <a16:creationId xmlns:a16="http://schemas.microsoft.com/office/drawing/2014/main" id="{AA4386C6-563C-48B1-9566-54AE4DB878AA}"/>
              </a:ext>
            </a:extLst>
          </p:cNvPr>
          <p:cNvSpPr>
            <a:spLocks noGrp="1"/>
          </p:cNvSpPr>
          <p:nvPr>
            <p:ph type="title"/>
          </p:nvPr>
        </p:nvSpPr>
        <p:spPr/>
        <p:txBody>
          <a:bodyPr/>
          <a:lstStyle/>
          <a:p>
            <a:r>
              <a:rPr lang="en-US" altLang="en-US"/>
              <a:t>UK Bribery Act of 2010</a:t>
            </a:r>
          </a:p>
        </p:txBody>
      </p:sp>
      <p:sp>
        <p:nvSpPr>
          <p:cNvPr id="18435" name="Content Placeholder 2">
            <a:extLst>
              <a:ext uri="{FF2B5EF4-FFF2-40B4-BE49-F238E27FC236}">
                <a16:creationId xmlns:a16="http://schemas.microsoft.com/office/drawing/2014/main" id="{8923FF62-570C-48F7-9B7A-B6C7EDD25B4F}"/>
              </a:ext>
            </a:extLst>
          </p:cNvPr>
          <p:cNvSpPr>
            <a:spLocks noGrp="1"/>
          </p:cNvSpPr>
          <p:nvPr>
            <p:ph idx="1"/>
          </p:nvPr>
        </p:nvSpPr>
        <p:spPr/>
        <p:txBody>
          <a:bodyPr/>
          <a:lstStyle/>
          <a:p>
            <a:r>
              <a:rPr lang="en-US" altLang="en-US"/>
              <a:t>Strict liability – unless compliance plan</a:t>
            </a:r>
          </a:p>
          <a:p>
            <a:pPr lvl="1"/>
            <a:r>
              <a:rPr lang="en-US" altLang="en-US"/>
              <a:t>UK Ministry of Justice guidance (2011)</a:t>
            </a:r>
          </a:p>
          <a:p>
            <a:r>
              <a:rPr lang="en-US" altLang="en-US"/>
              <a:t>Extraterritorial application</a:t>
            </a:r>
          </a:p>
          <a:p>
            <a:r>
              <a:rPr lang="en-US" altLang="en-US"/>
              <a:t>Covers commercial bribery</a:t>
            </a:r>
          </a:p>
        </p:txBody>
      </p:sp>
      <p:sp>
        <p:nvSpPr>
          <p:cNvPr id="4" name="Footer Placeholder 3">
            <a:extLst>
              <a:ext uri="{FF2B5EF4-FFF2-40B4-BE49-F238E27FC236}">
                <a16:creationId xmlns:a16="http://schemas.microsoft.com/office/drawing/2014/main" id="{301E54BD-DD05-47F4-B8EA-7C86E406952B}"/>
              </a:ext>
            </a:extLst>
          </p:cNvPr>
          <p:cNvSpPr>
            <a:spLocks noGrp="1"/>
          </p:cNvSpPr>
          <p:nvPr>
            <p:ph type="ftr" sz="quarter" idx="11"/>
          </p:nvPr>
        </p:nvSpPr>
        <p:spPr/>
        <p:txBody>
          <a:bodyPr/>
          <a:lstStyle/>
          <a:p>
            <a:pPr>
              <a:defRPr/>
            </a:pPr>
            <a:endParaRPr lang="en-US">
              <a:solidFill>
                <a:prstClr val="white">
                  <a:tint val="75000"/>
                </a:prstClr>
              </a:solidFill>
              <a:latin typeface="Calibri"/>
            </a:endParaRPr>
          </a:p>
        </p:txBody>
      </p:sp>
      <p:pic>
        <p:nvPicPr>
          <p:cNvPr id="18437" name="Picture 2">
            <a:extLst>
              <a:ext uri="{FF2B5EF4-FFF2-40B4-BE49-F238E27FC236}">
                <a16:creationId xmlns:a16="http://schemas.microsoft.com/office/drawing/2014/main" id="{CFA04517-C4E2-4E06-9F14-9EC9039CA58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957337" y="3234094"/>
            <a:ext cx="4343400" cy="2616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4" name="Group 71">
            <a:extLst>
              <a:ext uri="{FF2B5EF4-FFF2-40B4-BE49-F238E27FC236}">
                <a16:creationId xmlns:a16="http://schemas.microsoft.com/office/drawing/2014/main" id="{CBB7F423-A102-49EC-9EE0-EE7C6C54A00F}"/>
              </a:ext>
            </a:extLst>
          </p:cNvPr>
          <p:cNvGraphicFramePr>
            <a:graphicFrameLocks/>
          </p:cNvGraphicFramePr>
          <p:nvPr>
            <p:extLst>
              <p:ext uri="{D42A27DB-BD31-4B8C-83A1-F6EECF244321}">
                <p14:modId xmlns:p14="http://schemas.microsoft.com/office/powerpoint/2010/main" val="3537845665"/>
              </p:ext>
            </p:extLst>
          </p:nvPr>
        </p:nvGraphicFramePr>
        <p:xfrm>
          <a:off x="289248" y="74423"/>
          <a:ext cx="10294776" cy="6709153"/>
        </p:xfrm>
        <a:graphic>
          <a:graphicData uri="http://schemas.openxmlformats.org/drawingml/2006/table">
            <a:tbl>
              <a:tblPr/>
              <a:tblGrid>
                <a:gridCol w="1372637">
                  <a:extLst>
                    <a:ext uri="{9D8B030D-6E8A-4147-A177-3AD203B41FA5}">
                      <a16:colId xmlns:a16="http://schemas.microsoft.com/office/drawing/2014/main" val="20000"/>
                    </a:ext>
                  </a:extLst>
                </a:gridCol>
                <a:gridCol w="2402114">
                  <a:extLst>
                    <a:ext uri="{9D8B030D-6E8A-4147-A177-3AD203B41FA5}">
                      <a16:colId xmlns:a16="http://schemas.microsoft.com/office/drawing/2014/main" val="20001"/>
                    </a:ext>
                  </a:extLst>
                </a:gridCol>
                <a:gridCol w="6520025">
                  <a:extLst>
                    <a:ext uri="{9D8B030D-6E8A-4147-A177-3AD203B41FA5}">
                      <a16:colId xmlns:a16="http://schemas.microsoft.com/office/drawing/2014/main" val="20002"/>
                    </a:ext>
                  </a:extLst>
                </a:gridCol>
              </a:tblGrid>
              <a:tr h="971142">
                <a:tc>
                  <a:txBody>
                    <a:bodyPr/>
                    <a:lstStyle/>
                    <a:p>
                      <a:pPr marL="0" marR="0" lvl="0" indent="0" algn="l" defTabSz="914400" rtl="0" eaLnBrk="1" fontAlgn="base" latinLnBrk="0" hangingPunct="1">
                        <a:lnSpc>
                          <a:spcPct val="100000"/>
                        </a:lnSpc>
                        <a:spcBef>
                          <a:spcPct val="30000"/>
                        </a:spcBef>
                        <a:spcAft>
                          <a:spcPct val="25000"/>
                        </a:spcAft>
                        <a:buClr>
                          <a:srgbClr val="192F5A"/>
                        </a:buClr>
                        <a:buSzTx/>
                        <a:buFont typeface="Times" pitchFamily="18" charset="0"/>
                        <a:buNone/>
                        <a:tabLst/>
                      </a:pPr>
                      <a:r>
                        <a:rPr kumimoji="0" lang="en-US" sz="1100" b="1" i="0" u="none" strike="noStrike" cap="none" normalizeH="0" baseline="0" dirty="0">
                          <a:ln>
                            <a:noFill/>
                          </a:ln>
                          <a:solidFill>
                            <a:schemeClr val="tx1"/>
                          </a:solidFill>
                          <a:effectLst/>
                          <a:latin typeface="Arial" charset="0"/>
                          <a:ea typeface="ＭＳ Ｐゴシック" pitchFamily="34" charset="-128"/>
                        </a:rPr>
                        <a:t>U.S. Sentencing Commission Sentencing Guidelines -  §8B2.1 </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333333"/>
                    </a:solidFill>
                  </a:tcPr>
                </a:tc>
                <a:tc>
                  <a:txBody>
                    <a:bodyPr/>
                    <a:lstStyle/>
                    <a:p>
                      <a:pPr marL="0" marR="0" lvl="0" indent="0" algn="l" defTabSz="914400" rtl="0" eaLnBrk="1" fontAlgn="base" latinLnBrk="0" hangingPunct="1">
                        <a:lnSpc>
                          <a:spcPct val="100000"/>
                        </a:lnSpc>
                        <a:spcBef>
                          <a:spcPct val="30000"/>
                        </a:spcBef>
                        <a:spcAft>
                          <a:spcPct val="25000"/>
                        </a:spcAft>
                        <a:buClr>
                          <a:srgbClr val="192F5A"/>
                        </a:buClr>
                        <a:buSzTx/>
                        <a:buFont typeface="Times" pitchFamily="18" charset="0"/>
                        <a:buNone/>
                        <a:tabLst/>
                      </a:pPr>
                      <a:r>
                        <a:rPr kumimoji="0" lang="en-US" sz="1100" b="1" i="0" u="none" strike="noStrike" cap="none" normalizeH="0" baseline="0" dirty="0">
                          <a:ln>
                            <a:noFill/>
                          </a:ln>
                          <a:solidFill>
                            <a:schemeClr val="tx1"/>
                          </a:solidFill>
                          <a:effectLst/>
                          <a:latin typeface="Arial" charset="0"/>
                          <a:ea typeface="ＭＳ Ｐゴシック" pitchFamily="34" charset="-128"/>
                        </a:rPr>
                        <a:t>U.S. Contractor Compliance System:   Final Federal Acquisition Regulation Rule (73 Fed. Reg. 67064 (Nov. 12, 2008) (effective 12/12/08)</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333333"/>
                    </a:solidFill>
                  </a:tcPr>
                </a:tc>
                <a:tc>
                  <a:txBody>
                    <a:bodyPr/>
                    <a:lstStyle/>
                    <a:p>
                      <a:pPr marL="0" marR="0" lvl="0" indent="0" algn="l" defTabSz="914400" rtl="0" eaLnBrk="1" fontAlgn="base" latinLnBrk="0" hangingPunct="1">
                        <a:lnSpc>
                          <a:spcPct val="100000"/>
                        </a:lnSpc>
                        <a:spcBef>
                          <a:spcPct val="30000"/>
                        </a:spcBef>
                        <a:spcAft>
                          <a:spcPct val="25000"/>
                        </a:spcAft>
                        <a:buClr>
                          <a:srgbClr val="192F5A"/>
                        </a:buClr>
                        <a:buSzTx/>
                        <a:buFont typeface="Times" pitchFamily="18" charset="0"/>
                        <a:buNone/>
                        <a:tabLst/>
                      </a:pPr>
                      <a:r>
                        <a:rPr kumimoji="0" lang="en-US" sz="1600" b="1" i="0" u="none" strike="noStrike" cap="none" normalizeH="0" baseline="0" dirty="0">
                          <a:ln>
                            <a:noFill/>
                          </a:ln>
                          <a:solidFill>
                            <a:schemeClr val="tx1"/>
                          </a:solidFill>
                          <a:effectLst/>
                          <a:latin typeface="Arial" charset="0"/>
                          <a:ea typeface="ＭＳ Ｐゴシック" pitchFamily="34" charset="-128"/>
                        </a:rPr>
                        <a:t>UK Ministry of Justice Guidance for Corporate Compliance (March 2011)</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333333"/>
                    </a:solidFill>
                  </a:tcPr>
                </a:tc>
                <a:extLst>
                  <a:ext uri="{0D108BD9-81ED-4DB2-BD59-A6C34878D82A}">
                    <a16:rowId xmlns:a16="http://schemas.microsoft.com/office/drawing/2014/main" val="10000"/>
                  </a:ext>
                </a:extLst>
              </a:tr>
              <a:tr h="840925">
                <a:tc>
                  <a:txBody>
                    <a:bodyPr/>
                    <a:lstStyle/>
                    <a:p>
                      <a:pPr marL="304800" marR="0" lvl="0" indent="-304800" algn="l" defTabSz="914400" rtl="0" eaLnBrk="1" fontAlgn="base" latinLnBrk="0" hangingPunct="1">
                        <a:lnSpc>
                          <a:spcPct val="100000"/>
                        </a:lnSpc>
                        <a:spcBef>
                          <a:spcPct val="30000"/>
                        </a:spcBef>
                        <a:spcAft>
                          <a:spcPct val="25000"/>
                        </a:spcAft>
                        <a:buClr>
                          <a:srgbClr val="192F5A"/>
                        </a:buClr>
                        <a:buSzTx/>
                        <a:buFont typeface="Times" pitchFamily="18" charset="0"/>
                        <a:buNone/>
                        <a:tabLst/>
                      </a:pPr>
                      <a:r>
                        <a:rPr kumimoji="0" lang="en-US" sz="1200" b="1" i="0" u="none" strike="noStrike" cap="none" normalizeH="0" baseline="0" dirty="0">
                          <a:ln>
                            <a:noFill/>
                          </a:ln>
                          <a:solidFill>
                            <a:schemeClr val="tx1"/>
                          </a:solidFill>
                          <a:effectLst/>
                          <a:latin typeface="Times New Roman" pitchFamily="18" charset="0"/>
                          <a:ea typeface="ＭＳ Ｐゴシック" pitchFamily="34" charset="-128"/>
                          <a:cs typeface="Times New Roman" pitchFamily="18" charset="0"/>
                        </a:rPr>
                        <a:t>1. 	Standards and procedures	</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333333"/>
                    </a:solidFill>
                  </a:tcPr>
                </a:tc>
                <a:tc>
                  <a:txBody>
                    <a:bodyPr/>
                    <a:lstStyle/>
                    <a:p>
                      <a:pPr marL="0" marR="0" lvl="0" indent="0" algn="l" defTabSz="914400" rtl="0" eaLnBrk="1" fontAlgn="base" latinLnBrk="0" hangingPunct="1">
                        <a:lnSpc>
                          <a:spcPct val="100000"/>
                        </a:lnSpc>
                        <a:spcBef>
                          <a:spcPct val="30000"/>
                        </a:spcBef>
                        <a:spcAft>
                          <a:spcPct val="25000"/>
                        </a:spcAft>
                        <a:buClr>
                          <a:srgbClr val="192F5A"/>
                        </a:buClr>
                        <a:buSzTx/>
                        <a:buFont typeface="Times" pitchFamily="18" charset="0"/>
                        <a:buNone/>
                        <a:tabLst/>
                      </a:pPr>
                      <a:r>
                        <a:rPr kumimoji="0" lang="en-US" sz="1100" b="1" i="0" u="none" strike="noStrike" cap="none" normalizeH="0" baseline="0" dirty="0">
                          <a:ln>
                            <a:noFill/>
                          </a:ln>
                          <a:solidFill>
                            <a:schemeClr val="bg2"/>
                          </a:solidFill>
                          <a:effectLst/>
                          <a:latin typeface="Times New Roman" pitchFamily="18" charset="0"/>
                          <a:ea typeface="ＭＳ Ｐゴシック" pitchFamily="34" charset="-128"/>
                          <a:cs typeface="Times New Roman" pitchFamily="18" charset="0"/>
                        </a:rPr>
                        <a:t>W/in 30 days: written code of business ethics and conduct </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00"/>
                    </a:solidFill>
                  </a:tcPr>
                </a:tc>
                <a:tc>
                  <a:txBody>
                    <a:bodyPr/>
                    <a:lstStyle/>
                    <a:p>
                      <a:pPr>
                        <a:lnSpc>
                          <a:spcPct val="100000"/>
                        </a:lnSpc>
                        <a:buFont typeface="Arial" pitchFamily="34" charset="0"/>
                        <a:buChar char="•"/>
                      </a:pPr>
                      <a:r>
                        <a:rPr lang="en-US" sz="1100" b="1" kern="1200" baseline="0" dirty="0">
                          <a:solidFill>
                            <a:schemeClr val="bg2"/>
                          </a:solidFill>
                          <a:latin typeface="Times New Roman" pitchFamily="18" charset="0"/>
                          <a:ea typeface="+mn-ea"/>
                          <a:cs typeface="Times New Roman" pitchFamily="18" charset="0"/>
                        </a:rPr>
                        <a:t> “Clear, Practical and Accessible Policies and Procedures”</a:t>
                      </a:r>
                    </a:p>
                    <a:p>
                      <a:pPr>
                        <a:lnSpc>
                          <a:spcPct val="100000"/>
                        </a:lnSpc>
                        <a:buFont typeface="Arial" pitchFamily="34" charset="0"/>
                        <a:buChar char="•"/>
                      </a:pPr>
                      <a:r>
                        <a:rPr lang="en-US" sz="1100" b="1" kern="1200" baseline="0" dirty="0">
                          <a:solidFill>
                            <a:schemeClr val="bg2"/>
                          </a:solidFill>
                          <a:latin typeface="Times New Roman" pitchFamily="18" charset="0"/>
                          <a:ea typeface="+mn-ea"/>
                          <a:cs typeface="Times New Roman" pitchFamily="18" charset="0"/>
                        </a:rPr>
                        <a:t> A </a:t>
                      </a:r>
                      <a:r>
                        <a:rPr lang="en-US" sz="1100" b="1" kern="1200" dirty="0">
                          <a:solidFill>
                            <a:schemeClr val="bg2"/>
                          </a:solidFill>
                          <a:latin typeface="Times New Roman" pitchFamily="18" charset="0"/>
                          <a:ea typeface="+mn-ea"/>
                          <a:cs typeface="Times New Roman" pitchFamily="18" charset="0"/>
                        </a:rPr>
                        <a:t>Code of</a:t>
                      </a:r>
                      <a:r>
                        <a:rPr lang="en-US" sz="1100" b="1" kern="1200" baseline="0" dirty="0">
                          <a:solidFill>
                            <a:schemeClr val="bg2"/>
                          </a:solidFill>
                          <a:latin typeface="Times New Roman" pitchFamily="18" charset="0"/>
                          <a:ea typeface="+mn-ea"/>
                          <a:cs typeface="Times New Roman" pitchFamily="18" charset="0"/>
                        </a:rPr>
                        <a:t> Ethics; p</a:t>
                      </a:r>
                      <a:r>
                        <a:rPr lang="en-US" sz="1100" b="1" kern="1200" dirty="0">
                          <a:solidFill>
                            <a:schemeClr val="bg2"/>
                          </a:solidFill>
                          <a:latin typeface="Times New Roman" pitchFamily="18" charset="0"/>
                          <a:ea typeface="+mn-ea"/>
                          <a:cs typeface="Times New Roman" pitchFamily="18" charset="0"/>
                        </a:rPr>
                        <a:t>rinciples applicable regardless of local laws or culture.</a:t>
                      </a:r>
                    </a:p>
                    <a:p>
                      <a:pPr>
                        <a:lnSpc>
                          <a:spcPct val="100000"/>
                        </a:lnSpc>
                        <a:buFont typeface="Arial" pitchFamily="34" charset="0"/>
                        <a:buChar char="•"/>
                      </a:pPr>
                      <a:r>
                        <a:rPr lang="en-US" sz="1100" b="1" kern="1200" dirty="0">
                          <a:solidFill>
                            <a:schemeClr val="bg2"/>
                          </a:solidFill>
                          <a:latin typeface="Times New Roman" pitchFamily="18" charset="0"/>
                          <a:ea typeface="+mn-ea"/>
                          <a:cs typeface="Times New Roman" pitchFamily="18" charset="0"/>
                        </a:rPr>
                        <a:t> A</a:t>
                      </a:r>
                      <a:r>
                        <a:rPr lang="en-US" sz="1100" b="1" kern="1200" baseline="0" dirty="0">
                          <a:solidFill>
                            <a:schemeClr val="bg2"/>
                          </a:solidFill>
                          <a:latin typeface="Times New Roman" pitchFamily="18" charset="0"/>
                          <a:ea typeface="+mn-ea"/>
                          <a:cs typeface="Times New Roman" pitchFamily="18" charset="0"/>
                        </a:rPr>
                        <a:t> </a:t>
                      </a:r>
                      <a:r>
                        <a:rPr lang="en-US" sz="1100" b="1" kern="1200" dirty="0">
                          <a:solidFill>
                            <a:schemeClr val="bg2"/>
                          </a:solidFill>
                          <a:latin typeface="Times New Roman" pitchFamily="18" charset="0"/>
                          <a:ea typeface="+mn-ea"/>
                          <a:cs typeface="Times New Roman" pitchFamily="18" charset="0"/>
                        </a:rPr>
                        <a:t>policy concerning political contributions and lobbying activities.</a:t>
                      </a:r>
                    </a:p>
                    <a:p>
                      <a:pPr>
                        <a:lnSpc>
                          <a:spcPct val="100000"/>
                        </a:lnSpc>
                        <a:buFont typeface="Arial" pitchFamily="34" charset="0"/>
                        <a:buChar char="•"/>
                      </a:pPr>
                      <a:r>
                        <a:rPr lang="en-US" sz="1100" b="1" kern="1200" dirty="0">
                          <a:solidFill>
                            <a:schemeClr val="bg2"/>
                          </a:solidFill>
                          <a:latin typeface="Times New Roman" pitchFamily="18" charset="0"/>
                          <a:ea typeface="+mn-ea"/>
                          <a:cs typeface="Times New Roman" pitchFamily="18" charset="0"/>
                        </a:rPr>
                        <a:t> A</a:t>
                      </a:r>
                      <a:r>
                        <a:rPr lang="en-US" sz="1100" b="1" kern="1200" baseline="0" dirty="0">
                          <a:solidFill>
                            <a:schemeClr val="bg2"/>
                          </a:solidFill>
                          <a:latin typeface="Times New Roman" pitchFamily="18" charset="0"/>
                          <a:ea typeface="+mn-ea"/>
                          <a:cs typeface="Times New Roman" pitchFamily="18" charset="0"/>
                        </a:rPr>
                        <a:t> </a:t>
                      </a:r>
                      <a:r>
                        <a:rPr lang="en-US" sz="1100" b="1" kern="1200" dirty="0">
                          <a:solidFill>
                            <a:schemeClr val="bg2"/>
                          </a:solidFill>
                          <a:latin typeface="Times New Roman" pitchFamily="18" charset="0"/>
                          <a:ea typeface="+mn-ea"/>
                          <a:cs typeface="Times New Roman" pitchFamily="18" charset="0"/>
                        </a:rPr>
                        <a:t>policy on gifts and hospitality and facilitation payments.</a:t>
                      </a:r>
                    </a:p>
                    <a:p>
                      <a:pPr>
                        <a:lnSpc>
                          <a:spcPct val="100000"/>
                        </a:lnSpc>
                        <a:buFont typeface="Arial" pitchFamily="34" charset="0"/>
                        <a:buChar char="•"/>
                      </a:pPr>
                      <a:r>
                        <a:rPr lang="en-US" sz="1100" b="1" kern="1200" dirty="0">
                          <a:solidFill>
                            <a:schemeClr val="bg2"/>
                          </a:solidFill>
                          <a:latin typeface="Times New Roman" pitchFamily="18" charset="0"/>
                          <a:ea typeface="+mn-ea"/>
                          <a:cs typeface="Times New Roman" pitchFamily="18" charset="0"/>
                        </a:rPr>
                        <a:t> A commitment to making it explicit that the anti-bribery code applies to business partners</a:t>
                      </a:r>
                      <a:endParaRPr kumimoji="0" lang="en-US" sz="1100" b="1" i="0" u="none" strike="noStrike" cap="none" normalizeH="0" baseline="0" dirty="0">
                        <a:ln>
                          <a:noFill/>
                        </a:ln>
                        <a:solidFill>
                          <a:schemeClr val="bg2"/>
                        </a:solidFill>
                        <a:effectLst/>
                        <a:latin typeface="Times New Roman" pitchFamily="18" charset="0"/>
                        <a:ea typeface="ＭＳ Ｐゴシック" pitchFamily="34" charset="-128"/>
                        <a:cs typeface="Times New Roman" pitchFamily="18"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CC"/>
                    </a:solidFill>
                  </a:tcPr>
                </a:tc>
                <a:extLst>
                  <a:ext uri="{0D108BD9-81ED-4DB2-BD59-A6C34878D82A}">
                    <a16:rowId xmlns:a16="http://schemas.microsoft.com/office/drawing/2014/main" val="10001"/>
                  </a:ext>
                </a:extLst>
              </a:tr>
              <a:tr h="744425">
                <a:tc>
                  <a:txBody>
                    <a:bodyPr/>
                    <a:lstStyle/>
                    <a:p>
                      <a:pPr marL="304800" marR="0" lvl="0" indent="-304800" algn="l" defTabSz="914400" rtl="0" eaLnBrk="1" fontAlgn="base" latinLnBrk="0" hangingPunct="1">
                        <a:lnSpc>
                          <a:spcPct val="100000"/>
                        </a:lnSpc>
                        <a:spcBef>
                          <a:spcPct val="30000"/>
                        </a:spcBef>
                        <a:spcAft>
                          <a:spcPct val="25000"/>
                        </a:spcAft>
                        <a:buClr>
                          <a:srgbClr val="192F5A"/>
                        </a:buClr>
                        <a:buSzTx/>
                        <a:buFont typeface="Times" pitchFamily="18" charset="0"/>
                        <a:buNone/>
                        <a:tabLst/>
                      </a:pPr>
                      <a:r>
                        <a:rPr kumimoji="0" lang="en-US" sz="1200" b="1" i="0" u="none" strike="noStrike" cap="none" normalizeH="0" baseline="0" dirty="0">
                          <a:ln>
                            <a:noFill/>
                          </a:ln>
                          <a:solidFill>
                            <a:schemeClr val="tx1"/>
                          </a:solidFill>
                          <a:effectLst/>
                          <a:latin typeface="Times New Roman" pitchFamily="18" charset="0"/>
                          <a:ea typeface="ＭＳ Ｐゴシック" pitchFamily="34" charset="-128"/>
                          <a:cs typeface="Times New Roman" pitchFamily="18" charset="0"/>
                        </a:rPr>
                        <a:t>2.  Knowledgeable leadership</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333333"/>
                    </a:solidFill>
                  </a:tcPr>
                </a:tc>
                <a:tc>
                  <a:txBody>
                    <a:bodyPr/>
                    <a:lstStyle/>
                    <a:p>
                      <a:pPr marL="0" marR="0" lvl="0" indent="0" algn="l" defTabSz="914400" rtl="0" eaLnBrk="1" fontAlgn="base" latinLnBrk="0" hangingPunct="1">
                        <a:lnSpc>
                          <a:spcPct val="100000"/>
                        </a:lnSpc>
                        <a:spcBef>
                          <a:spcPct val="30000"/>
                        </a:spcBef>
                        <a:spcAft>
                          <a:spcPct val="25000"/>
                        </a:spcAft>
                        <a:buClr>
                          <a:srgbClr val="192F5A"/>
                        </a:buClr>
                        <a:buSzTx/>
                        <a:buFont typeface="Times" pitchFamily="18" charset="0"/>
                        <a:buNone/>
                        <a:tabLst/>
                      </a:pPr>
                      <a:r>
                        <a:rPr kumimoji="0" lang="en-US" sz="1100" b="1" i="0" u="none" strike="noStrike" cap="none" normalizeH="0" baseline="0" dirty="0">
                          <a:ln>
                            <a:noFill/>
                          </a:ln>
                          <a:solidFill>
                            <a:schemeClr val="bg2"/>
                          </a:solidFill>
                          <a:effectLst/>
                          <a:latin typeface="Times New Roman" pitchFamily="18" charset="0"/>
                          <a:ea typeface="ＭＳ Ｐゴシック" pitchFamily="34" charset="-128"/>
                          <a:cs typeface="Times New Roman" pitchFamily="18" charset="0"/>
                        </a:rPr>
                        <a:t>No explicit reference.  </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00"/>
                    </a:solidFill>
                  </a:tcPr>
                </a:tc>
                <a:tc>
                  <a:txBody>
                    <a:bodyPr/>
                    <a:lstStyle/>
                    <a:p>
                      <a:pPr marL="0" marR="0" lvl="0" indent="0" algn="l" defTabSz="914400" rtl="0" eaLnBrk="1" fontAlgn="base" latinLnBrk="0" hangingPunct="1">
                        <a:lnSpc>
                          <a:spcPct val="100000"/>
                        </a:lnSpc>
                        <a:spcBef>
                          <a:spcPts val="0"/>
                        </a:spcBef>
                        <a:spcAft>
                          <a:spcPts val="0"/>
                        </a:spcAft>
                        <a:buClr>
                          <a:srgbClr val="192F5A"/>
                        </a:buClr>
                        <a:buSzTx/>
                        <a:buFont typeface="Arial" pitchFamily="34" charset="0"/>
                        <a:buChar char="•"/>
                        <a:tabLst/>
                      </a:pPr>
                      <a:r>
                        <a:rPr kumimoji="0" lang="en-US" sz="1100" b="1" i="0" u="none" strike="noStrike" cap="none" normalizeH="0" baseline="0" dirty="0">
                          <a:ln>
                            <a:noFill/>
                          </a:ln>
                          <a:solidFill>
                            <a:schemeClr val="bg2"/>
                          </a:solidFill>
                          <a:effectLst/>
                          <a:latin typeface="Times New Roman" pitchFamily="18" charset="0"/>
                          <a:ea typeface="ＭＳ Ｐゴシック" pitchFamily="34" charset="-128"/>
                          <a:cs typeface="Times New Roman" pitchFamily="18" charset="0"/>
                        </a:rPr>
                        <a:t>“Top Level Commitment”  </a:t>
                      </a:r>
                    </a:p>
                    <a:p>
                      <a:pPr marL="0" marR="0" lvl="0" indent="0" algn="l" defTabSz="914400" rtl="0" eaLnBrk="1" fontAlgn="base" latinLnBrk="0" hangingPunct="1">
                        <a:lnSpc>
                          <a:spcPct val="100000"/>
                        </a:lnSpc>
                        <a:spcBef>
                          <a:spcPts val="0"/>
                        </a:spcBef>
                        <a:spcAft>
                          <a:spcPts val="0"/>
                        </a:spcAft>
                        <a:buClr>
                          <a:srgbClr val="192F5A"/>
                        </a:buClr>
                        <a:buSzTx/>
                        <a:buFont typeface="Arial" pitchFamily="34" charset="0"/>
                        <a:buChar char="•"/>
                        <a:tabLst/>
                      </a:pPr>
                      <a:r>
                        <a:rPr kumimoji="0" lang="en-US" sz="1100" b="1" i="0" u="none" strike="noStrike" cap="none" normalizeH="0" baseline="0" dirty="0">
                          <a:ln>
                            <a:noFill/>
                          </a:ln>
                          <a:solidFill>
                            <a:schemeClr val="bg2"/>
                          </a:solidFill>
                          <a:effectLst/>
                          <a:latin typeface="Times New Roman" pitchFamily="18" charset="0"/>
                          <a:ea typeface="ＭＳ Ｐゴシック" pitchFamily="34" charset="-128"/>
                          <a:cs typeface="Times New Roman" pitchFamily="18" charset="0"/>
                        </a:rPr>
                        <a:t> Board expected to take a strong anti-bribery stance; CEO should take leading role.</a:t>
                      </a:r>
                    </a:p>
                    <a:p>
                      <a:pPr marL="0" marR="0" lvl="0" indent="0" algn="l" defTabSz="914400" rtl="0" eaLnBrk="1" fontAlgn="base" latinLnBrk="0" hangingPunct="1">
                        <a:lnSpc>
                          <a:spcPct val="100000"/>
                        </a:lnSpc>
                        <a:spcBef>
                          <a:spcPts val="0"/>
                        </a:spcBef>
                        <a:spcAft>
                          <a:spcPts val="0"/>
                        </a:spcAft>
                        <a:buClr>
                          <a:srgbClr val="192F5A"/>
                        </a:buClr>
                        <a:buSzTx/>
                        <a:buFont typeface="Arial" pitchFamily="34" charset="0"/>
                        <a:buChar char="•"/>
                        <a:tabLst/>
                      </a:pPr>
                      <a:r>
                        <a:rPr kumimoji="0" lang="en-US" sz="1100" b="1" i="0" u="none" strike="noStrike" cap="none" normalizeH="0" baseline="0" dirty="0">
                          <a:ln>
                            <a:noFill/>
                          </a:ln>
                          <a:solidFill>
                            <a:schemeClr val="bg2"/>
                          </a:solidFill>
                          <a:effectLst/>
                          <a:latin typeface="Times New Roman" pitchFamily="18" charset="0"/>
                          <a:ea typeface="ＭＳ Ｐゴシック" pitchFamily="34" charset="-128"/>
                          <a:cs typeface="Times New Roman" pitchFamily="18" charset="0"/>
                        </a:rPr>
                        <a:t> Senior officer should be in charge of compliance function.</a:t>
                      </a:r>
                    </a:p>
                    <a:p>
                      <a:pPr marL="0" marR="0" lvl="0" indent="0" algn="l" defTabSz="914400" rtl="0" eaLnBrk="1" fontAlgn="base" latinLnBrk="0" hangingPunct="1">
                        <a:lnSpc>
                          <a:spcPct val="100000"/>
                        </a:lnSpc>
                        <a:spcBef>
                          <a:spcPts val="0"/>
                        </a:spcBef>
                        <a:spcAft>
                          <a:spcPts val="0"/>
                        </a:spcAft>
                        <a:buClr>
                          <a:srgbClr val="192F5A"/>
                        </a:buClr>
                        <a:buSzTx/>
                        <a:buFont typeface="Arial" pitchFamily="34" charset="0"/>
                        <a:buChar char="•"/>
                        <a:tabLst/>
                      </a:pPr>
                      <a:r>
                        <a:rPr kumimoji="0" lang="en-US" sz="1100" b="1" i="0" u="none" strike="noStrike" cap="none" normalizeH="0" baseline="0" dirty="0">
                          <a:ln>
                            <a:noFill/>
                          </a:ln>
                          <a:solidFill>
                            <a:schemeClr val="bg2"/>
                          </a:solidFill>
                          <a:effectLst/>
                          <a:latin typeface="Times New Roman" pitchFamily="18" charset="0"/>
                          <a:ea typeface="ＭＳ Ｐゴシック" pitchFamily="34" charset="-128"/>
                          <a:cs typeface="Times New Roman" pitchFamily="18" charset="0"/>
                        </a:rPr>
                        <a:t> </a:t>
                      </a:r>
                      <a:r>
                        <a:rPr kumimoji="0" lang="en-US" sz="1100" b="1" i="0" u="none" strike="noStrike" cap="none" normalizeH="0" baseline="0" dirty="0" err="1">
                          <a:ln>
                            <a:noFill/>
                          </a:ln>
                          <a:solidFill>
                            <a:schemeClr val="bg2"/>
                          </a:solidFill>
                          <a:effectLst/>
                          <a:latin typeface="Times New Roman" pitchFamily="18" charset="0"/>
                          <a:ea typeface="ＭＳ Ｐゴシック" pitchFamily="34" charset="-128"/>
                          <a:cs typeface="Times New Roman" pitchFamily="18" charset="0"/>
                        </a:rPr>
                        <a:t>Decisionmaking</a:t>
                      </a:r>
                      <a:r>
                        <a:rPr kumimoji="0" lang="en-US" sz="1100" b="1" i="0" u="none" strike="noStrike" cap="none" normalizeH="0" baseline="0" dirty="0">
                          <a:ln>
                            <a:noFill/>
                          </a:ln>
                          <a:solidFill>
                            <a:schemeClr val="bg2"/>
                          </a:solidFill>
                          <a:effectLst/>
                          <a:latin typeface="Times New Roman" pitchFamily="18" charset="0"/>
                          <a:ea typeface="ＭＳ Ｐゴシック" pitchFamily="34" charset="-128"/>
                          <a:cs typeface="Times New Roman" pitchFamily="18" charset="0"/>
                        </a:rPr>
                        <a:t> structured to address risk.</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CC"/>
                    </a:solidFill>
                  </a:tcPr>
                </a:tc>
                <a:extLst>
                  <a:ext uri="{0D108BD9-81ED-4DB2-BD59-A6C34878D82A}">
                    <a16:rowId xmlns:a16="http://schemas.microsoft.com/office/drawing/2014/main" val="10002"/>
                  </a:ext>
                </a:extLst>
              </a:tr>
              <a:tr h="1119511">
                <a:tc>
                  <a:txBody>
                    <a:bodyPr/>
                    <a:lstStyle/>
                    <a:p>
                      <a:pPr marL="304800" marR="0" lvl="0" indent="-304800" algn="l" defTabSz="914400" rtl="0" eaLnBrk="1" fontAlgn="base" latinLnBrk="0" hangingPunct="1">
                        <a:lnSpc>
                          <a:spcPct val="100000"/>
                        </a:lnSpc>
                        <a:spcBef>
                          <a:spcPct val="30000"/>
                        </a:spcBef>
                        <a:spcAft>
                          <a:spcPct val="25000"/>
                        </a:spcAft>
                        <a:buClr>
                          <a:srgbClr val="192F5A"/>
                        </a:buClr>
                        <a:buSzTx/>
                        <a:buFont typeface="Times" pitchFamily="18" charset="0"/>
                        <a:buNone/>
                        <a:tabLst/>
                      </a:pPr>
                      <a:r>
                        <a:rPr kumimoji="0" lang="en-US" sz="1200" b="1" i="0" u="none" strike="noStrike" cap="none" normalizeH="0" baseline="0" dirty="0">
                          <a:ln>
                            <a:noFill/>
                          </a:ln>
                          <a:solidFill>
                            <a:schemeClr val="tx1"/>
                          </a:solidFill>
                          <a:effectLst/>
                          <a:latin typeface="Times New Roman" pitchFamily="18" charset="0"/>
                          <a:ea typeface="ＭＳ Ｐゴシック" pitchFamily="34" charset="-128"/>
                          <a:cs typeface="Times New Roman" pitchFamily="18" charset="0"/>
                        </a:rPr>
                        <a:t>3. 	Exclude risky personnel</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333333"/>
                    </a:solidFill>
                  </a:tcPr>
                </a:tc>
                <a:tc>
                  <a:txBody>
                    <a:bodyPr/>
                    <a:lstStyle/>
                    <a:p>
                      <a:pPr marL="0" marR="0" lvl="0" indent="0" algn="l" defTabSz="914400" rtl="0" eaLnBrk="1" fontAlgn="base" latinLnBrk="0" hangingPunct="1">
                        <a:lnSpc>
                          <a:spcPct val="100000"/>
                        </a:lnSpc>
                        <a:spcBef>
                          <a:spcPct val="30000"/>
                        </a:spcBef>
                        <a:spcAft>
                          <a:spcPct val="25000"/>
                        </a:spcAft>
                        <a:buClr>
                          <a:srgbClr val="192F5A"/>
                        </a:buClr>
                        <a:buSzTx/>
                        <a:buFont typeface="Times" pitchFamily="18" charset="0"/>
                        <a:buNone/>
                        <a:tabLst/>
                      </a:pPr>
                      <a:r>
                        <a:rPr kumimoji="0" lang="en-US" sz="1100" b="1" i="0" u="none" strike="noStrike" cap="none" normalizeH="0" baseline="0" dirty="0">
                          <a:ln>
                            <a:noFill/>
                          </a:ln>
                          <a:solidFill>
                            <a:schemeClr val="bg2"/>
                          </a:solidFill>
                          <a:effectLst/>
                          <a:latin typeface="Times New Roman" pitchFamily="18" charset="0"/>
                          <a:ea typeface="ＭＳ Ｐゴシック" pitchFamily="34" charset="-128"/>
                          <a:cs typeface="Times New Roman" pitchFamily="18" charset="0"/>
                        </a:rPr>
                        <a:t>W/in 90 days:  “reasonable efforts not to include an individual as a principal, whom due diligence would have exposed as having engaged in conduct that is in conflict with Contractor’s code   </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gradFill flip="none" rotWithShape="1">
                      <a:gsLst>
                        <a:gs pos="0">
                          <a:srgbClr val="FFFF00">
                            <a:tint val="66000"/>
                            <a:satMod val="160000"/>
                          </a:srgbClr>
                        </a:gs>
                        <a:gs pos="50000">
                          <a:srgbClr val="FFFF00">
                            <a:tint val="44500"/>
                            <a:satMod val="160000"/>
                          </a:srgbClr>
                        </a:gs>
                        <a:gs pos="100000">
                          <a:srgbClr val="FFFF00">
                            <a:tint val="23500"/>
                            <a:satMod val="160000"/>
                          </a:srgbClr>
                        </a:gs>
                      </a:gsLst>
                      <a:lin ang="10800000" scaled="1"/>
                      <a:tileRect/>
                    </a:gradFill>
                  </a:tcPr>
                </a:tc>
                <a:tc>
                  <a:txBody>
                    <a:bodyPr/>
                    <a:lstStyle/>
                    <a:p>
                      <a:pPr>
                        <a:lnSpc>
                          <a:spcPct val="100000"/>
                        </a:lnSpc>
                        <a:buFont typeface="Arial" pitchFamily="34" charset="0"/>
                        <a:buChar char="•"/>
                      </a:pPr>
                      <a:r>
                        <a:rPr lang="en-US" sz="1100" b="1" kern="1200" baseline="0" dirty="0">
                          <a:solidFill>
                            <a:schemeClr val="bg2"/>
                          </a:solidFill>
                          <a:latin typeface="Times New Roman" pitchFamily="18" charset="0"/>
                          <a:ea typeface="+mn-ea"/>
                          <a:cs typeface="Times New Roman" pitchFamily="18" charset="0"/>
                        </a:rPr>
                        <a:t> Where appropriate, employees should be vetted.</a:t>
                      </a:r>
                    </a:p>
                    <a:p>
                      <a:pPr>
                        <a:lnSpc>
                          <a:spcPct val="100000"/>
                        </a:lnSpc>
                        <a:buFont typeface="Arial" pitchFamily="34" charset="0"/>
                        <a:buChar char="•"/>
                      </a:pPr>
                      <a:r>
                        <a:rPr lang="en-US" sz="1100" b="1" kern="1200" baseline="0" dirty="0">
                          <a:solidFill>
                            <a:schemeClr val="bg2"/>
                          </a:solidFill>
                          <a:latin typeface="Times New Roman" pitchFamily="18" charset="0"/>
                          <a:ea typeface="+mn-ea"/>
                          <a:cs typeface="Times New Roman" pitchFamily="18" charset="0"/>
                        </a:rPr>
                        <a:t>A</a:t>
                      </a:r>
                      <a:r>
                        <a:rPr lang="en-US" sz="1100" b="1" kern="1200" dirty="0">
                          <a:solidFill>
                            <a:schemeClr val="bg2"/>
                          </a:solidFill>
                          <a:latin typeface="Times New Roman" pitchFamily="18" charset="0"/>
                          <a:ea typeface="+mn-ea"/>
                          <a:cs typeface="Times New Roman" pitchFamily="18" charset="0"/>
                        </a:rPr>
                        <a:t> policy on outside advisers/third parties including vetting and due</a:t>
                      </a:r>
                      <a:r>
                        <a:rPr lang="en-US" sz="1100" b="1" kern="1200" baseline="0" dirty="0">
                          <a:solidFill>
                            <a:schemeClr val="bg2"/>
                          </a:solidFill>
                          <a:latin typeface="Times New Roman" pitchFamily="18" charset="0"/>
                          <a:ea typeface="+mn-ea"/>
                          <a:cs typeface="Times New Roman" pitchFamily="18" charset="0"/>
                        </a:rPr>
                        <a:t> </a:t>
                      </a:r>
                      <a:r>
                        <a:rPr lang="en-US" sz="1100" b="1" kern="1200" dirty="0">
                          <a:solidFill>
                            <a:schemeClr val="bg2"/>
                          </a:solidFill>
                          <a:latin typeface="Times New Roman" pitchFamily="18" charset="0"/>
                          <a:ea typeface="+mn-ea"/>
                          <a:cs typeface="Times New Roman" pitchFamily="18" charset="0"/>
                        </a:rPr>
                        <a:t>diligence and appropriate risk assessments.</a:t>
                      </a:r>
                      <a:endParaRPr kumimoji="0" lang="en-US" sz="1100" b="1" i="0" u="none" strike="noStrike" cap="none" normalizeH="0" baseline="0" dirty="0">
                        <a:ln>
                          <a:noFill/>
                        </a:ln>
                        <a:solidFill>
                          <a:schemeClr val="bg2"/>
                        </a:solidFill>
                        <a:effectLst/>
                        <a:latin typeface="Times New Roman" pitchFamily="18" charset="0"/>
                        <a:ea typeface="ＭＳ Ｐゴシック" pitchFamily="34" charset="-128"/>
                        <a:cs typeface="Times New Roman" pitchFamily="18"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CC"/>
                    </a:solidFill>
                  </a:tcPr>
                </a:tc>
                <a:extLst>
                  <a:ext uri="{0D108BD9-81ED-4DB2-BD59-A6C34878D82A}">
                    <a16:rowId xmlns:a16="http://schemas.microsoft.com/office/drawing/2014/main" val="10003"/>
                  </a:ext>
                </a:extLst>
              </a:tr>
              <a:tr h="526036">
                <a:tc>
                  <a:txBody>
                    <a:bodyPr/>
                    <a:lstStyle/>
                    <a:p>
                      <a:pPr marL="304800" marR="0" lvl="0" indent="-304800" algn="l" defTabSz="914400" rtl="0" eaLnBrk="1" fontAlgn="base" latinLnBrk="0" hangingPunct="1">
                        <a:lnSpc>
                          <a:spcPct val="100000"/>
                        </a:lnSpc>
                        <a:spcBef>
                          <a:spcPct val="30000"/>
                        </a:spcBef>
                        <a:spcAft>
                          <a:spcPct val="25000"/>
                        </a:spcAft>
                        <a:buClr>
                          <a:srgbClr val="192F5A"/>
                        </a:buClr>
                        <a:buSzTx/>
                        <a:buFont typeface="Times" pitchFamily="18" charset="0"/>
                        <a:buNone/>
                        <a:tabLst/>
                      </a:pPr>
                      <a:r>
                        <a:rPr kumimoji="0" lang="en-US" sz="1200" b="1" i="0" u="none" strike="noStrike" cap="none" normalizeH="0" baseline="0" dirty="0">
                          <a:ln>
                            <a:noFill/>
                          </a:ln>
                          <a:solidFill>
                            <a:schemeClr val="tx1"/>
                          </a:solidFill>
                          <a:effectLst/>
                          <a:latin typeface="Times New Roman" pitchFamily="18" charset="0"/>
                          <a:ea typeface="ＭＳ Ｐゴシック" pitchFamily="34" charset="-128"/>
                          <a:cs typeface="Times New Roman" pitchFamily="18" charset="0"/>
                        </a:rPr>
                        <a:t>4. 	Training</a:t>
                      </a:r>
                      <a:r>
                        <a:rPr kumimoji="0" lang="en-US" sz="1200" b="0" i="0" u="none" strike="noStrike" cap="none" normalizeH="0" baseline="0" dirty="0">
                          <a:ln>
                            <a:noFill/>
                          </a:ln>
                          <a:solidFill>
                            <a:schemeClr val="tx1"/>
                          </a:solidFill>
                          <a:effectLst/>
                          <a:latin typeface="Times New Roman" pitchFamily="18" charset="0"/>
                          <a:ea typeface="ＭＳ Ｐゴシック" pitchFamily="34" charset="-128"/>
                          <a:cs typeface="Times New Roman" pitchFamily="18" charset="0"/>
                        </a:rPr>
                        <a:t> </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333333"/>
                    </a:solidFill>
                  </a:tcPr>
                </a:tc>
                <a:tc>
                  <a:txBody>
                    <a:bodyPr/>
                    <a:lstStyle/>
                    <a:p>
                      <a:pPr marL="0" marR="0" lvl="0" indent="0" algn="l" defTabSz="914400" rtl="0" eaLnBrk="1" fontAlgn="base" latinLnBrk="0" hangingPunct="1">
                        <a:lnSpc>
                          <a:spcPct val="100000"/>
                        </a:lnSpc>
                        <a:spcBef>
                          <a:spcPct val="30000"/>
                        </a:spcBef>
                        <a:spcAft>
                          <a:spcPct val="25000"/>
                        </a:spcAft>
                        <a:buClr>
                          <a:srgbClr val="192F5A"/>
                        </a:buClr>
                        <a:buSzTx/>
                        <a:buFont typeface="Times" pitchFamily="18" charset="0"/>
                        <a:buNone/>
                        <a:tabLst/>
                      </a:pPr>
                      <a:r>
                        <a:rPr kumimoji="0" lang="en-US" sz="1100" b="1" i="0" u="none" strike="noStrike" cap="none" normalizeH="0" baseline="0" dirty="0">
                          <a:ln>
                            <a:noFill/>
                          </a:ln>
                          <a:solidFill>
                            <a:schemeClr val="bg2"/>
                          </a:solidFill>
                          <a:effectLst/>
                          <a:latin typeface="Times New Roman" pitchFamily="18" charset="0"/>
                          <a:ea typeface="ＭＳ Ｐゴシック" pitchFamily="34" charset="-128"/>
                          <a:cs typeface="Times New Roman" pitchFamily="18" charset="0"/>
                        </a:rPr>
                        <a:t>W/in 90 days:  business ethics  awareness , compliance program</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gradFill flip="none" rotWithShape="1">
                      <a:gsLst>
                        <a:gs pos="0">
                          <a:srgbClr val="FFFF00">
                            <a:tint val="66000"/>
                            <a:satMod val="160000"/>
                          </a:srgbClr>
                        </a:gs>
                        <a:gs pos="50000">
                          <a:srgbClr val="FFFF00">
                            <a:tint val="44500"/>
                            <a:satMod val="160000"/>
                          </a:srgbClr>
                        </a:gs>
                        <a:gs pos="100000">
                          <a:srgbClr val="FFFF00">
                            <a:tint val="23500"/>
                            <a:satMod val="160000"/>
                          </a:srgbClr>
                        </a:gs>
                      </a:gsLst>
                      <a:lin ang="10800000" scaled="1"/>
                      <a:tileRect/>
                    </a:gradFill>
                  </a:tcPr>
                </a:tc>
                <a:tc>
                  <a:txBody>
                    <a:bodyPr/>
                    <a:lstStyle/>
                    <a:p>
                      <a:pPr>
                        <a:lnSpc>
                          <a:spcPct val="100000"/>
                        </a:lnSpc>
                        <a:buFont typeface="Arial" pitchFamily="34" charset="0"/>
                        <a:buChar char="•"/>
                      </a:pPr>
                      <a:r>
                        <a:rPr lang="en-US" sz="1100" b="1" kern="1200" baseline="0" dirty="0">
                          <a:solidFill>
                            <a:schemeClr val="bg2"/>
                          </a:solidFill>
                          <a:latin typeface="Times New Roman" pitchFamily="18" charset="0"/>
                          <a:ea typeface="+mn-ea"/>
                          <a:cs typeface="Times New Roman" pitchFamily="18" charset="0"/>
                        </a:rPr>
                        <a:t> T</a:t>
                      </a:r>
                      <a:r>
                        <a:rPr lang="en-US" sz="1100" b="1" kern="1200" dirty="0">
                          <a:solidFill>
                            <a:schemeClr val="bg2"/>
                          </a:solidFill>
                          <a:latin typeface="Times New Roman" pitchFamily="18" charset="0"/>
                          <a:ea typeface="+mn-ea"/>
                          <a:cs typeface="Times New Roman" pitchFamily="18" charset="0"/>
                        </a:rPr>
                        <a:t>raining to ensure dissemination of the anti-corruption culture to all staff at all levels within the corporate.</a:t>
                      </a:r>
                      <a:endParaRPr kumimoji="0" lang="en-US" sz="1100" b="1" i="0" u="none" strike="noStrike" cap="none" normalizeH="0" baseline="0" dirty="0">
                        <a:ln>
                          <a:noFill/>
                        </a:ln>
                        <a:solidFill>
                          <a:schemeClr val="bg2"/>
                        </a:solidFill>
                        <a:effectLst/>
                        <a:latin typeface="Times New Roman" pitchFamily="18" charset="0"/>
                        <a:ea typeface="ＭＳ Ｐゴシック" pitchFamily="34" charset="-128"/>
                        <a:cs typeface="Times New Roman" pitchFamily="18"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CC"/>
                    </a:solidFill>
                  </a:tcPr>
                </a:tc>
                <a:extLst>
                  <a:ext uri="{0D108BD9-81ED-4DB2-BD59-A6C34878D82A}">
                    <a16:rowId xmlns:a16="http://schemas.microsoft.com/office/drawing/2014/main" val="10004"/>
                  </a:ext>
                </a:extLst>
              </a:tr>
              <a:tr h="840925">
                <a:tc>
                  <a:txBody>
                    <a:bodyPr/>
                    <a:lstStyle/>
                    <a:p>
                      <a:pPr marL="304800" marR="0" lvl="0" indent="-304800" algn="l" defTabSz="914400" rtl="0" eaLnBrk="1" fontAlgn="base" latinLnBrk="0" hangingPunct="1">
                        <a:lnSpc>
                          <a:spcPct val="100000"/>
                        </a:lnSpc>
                        <a:spcBef>
                          <a:spcPct val="30000"/>
                        </a:spcBef>
                        <a:spcAft>
                          <a:spcPct val="25000"/>
                        </a:spcAft>
                        <a:buClr>
                          <a:srgbClr val="192F5A"/>
                        </a:buClr>
                        <a:buSzTx/>
                        <a:buFont typeface="Times" pitchFamily="18" charset="0"/>
                        <a:buNone/>
                        <a:tabLst/>
                      </a:pPr>
                      <a:r>
                        <a:rPr kumimoji="0" lang="en-US" sz="1200" b="1" i="0" u="none" strike="noStrike" cap="none" normalizeH="0" baseline="0" dirty="0">
                          <a:ln>
                            <a:noFill/>
                          </a:ln>
                          <a:solidFill>
                            <a:schemeClr val="tx1"/>
                          </a:solidFill>
                          <a:effectLst/>
                          <a:latin typeface="Times New Roman" pitchFamily="18" charset="0"/>
                          <a:ea typeface="ＭＳ Ｐゴシック" pitchFamily="34" charset="-128"/>
                          <a:cs typeface="Times New Roman" pitchFamily="18" charset="0"/>
                        </a:rPr>
                        <a:t>5. 	Monitor, evaluate, reporting hotlin</a:t>
                      </a:r>
                      <a:r>
                        <a:rPr kumimoji="0" lang="en-US" sz="1200" b="0" i="0" u="none" strike="noStrike" cap="none" normalizeH="0" baseline="0" dirty="0">
                          <a:ln>
                            <a:noFill/>
                          </a:ln>
                          <a:solidFill>
                            <a:schemeClr val="tx1"/>
                          </a:solidFill>
                          <a:effectLst/>
                          <a:latin typeface="Times New Roman" pitchFamily="18" charset="0"/>
                          <a:ea typeface="ＭＳ Ｐゴシック" pitchFamily="34" charset="-128"/>
                          <a:cs typeface="Times New Roman" pitchFamily="18" charset="0"/>
                        </a:rPr>
                        <a:t>e</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333333"/>
                    </a:solidFill>
                  </a:tcPr>
                </a:tc>
                <a:tc>
                  <a:txBody>
                    <a:bodyPr/>
                    <a:lstStyle/>
                    <a:p>
                      <a:pPr marL="0" marR="0" lvl="0" indent="0" algn="l" defTabSz="914400" rtl="0" eaLnBrk="1" fontAlgn="base" latinLnBrk="0" hangingPunct="1">
                        <a:lnSpc>
                          <a:spcPct val="100000"/>
                        </a:lnSpc>
                        <a:spcBef>
                          <a:spcPct val="30000"/>
                        </a:spcBef>
                        <a:spcAft>
                          <a:spcPct val="25000"/>
                        </a:spcAft>
                        <a:buClr>
                          <a:srgbClr val="192F5A"/>
                        </a:buClr>
                        <a:buSzTx/>
                        <a:buFont typeface="Times" pitchFamily="18" charset="0"/>
                        <a:buNone/>
                        <a:tabLst/>
                      </a:pPr>
                      <a:r>
                        <a:rPr kumimoji="0" lang="en-US" sz="1100" b="1" i="0" u="none" strike="noStrike" cap="none" normalizeH="0" baseline="0" dirty="0">
                          <a:ln>
                            <a:noFill/>
                          </a:ln>
                          <a:solidFill>
                            <a:schemeClr val="bg2"/>
                          </a:solidFill>
                          <a:effectLst/>
                          <a:latin typeface="Times New Roman" pitchFamily="18" charset="0"/>
                          <a:ea typeface="ＭＳ Ｐゴシック" pitchFamily="34" charset="-128"/>
                          <a:cs typeface="Times New Roman" pitchFamily="18" charset="0"/>
                        </a:rPr>
                        <a:t>W/in 90 days:  internal control system to facilitate timely discovery</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gradFill flip="none" rotWithShape="1">
                      <a:gsLst>
                        <a:gs pos="0">
                          <a:srgbClr val="FFFF00">
                            <a:tint val="66000"/>
                            <a:satMod val="160000"/>
                          </a:srgbClr>
                        </a:gs>
                        <a:gs pos="50000">
                          <a:srgbClr val="FFFF00">
                            <a:tint val="44500"/>
                            <a:satMod val="160000"/>
                          </a:srgbClr>
                        </a:gs>
                        <a:gs pos="100000">
                          <a:srgbClr val="FFFF00">
                            <a:tint val="23500"/>
                            <a:satMod val="160000"/>
                          </a:srgbClr>
                        </a:gs>
                      </a:gsLst>
                      <a:lin ang="10800000" scaled="1"/>
                      <a:tileRect/>
                    </a:gradFill>
                  </a:tcPr>
                </a:tc>
                <a:tc>
                  <a:txBody>
                    <a:bodyPr/>
                    <a:lstStyle/>
                    <a:p>
                      <a:pPr marL="0" marR="0" lvl="0" indent="0" algn="l" defTabSz="914400" rtl="0" eaLnBrk="1" fontAlgn="base" latinLnBrk="0" hangingPunct="1">
                        <a:lnSpc>
                          <a:spcPct val="100000"/>
                        </a:lnSpc>
                        <a:spcBef>
                          <a:spcPts val="0"/>
                        </a:spcBef>
                        <a:spcAft>
                          <a:spcPts val="0"/>
                        </a:spcAft>
                        <a:buClr>
                          <a:srgbClr val="192F5A"/>
                        </a:buClr>
                        <a:buSzTx/>
                        <a:buFont typeface="Arial" pitchFamily="34" charset="0"/>
                        <a:buChar char="•"/>
                        <a:tabLst/>
                      </a:pPr>
                      <a:r>
                        <a:rPr lang="en-US" sz="1100" b="1" kern="1200" baseline="0" dirty="0">
                          <a:solidFill>
                            <a:schemeClr val="bg2"/>
                          </a:solidFill>
                          <a:latin typeface="Times New Roman" pitchFamily="18" charset="0"/>
                          <a:ea typeface="+mn-ea"/>
                          <a:cs typeface="Times New Roman" pitchFamily="18" charset="0"/>
                        </a:rPr>
                        <a:t> “Due diligence” and “Monitoring and Review”</a:t>
                      </a:r>
                    </a:p>
                    <a:p>
                      <a:pPr marL="0" marR="0" lvl="0" indent="0" algn="l" defTabSz="914400" rtl="0" eaLnBrk="1" fontAlgn="base" latinLnBrk="0" hangingPunct="1">
                        <a:lnSpc>
                          <a:spcPct val="100000"/>
                        </a:lnSpc>
                        <a:spcBef>
                          <a:spcPts val="0"/>
                        </a:spcBef>
                        <a:spcAft>
                          <a:spcPts val="0"/>
                        </a:spcAft>
                        <a:buClr>
                          <a:srgbClr val="192F5A"/>
                        </a:buClr>
                        <a:buSzTx/>
                        <a:buFont typeface="Arial" pitchFamily="34" charset="0"/>
                        <a:buChar char="•"/>
                        <a:tabLst/>
                      </a:pPr>
                      <a:r>
                        <a:rPr lang="en-US" sz="1100" b="1" kern="1200" baseline="0" dirty="0">
                          <a:solidFill>
                            <a:schemeClr val="bg2"/>
                          </a:solidFill>
                          <a:latin typeface="Times New Roman" pitchFamily="18" charset="0"/>
                          <a:ea typeface="+mn-ea"/>
                          <a:cs typeface="Times New Roman" pitchFamily="18" charset="0"/>
                        </a:rPr>
                        <a:t>  R</a:t>
                      </a:r>
                      <a:r>
                        <a:rPr lang="en-US" sz="1100" b="1" kern="1200" dirty="0">
                          <a:solidFill>
                            <a:schemeClr val="bg2"/>
                          </a:solidFill>
                          <a:latin typeface="Times New Roman" pitchFamily="18" charset="0"/>
                          <a:ea typeface="+mn-ea"/>
                          <a:cs typeface="Times New Roman" pitchFamily="18" charset="0"/>
                        </a:rPr>
                        <a:t>egular checks and auditing in a proportionate manner.</a:t>
                      </a:r>
                    </a:p>
                    <a:p>
                      <a:pPr marL="0" marR="0" lvl="0" indent="0" algn="l" defTabSz="914400" rtl="0" eaLnBrk="1" fontAlgn="base" latinLnBrk="0" hangingPunct="1">
                        <a:lnSpc>
                          <a:spcPct val="100000"/>
                        </a:lnSpc>
                        <a:spcBef>
                          <a:spcPts val="0"/>
                        </a:spcBef>
                        <a:spcAft>
                          <a:spcPts val="0"/>
                        </a:spcAft>
                        <a:buClr>
                          <a:srgbClr val="192F5A"/>
                        </a:buClr>
                        <a:buSzTx/>
                        <a:buFont typeface="Arial" pitchFamily="34" charset="0"/>
                        <a:buChar char="•"/>
                        <a:tabLst/>
                      </a:pPr>
                      <a:r>
                        <a:rPr lang="en-US" sz="1100" b="1" kern="1200" baseline="0" dirty="0">
                          <a:solidFill>
                            <a:schemeClr val="bg2"/>
                          </a:solidFill>
                          <a:latin typeface="Times New Roman" pitchFamily="18" charset="0"/>
                          <a:ea typeface="+mn-ea"/>
                          <a:cs typeface="Times New Roman" pitchFamily="18" charset="0"/>
                        </a:rPr>
                        <a:t> A </a:t>
                      </a:r>
                      <a:r>
                        <a:rPr lang="en-US" sz="1100" b="1" kern="1200" dirty="0">
                          <a:solidFill>
                            <a:schemeClr val="bg2"/>
                          </a:solidFill>
                          <a:latin typeface="Times New Roman" pitchFamily="18" charset="0"/>
                          <a:ea typeface="+mn-ea"/>
                          <a:cs typeface="Times New Roman" pitchFamily="18" charset="0"/>
                        </a:rPr>
                        <a:t>helpline which enables employees to report</a:t>
                      </a:r>
                      <a:r>
                        <a:rPr lang="en-US" sz="1100" b="1" kern="1200" baseline="0" dirty="0">
                          <a:solidFill>
                            <a:schemeClr val="bg2"/>
                          </a:solidFill>
                          <a:latin typeface="Times New Roman" pitchFamily="18" charset="0"/>
                          <a:ea typeface="+mn-ea"/>
                          <a:cs typeface="Times New Roman" pitchFamily="18" charset="0"/>
                        </a:rPr>
                        <a:t> c</a:t>
                      </a:r>
                      <a:r>
                        <a:rPr lang="en-US" sz="1100" b="1" kern="1200" dirty="0">
                          <a:solidFill>
                            <a:schemeClr val="bg2"/>
                          </a:solidFill>
                          <a:latin typeface="Times New Roman" pitchFamily="18" charset="0"/>
                          <a:ea typeface="+mn-ea"/>
                          <a:cs typeface="Times New Roman" pitchFamily="18" charset="0"/>
                        </a:rPr>
                        <a:t>oncerns; safeguards</a:t>
                      </a:r>
                      <a:r>
                        <a:rPr lang="en-US" sz="1100" b="1" kern="1200" baseline="0" dirty="0">
                          <a:solidFill>
                            <a:schemeClr val="bg2"/>
                          </a:solidFill>
                          <a:latin typeface="Times New Roman" pitchFamily="18" charset="0"/>
                          <a:ea typeface="+mn-ea"/>
                          <a:cs typeface="Times New Roman" pitchFamily="18" charset="0"/>
                        </a:rPr>
                        <a:t> for whistleblowers</a:t>
                      </a:r>
                      <a:endParaRPr lang="en-US" sz="1100" b="1" kern="1200" dirty="0">
                        <a:solidFill>
                          <a:schemeClr val="bg2"/>
                        </a:solidFill>
                        <a:latin typeface="Times New Roman" pitchFamily="18" charset="0"/>
                        <a:ea typeface="+mn-ea"/>
                        <a:cs typeface="Times New Roman" pitchFamily="18" charset="0"/>
                      </a:endParaRPr>
                    </a:p>
                    <a:p>
                      <a:pPr marL="0" marR="0" lvl="0" indent="0" algn="l" defTabSz="914400" rtl="0" eaLnBrk="1" fontAlgn="base" latinLnBrk="0" hangingPunct="1">
                        <a:lnSpc>
                          <a:spcPct val="100000"/>
                        </a:lnSpc>
                        <a:spcBef>
                          <a:spcPts val="0"/>
                        </a:spcBef>
                        <a:spcAft>
                          <a:spcPts val="0"/>
                        </a:spcAft>
                        <a:buClr>
                          <a:srgbClr val="192F5A"/>
                        </a:buClr>
                        <a:buSzTx/>
                        <a:buFont typeface="Arial" pitchFamily="34" charset="0"/>
                        <a:buChar char="•"/>
                        <a:tabLst/>
                      </a:pPr>
                      <a:r>
                        <a:rPr lang="en-US" sz="1100" b="1" kern="1200" dirty="0">
                          <a:solidFill>
                            <a:schemeClr val="bg2"/>
                          </a:solidFill>
                          <a:latin typeface="Times New Roman" pitchFamily="18" charset="0"/>
                          <a:ea typeface="+mn-ea"/>
                          <a:cs typeface="Times New Roman" pitchFamily="18" charset="0"/>
                        </a:rPr>
                        <a:t> Financial</a:t>
                      </a:r>
                      <a:r>
                        <a:rPr lang="en-US" sz="1100" b="1" kern="1200" baseline="0" dirty="0">
                          <a:solidFill>
                            <a:schemeClr val="bg2"/>
                          </a:solidFill>
                          <a:latin typeface="Times New Roman" pitchFamily="18" charset="0"/>
                          <a:ea typeface="+mn-ea"/>
                          <a:cs typeface="Times New Roman" pitchFamily="18" charset="0"/>
                        </a:rPr>
                        <a:t> controls</a:t>
                      </a:r>
                    </a:p>
                    <a:p>
                      <a:pPr marL="0" marR="0" lvl="0" indent="0" algn="l" defTabSz="914400" rtl="0" eaLnBrk="1" fontAlgn="base" latinLnBrk="0" hangingPunct="1">
                        <a:lnSpc>
                          <a:spcPct val="100000"/>
                        </a:lnSpc>
                        <a:spcBef>
                          <a:spcPts val="0"/>
                        </a:spcBef>
                        <a:spcAft>
                          <a:spcPts val="0"/>
                        </a:spcAft>
                        <a:buClr>
                          <a:srgbClr val="192F5A"/>
                        </a:buClr>
                        <a:buSzTx/>
                        <a:buFont typeface="Arial" pitchFamily="34" charset="0"/>
                        <a:buChar char="•"/>
                        <a:tabLst/>
                      </a:pPr>
                      <a:r>
                        <a:rPr lang="en-US" sz="1100" b="1" kern="1200" baseline="0" dirty="0">
                          <a:solidFill>
                            <a:schemeClr val="bg2"/>
                          </a:solidFill>
                          <a:latin typeface="Times New Roman" pitchFamily="18" charset="0"/>
                          <a:ea typeface="+mn-ea"/>
                          <a:cs typeface="Times New Roman" pitchFamily="18" charset="0"/>
                        </a:rPr>
                        <a:t> Supply chain partners to have  codes of conduct</a:t>
                      </a:r>
                      <a:endParaRPr lang="en-US" sz="1100" b="1" kern="1200" dirty="0">
                        <a:solidFill>
                          <a:schemeClr val="bg2"/>
                        </a:solidFill>
                        <a:latin typeface="Times New Roman" pitchFamily="18" charset="0"/>
                        <a:ea typeface="+mn-ea"/>
                        <a:cs typeface="Times New Roman" pitchFamily="18"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CC"/>
                    </a:solidFill>
                  </a:tcPr>
                </a:tc>
                <a:extLst>
                  <a:ext uri="{0D108BD9-81ED-4DB2-BD59-A6C34878D82A}">
                    <a16:rowId xmlns:a16="http://schemas.microsoft.com/office/drawing/2014/main" val="10005"/>
                  </a:ext>
                </a:extLst>
              </a:tr>
              <a:tr h="643798">
                <a:tc>
                  <a:txBody>
                    <a:bodyPr/>
                    <a:lstStyle/>
                    <a:p>
                      <a:pPr marL="304800" marR="0" lvl="0" indent="-304800" algn="l" defTabSz="914400" rtl="0" eaLnBrk="1" fontAlgn="base" latinLnBrk="0" hangingPunct="1">
                        <a:lnSpc>
                          <a:spcPct val="100000"/>
                        </a:lnSpc>
                        <a:spcBef>
                          <a:spcPct val="30000"/>
                        </a:spcBef>
                        <a:spcAft>
                          <a:spcPct val="25000"/>
                        </a:spcAft>
                        <a:buClr>
                          <a:srgbClr val="192F5A"/>
                        </a:buClr>
                        <a:buSzTx/>
                        <a:buFont typeface="Times" pitchFamily="18" charset="0"/>
                        <a:buNone/>
                        <a:tabLst/>
                      </a:pPr>
                      <a:r>
                        <a:rPr kumimoji="0" lang="en-US" sz="1200" b="1" i="0" u="none" strike="noStrike" cap="none" normalizeH="0" baseline="0" dirty="0">
                          <a:ln>
                            <a:noFill/>
                          </a:ln>
                          <a:solidFill>
                            <a:schemeClr val="tx1"/>
                          </a:solidFill>
                          <a:effectLst/>
                          <a:latin typeface="Times New Roman" pitchFamily="18" charset="0"/>
                          <a:ea typeface="ＭＳ Ｐゴシック" pitchFamily="34" charset="-128"/>
                          <a:cs typeface="Times New Roman" pitchFamily="18" charset="0"/>
                        </a:rPr>
                        <a:t>6. 	Incentives and discipline </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333333"/>
                    </a:solidFill>
                  </a:tcPr>
                </a:tc>
                <a:tc>
                  <a:txBody>
                    <a:bodyPr/>
                    <a:lstStyle/>
                    <a:p>
                      <a:pPr marL="0" marR="0" lvl="0" indent="0" algn="l" defTabSz="914400" rtl="0" eaLnBrk="1" fontAlgn="base" latinLnBrk="0" hangingPunct="1">
                        <a:lnSpc>
                          <a:spcPct val="100000"/>
                        </a:lnSpc>
                        <a:spcBef>
                          <a:spcPct val="30000"/>
                        </a:spcBef>
                        <a:spcAft>
                          <a:spcPct val="25000"/>
                        </a:spcAft>
                        <a:buClr>
                          <a:srgbClr val="192F5A"/>
                        </a:buClr>
                        <a:buSzTx/>
                        <a:buFont typeface="Times" pitchFamily="18" charset="0"/>
                        <a:buNone/>
                        <a:tabLst/>
                      </a:pPr>
                      <a:r>
                        <a:rPr kumimoji="0" lang="en-US" sz="1100" b="1" i="0" u="none" strike="noStrike" cap="none" normalizeH="0" baseline="0" dirty="0">
                          <a:ln>
                            <a:noFill/>
                          </a:ln>
                          <a:solidFill>
                            <a:schemeClr val="bg2"/>
                          </a:solidFill>
                          <a:effectLst/>
                          <a:latin typeface="Times New Roman" pitchFamily="18" charset="0"/>
                          <a:ea typeface="ＭＳ Ｐゴシック" pitchFamily="34" charset="-128"/>
                          <a:cs typeface="Times New Roman" pitchFamily="18" charset="0"/>
                        </a:rPr>
                        <a:t>W/in 90 days:  internal control system to ensure corrective measures</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gradFill flip="none" rotWithShape="1">
                      <a:gsLst>
                        <a:gs pos="0">
                          <a:srgbClr val="FFFF00">
                            <a:tint val="66000"/>
                            <a:satMod val="160000"/>
                          </a:srgbClr>
                        </a:gs>
                        <a:gs pos="50000">
                          <a:srgbClr val="FFFF00">
                            <a:tint val="44500"/>
                            <a:satMod val="160000"/>
                          </a:srgbClr>
                        </a:gs>
                        <a:gs pos="100000">
                          <a:srgbClr val="FFFF00">
                            <a:tint val="23500"/>
                            <a:satMod val="160000"/>
                          </a:srgbClr>
                        </a:gs>
                      </a:gsLst>
                      <a:lin ang="10800000" scaled="1"/>
                      <a:tileRect/>
                    </a:gradFill>
                  </a:tcPr>
                </a:tc>
                <a:tc>
                  <a:txBody>
                    <a:bodyPr/>
                    <a:lstStyle/>
                    <a:p>
                      <a:pPr marL="0" marR="0" lvl="0" indent="0" algn="l" defTabSz="914400" rtl="0" eaLnBrk="1" fontAlgn="base" latinLnBrk="0" hangingPunct="1">
                        <a:lnSpc>
                          <a:spcPct val="100000"/>
                        </a:lnSpc>
                        <a:spcBef>
                          <a:spcPts val="0"/>
                        </a:spcBef>
                        <a:spcAft>
                          <a:spcPts val="0"/>
                        </a:spcAft>
                        <a:buClr>
                          <a:srgbClr val="192F5A"/>
                        </a:buClr>
                        <a:buSzTx/>
                        <a:buFont typeface="Arial" pitchFamily="34" charset="0"/>
                        <a:buChar char="•"/>
                        <a:tabLst/>
                      </a:pPr>
                      <a:r>
                        <a:rPr lang="en-US" sz="1100" b="1" kern="1200" baseline="0" dirty="0">
                          <a:solidFill>
                            <a:schemeClr val="bg2"/>
                          </a:solidFill>
                          <a:latin typeface="Times New Roman" pitchFamily="18" charset="0"/>
                          <a:ea typeface="+mn-ea"/>
                          <a:cs typeface="Times New Roman" pitchFamily="18" charset="0"/>
                        </a:rPr>
                        <a:t> “Effective Implementation”</a:t>
                      </a:r>
                    </a:p>
                    <a:p>
                      <a:pPr marL="0" marR="0" lvl="0" indent="0" algn="l" defTabSz="914400" rtl="0" eaLnBrk="1" fontAlgn="base" latinLnBrk="0" hangingPunct="1">
                        <a:lnSpc>
                          <a:spcPct val="100000"/>
                        </a:lnSpc>
                        <a:spcBef>
                          <a:spcPts val="0"/>
                        </a:spcBef>
                        <a:spcAft>
                          <a:spcPts val="0"/>
                        </a:spcAft>
                        <a:buClr>
                          <a:srgbClr val="192F5A"/>
                        </a:buClr>
                        <a:buSzTx/>
                        <a:buFont typeface="Arial" pitchFamily="34" charset="0"/>
                        <a:buChar char="•"/>
                        <a:tabLst/>
                      </a:pPr>
                      <a:r>
                        <a:rPr lang="en-US" sz="1100" b="1" kern="1200" baseline="0" dirty="0">
                          <a:solidFill>
                            <a:schemeClr val="bg2"/>
                          </a:solidFill>
                          <a:latin typeface="Times New Roman" pitchFamily="18" charset="0"/>
                          <a:ea typeface="+mn-ea"/>
                          <a:cs typeface="Times New Roman" pitchFamily="18" charset="0"/>
                        </a:rPr>
                        <a:t>I</a:t>
                      </a:r>
                      <a:r>
                        <a:rPr lang="en-US" sz="1100" b="1" kern="1200" dirty="0">
                          <a:solidFill>
                            <a:schemeClr val="bg2"/>
                          </a:solidFill>
                          <a:latin typeface="Times New Roman" pitchFamily="18" charset="0"/>
                          <a:ea typeface="+mn-ea"/>
                          <a:cs typeface="Times New Roman" pitchFamily="18" charset="0"/>
                        </a:rPr>
                        <a:t>ndividual accountability</a:t>
                      </a:r>
                    </a:p>
                    <a:p>
                      <a:pPr marL="0" marR="0" lvl="0" indent="0" algn="l" defTabSz="914400" rtl="0" eaLnBrk="1" fontAlgn="base" latinLnBrk="0" hangingPunct="1">
                        <a:lnSpc>
                          <a:spcPct val="100000"/>
                        </a:lnSpc>
                        <a:spcBef>
                          <a:spcPts val="0"/>
                        </a:spcBef>
                        <a:spcAft>
                          <a:spcPts val="0"/>
                        </a:spcAft>
                        <a:buClr>
                          <a:srgbClr val="192F5A"/>
                        </a:buClr>
                        <a:buSzTx/>
                        <a:buFont typeface="Arial" pitchFamily="34" charset="0"/>
                        <a:buChar char="•"/>
                        <a:tabLst/>
                      </a:pPr>
                      <a:r>
                        <a:rPr lang="en-US" sz="1100" b="1" kern="1200" dirty="0">
                          <a:solidFill>
                            <a:schemeClr val="bg2"/>
                          </a:solidFill>
                          <a:latin typeface="Times New Roman" pitchFamily="18" charset="0"/>
                          <a:ea typeface="+mn-ea"/>
                          <a:cs typeface="Times New Roman" pitchFamily="18" charset="0"/>
                        </a:rPr>
                        <a:t>Appropriate and consistent disciplinary processes.</a:t>
                      </a:r>
                      <a:endParaRPr kumimoji="0" lang="en-US" sz="1100" b="1" i="0" u="none" strike="noStrike" cap="none" normalizeH="0" baseline="0" dirty="0">
                        <a:ln>
                          <a:noFill/>
                        </a:ln>
                        <a:solidFill>
                          <a:schemeClr val="bg2"/>
                        </a:solidFill>
                        <a:effectLst/>
                        <a:latin typeface="Times New Roman" pitchFamily="18" charset="0"/>
                        <a:ea typeface="ＭＳ Ｐゴシック" pitchFamily="34" charset="-128"/>
                        <a:cs typeface="Times New Roman" pitchFamily="18"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CC"/>
                    </a:solidFill>
                  </a:tcPr>
                </a:tc>
                <a:extLst>
                  <a:ext uri="{0D108BD9-81ED-4DB2-BD59-A6C34878D82A}">
                    <a16:rowId xmlns:a16="http://schemas.microsoft.com/office/drawing/2014/main" val="10006"/>
                  </a:ext>
                </a:extLst>
              </a:tr>
              <a:tr h="766426">
                <a:tc>
                  <a:txBody>
                    <a:bodyPr/>
                    <a:lstStyle/>
                    <a:p>
                      <a:pPr marL="304800" marR="0" lvl="0" indent="-304800" algn="l" defTabSz="914400" rtl="0" eaLnBrk="1" fontAlgn="base" latinLnBrk="0" hangingPunct="1">
                        <a:lnSpc>
                          <a:spcPct val="100000"/>
                        </a:lnSpc>
                        <a:spcBef>
                          <a:spcPct val="30000"/>
                        </a:spcBef>
                        <a:spcAft>
                          <a:spcPct val="25000"/>
                        </a:spcAft>
                        <a:buClr>
                          <a:srgbClr val="192F5A"/>
                        </a:buClr>
                        <a:buSzTx/>
                        <a:buFont typeface="Times" pitchFamily="18" charset="0"/>
                        <a:buNone/>
                        <a:tabLst/>
                      </a:pPr>
                      <a:r>
                        <a:rPr kumimoji="0" lang="en-US" sz="1200" b="1" i="0" u="none" strike="noStrike" cap="none" normalizeH="0" baseline="0" dirty="0">
                          <a:ln>
                            <a:noFill/>
                          </a:ln>
                          <a:solidFill>
                            <a:schemeClr val="tx1"/>
                          </a:solidFill>
                          <a:effectLst/>
                          <a:latin typeface="Times New Roman" pitchFamily="18" charset="0"/>
                          <a:ea typeface="ＭＳ Ｐゴシック" pitchFamily="34" charset="-128"/>
                          <a:cs typeface="Times New Roman" pitchFamily="18" charset="0"/>
                        </a:rPr>
                        <a:t>7. 	Adjust program to risk</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rgbClr val="333333"/>
                    </a:solidFill>
                  </a:tcPr>
                </a:tc>
                <a:tc>
                  <a:txBody>
                    <a:bodyPr/>
                    <a:lstStyle/>
                    <a:p>
                      <a:pPr marL="0" marR="0" lvl="0" indent="0" algn="l" defTabSz="914400" rtl="0" eaLnBrk="1" fontAlgn="base" latinLnBrk="0" hangingPunct="1">
                        <a:lnSpc>
                          <a:spcPct val="100000"/>
                        </a:lnSpc>
                        <a:spcBef>
                          <a:spcPct val="30000"/>
                        </a:spcBef>
                        <a:spcAft>
                          <a:spcPct val="25000"/>
                        </a:spcAft>
                        <a:buClr>
                          <a:srgbClr val="192F5A"/>
                        </a:buClr>
                        <a:buSzTx/>
                        <a:buFont typeface="Times" pitchFamily="18" charset="0"/>
                        <a:buNone/>
                        <a:tabLst/>
                      </a:pPr>
                      <a:r>
                        <a:rPr kumimoji="0" lang="en-US" sz="1100" b="1" i="0" u="none" strike="noStrike" cap="none" normalizeH="0" baseline="0" dirty="0">
                          <a:ln>
                            <a:noFill/>
                          </a:ln>
                          <a:solidFill>
                            <a:schemeClr val="bg2"/>
                          </a:solidFill>
                          <a:effectLst/>
                          <a:latin typeface="Times New Roman" pitchFamily="18" charset="0"/>
                          <a:ea typeface="ＭＳ Ｐゴシック" pitchFamily="34" charset="-128"/>
                          <a:cs typeface="Times New Roman" pitchFamily="18" charset="0"/>
                        </a:rPr>
                        <a:t>W/in 90 days:  review and adjust</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gradFill flip="none" rotWithShape="1">
                      <a:gsLst>
                        <a:gs pos="0">
                          <a:srgbClr val="FFFF00">
                            <a:tint val="66000"/>
                            <a:satMod val="160000"/>
                          </a:srgbClr>
                        </a:gs>
                        <a:gs pos="50000">
                          <a:srgbClr val="FFFF00">
                            <a:tint val="44500"/>
                            <a:satMod val="160000"/>
                          </a:srgbClr>
                        </a:gs>
                        <a:gs pos="100000">
                          <a:srgbClr val="FFFF00">
                            <a:tint val="23500"/>
                            <a:satMod val="160000"/>
                          </a:srgbClr>
                        </a:gs>
                      </a:gsLst>
                      <a:lin ang="10800000" scaled="1"/>
                      <a:tileRect/>
                    </a:gradFill>
                  </a:tcPr>
                </a:tc>
                <a:tc>
                  <a:txBody>
                    <a:bodyPr/>
                    <a:lstStyle/>
                    <a:p>
                      <a:pPr>
                        <a:lnSpc>
                          <a:spcPct val="100000"/>
                        </a:lnSpc>
                        <a:buFont typeface="Arial" pitchFamily="34" charset="0"/>
                        <a:buChar char="•"/>
                      </a:pPr>
                      <a:r>
                        <a:rPr lang="en-US" sz="1100" b="1" kern="1200" baseline="0" dirty="0">
                          <a:solidFill>
                            <a:schemeClr val="bg2"/>
                          </a:solidFill>
                          <a:latin typeface="Times New Roman" pitchFamily="18" charset="0"/>
                          <a:ea typeface="+mn-ea"/>
                          <a:cs typeface="Times New Roman" pitchFamily="18" charset="0"/>
                        </a:rPr>
                        <a:t> “Risk Assessment”:   Risk management to address corruption.</a:t>
                      </a:r>
                    </a:p>
                    <a:p>
                      <a:pPr>
                        <a:lnSpc>
                          <a:spcPct val="100000"/>
                        </a:lnSpc>
                        <a:buFont typeface="Arial" pitchFamily="34" charset="0"/>
                        <a:buChar char="•"/>
                      </a:pPr>
                      <a:r>
                        <a:rPr lang="en-US" sz="1100" b="1" kern="1200" baseline="0" dirty="0">
                          <a:solidFill>
                            <a:schemeClr val="bg2"/>
                          </a:solidFill>
                          <a:latin typeface="Times New Roman" pitchFamily="18" charset="0"/>
                          <a:ea typeface="+mn-ea"/>
                          <a:cs typeface="Times New Roman" pitchFamily="18" charset="0"/>
                        </a:rPr>
                        <a:t> W</a:t>
                      </a:r>
                      <a:r>
                        <a:rPr lang="en-US" sz="1100" b="1" kern="1200" dirty="0">
                          <a:solidFill>
                            <a:schemeClr val="bg2"/>
                          </a:solidFill>
                          <a:latin typeface="Times New Roman" pitchFamily="18" charset="0"/>
                          <a:ea typeface="+mn-ea"/>
                          <a:cs typeface="Times New Roman" pitchFamily="18" charset="0"/>
                        </a:rPr>
                        <a:t>hether there have been previous cases of corruption within the corporate and, if so, the effect of any remedial action.</a:t>
                      </a:r>
                      <a:endParaRPr kumimoji="0" lang="en-US" sz="1100" b="1" i="0" u="none" strike="noStrike" kern="1200" cap="none" normalizeH="0" baseline="0" dirty="0">
                        <a:ln>
                          <a:noFill/>
                        </a:ln>
                        <a:solidFill>
                          <a:schemeClr val="bg2"/>
                        </a:solidFill>
                        <a:effectLst/>
                        <a:latin typeface="Times New Roman" pitchFamily="18" charset="0"/>
                        <a:ea typeface="ＭＳ Ｐゴシック" pitchFamily="34" charset="-128"/>
                        <a:cs typeface="Times New Roman" pitchFamily="18" charset="0"/>
                      </a:endParaRPr>
                    </a:p>
                    <a:p>
                      <a:pPr>
                        <a:lnSpc>
                          <a:spcPct val="100000"/>
                        </a:lnSpc>
                        <a:buFont typeface="Arial" pitchFamily="34" charset="0"/>
                        <a:buChar char="•"/>
                      </a:pPr>
                      <a:r>
                        <a:rPr kumimoji="0" lang="en-US" sz="1100" b="1" i="0" u="none" strike="noStrike" kern="1200" cap="none" normalizeH="0" baseline="0" dirty="0">
                          <a:ln>
                            <a:noFill/>
                          </a:ln>
                          <a:solidFill>
                            <a:schemeClr val="bg2"/>
                          </a:solidFill>
                          <a:effectLst/>
                          <a:latin typeface="Times New Roman" pitchFamily="18" charset="0"/>
                          <a:ea typeface="ＭＳ Ｐゴシック" pitchFamily="34" charset="-128"/>
                          <a:cs typeface="Times New Roman" pitchFamily="18" charset="0"/>
                        </a:rPr>
                        <a:t>  Due diligence and risk assessments.</a:t>
                      </a:r>
                      <a:endParaRPr lang="en-US" sz="1100" b="1" kern="1200" dirty="0">
                        <a:solidFill>
                          <a:schemeClr val="bg2"/>
                        </a:solidFill>
                        <a:latin typeface="Times New Roman" pitchFamily="18" charset="0"/>
                        <a:ea typeface="+mn-ea"/>
                        <a:cs typeface="Times New Roman" pitchFamily="18"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rgbClr val="FFFFCC"/>
                    </a:solidFill>
                  </a:tcPr>
                </a:tc>
                <a:extLst>
                  <a:ext uri="{0D108BD9-81ED-4DB2-BD59-A6C34878D82A}">
                    <a16:rowId xmlns:a16="http://schemas.microsoft.com/office/drawing/2014/main" val="10007"/>
                  </a:ext>
                </a:extLst>
              </a:tr>
            </a:tbl>
          </a:graphicData>
        </a:graphic>
      </p:graphicFrame>
      <p:pic>
        <p:nvPicPr>
          <p:cNvPr id="19496" name="Picture 2">
            <a:extLst>
              <a:ext uri="{FF2B5EF4-FFF2-40B4-BE49-F238E27FC236}">
                <a16:creationId xmlns:a16="http://schemas.microsoft.com/office/drawing/2014/main" id="{85BBF2B7-7E35-4A59-9E30-463FA1736B5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438400" y="1600200"/>
            <a:ext cx="738188" cy="592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497" name="Picture 3">
            <a:extLst>
              <a:ext uri="{FF2B5EF4-FFF2-40B4-BE49-F238E27FC236}">
                <a16:creationId xmlns:a16="http://schemas.microsoft.com/office/drawing/2014/main" id="{9EF51D9F-5852-4AF4-A3AF-E3673A71276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067800" y="838200"/>
            <a:ext cx="685800" cy="469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Title 3">
            <a:extLst>
              <a:ext uri="{FF2B5EF4-FFF2-40B4-BE49-F238E27FC236}">
                <a16:creationId xmlns:a16="http://schemas.microsoft.com/office/drawing/2014/main" id="{525ED3DA-CE22-4AA9-AD87-257CAA8F8772}"/>
              </a:ext>
            </a:extLst>
          </p:cNvPr>
          <p:cNvSpPr>
            <a:spLocks noGrp="1"/>
          </p:cNvSpPr>
          <p:nvPr>
            <p:ph type="title"/>
          </p:nvPr>
        </p:nvSpPr>
        <p:spPr>
          <a:xfrm>
            <a:off x="2057400" y="0"/>
            <a:ext cx="8229600" cy="1143000"/>
          </a:xfrm>
        </p:spPr>
        <p:txBody>
          <a:bodyPr/>
          <a:lstStyle/>
          <a:p>
            <a:r>
              <a:rPr lang="en-US" altLang="en-US"/>
              <a:t>Brazil’s Anti-Corruption Law</a:t>
            </a:r>
          </a:p>
        </p:txBody>
      </p:sp>
      <p:sp>
        <p:nvSpPr>
          <p:cNvPr id="5" name="Content Placeholder 4">
            <a:extLst>
              <a:ext uri="{FF2B5EF4-FFF2-40B4-BE49-F238E27FC236}">
                <a16:creationId xmlns:a16="http://schemas.microsoft.com/office/drawing/2014/main" id="{18354393-9352-4087-9118-31BBCDF74034}"/>
              </a:ext>
            </a:extLst>
          </p:cNvPr>
          <p:cNvSpPr>
            <a:spLocks noGrp="1"/>
          </p:cNvSpPr>
          <p:nvPr>
            <p:ph idx="1"/>
          </p:nvPr>
        </p:nvSpPr>
        <p:spPr>
          <a:xfrm>
            <a:off x="1905000" y="1143001"/>
            <a:ext cx="8229600" cy="4525963"/>
          </a:xfrm>
        </p:spPr>
        <p:txBody>
          <a:bodyPr rtlCol="0">
            <a:normAutofit lnSpcReduction="10000"/>
          </a:bodyPr>
          <a:lstStyle/>
          <a:p>
            <a:pPr fontAlgn="auto">
              <a:spcAft>
                <a:spcPts val="0"/>
              </a:spcAft>
              <a:buNone/>
              <a:defRPr/>
            </a:pPr>
            <a:r>
              <a:rPr lang="en-US" sz="2000" dirty="0"/>
              <a:t>Art. 5th. For the purposes of this Law, acts harmful to the public administration, national or foreign, are those performed by the legal persons cited in the paragraph of Art. 1st, which violate the national or foreign public patrimony, principles of the public administration, or the international commitments assumed by Brazil, defined thus: </a:t>
            </a:r>
          </a:p>
          <a:p>
            <a:pPr fontAlgn="auto">
              <a:spcAft>
                <a:spcPts val="0"/>
              </a:spcAft>
              <a:buNone/>
              <a:defRPr/>
            </a:pPr>
            <a:r>
              <a:rPr lang="en-US" sz="2000" dirty="0"/>
              <a:t>. . .</a:t>
            </a:r>
          </a:p>
          <a:p>
            <a:pPr fontAlgn="auto">
              <a:spcAft>
                <a:spcPts val="0"/>
              </a:spcAft>
              <a:buNone/>
              <a:defRPr/>
            </a:pPr>
            <a:r>
              <a:rPr lang="en-US" sz="2000" dirty="0"/>
              <a:t>IV – insofar as requests for bids and contracts: </a:t>
            </a:r>
          </a:p>
          <a:p>
            <a:pPr fontAlgn="auto">
              <a:spcAft>
                <a:spcPts val="0"/>
              </a:spcAft>
              <a:buNone/>
              <a:defRPr/>
            </a:pPr>
            <a:r>
              <a:rPr lang="en-US" sz="2000" dirty="0"/>
              <a:t>. . .</a:t>
            </a:r>
          </a:p>
          <a:p>
            <a:pPr fontAlgn="auto">
              <a:spcAft>
                <a:spcPts val="0"/>
              </a:spcAft>
              <a:buNone/>
              <a:defRPr/>
            </a:pPr>
            <a:r>
              <a:rPr lang="en-US" sz="2000" dirty="0"/>
              <a:t>f) to obtain an improper advantage or benefit</a:t>
            </a:r>
            <a:r>
              <a:rPr lang="en-US" sz="2000" b="1" dirty="0"/>
              <a:t>,</a:t>
            </a:r>
            <a:r>
              <a:rPr lang="en-US" sz="2000" b="1" dirty="0">
                <a:solidFill>
                  <a:srgbClr val="FFFF00"/>
                </a:solidFill>
              </a:rPr>
              <a:t> fraudulently</a:t>
            </a:r>
            <a:r>
              <a:rPr lang="en-US" sz="2000" dirty="0"/>
              <a:t>, for modifications or extensions in contracts entered into with the public administration, not authorized by law, the invitation to the public request for bid, or the respective contractual instruments; or </a:t>
            </a:r>
          </a:p>
          <a:p>
            <a:pPr fontAlgn="auto">
              <a:spcAft>
                <a:spcPts val="0"/>
              </a:spcAft>
              <a:buNone/>
              <a:defRPr/>
            </a:pPr>
            <a:r>
              <a:rPr lang="en-US" sz="2000" dirty="0"/>
              <a:t>g) to </a:t>
            </a:r>
            <a:r>
              <a:rPr lang="en-US" sz="2000" b="1" dirty="0">
                <a:solidFill>
                  <a:srgbClr val="FFFF00"/>
                </a:solidFill>
              </a:rPr>
              <a:t>manipulate or defraud the economic and financial balance </a:t>
            </a:r>
            <a:r>
              <a:rPr lang="en-US" sz="2000" dirty="0"/>
              <a:t>of contracts entered into with the public administration; </a:t>
            </a:r>
          </a:p>
          <a:p>
            <a:pPr fontAlgn="auto">
              <a:spcAft>
                <a:spcPts val="0"/>
              </a:spcAft>
              <a:defRPr/>
            </a:pPr>
            <a:endParaRPr lang="en-US" dirty="0"/>
          </a:p>
        </p:txBody>
      </p:sp>
      <p:pic>
        <p:nvPicPr>
          <p:cNvPr id="19460" name="Picture 2">
            <a:hlinkClick r:id="rId3"/>
            <a:extLst>
              <a:ext uri="{FF2B5EF4-FFF2-40B4-BE49-F238E27FC236}">
                <a16:creationId xmlns:a16="http://schemas.microsoft.com/office/drawing/2014/main" id="{6291DD56-7EE9-4931-92EC-26EE235E118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686800" y="5470526"/>
            <a:ext cx="1981200" cy="1387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155FAB42-1E6C-43BC-81BB-2D9D15BE9E36}"/>
              </a:ext>
            </a:extLst>
          </p:cNvPr>
          <p:cNvSpPr>
            <a:spLocks noGrp="1"/>
          </p:cNvSpPr>
          <p:nvPr>
            <p:ph type="title"/>
          </p:nvPr>
        </p:nvSpPr>
        <p:spPr>
          <a:xfrm>
            <a:off x="1828800" y="-9525"/>
            <a:ext cx="8229600" cy="1143000"/>
          </a:xfrm>
        </p:spPr>
        <p:txBody>
          <a:bodyPr/>
          <a:lstStyle/>
          <a:p>
            <a:pPr algn="l" eaLnBrk="1" hangingPunct="1">
              <a:defRPr/>
            </a:pPr>
            <a:r>
              <a:rPr lang="en-US" dirty="0"/>
              <a:t>France’s Law “</a:t>
            </a:r>
            <a:r>
              <a:rPr lang="en-US" dirty="0" err="1"/>
              <a:t>Sapin</a:t>
            </a:r>
            <a:r>
              <a:rPr lang="en-US" dirty="0"/>
              <a:t> II” (2016)</a:t>
            </a:r>
          </a:p>
        </p:txBody>
      </p:sp>
      <p:sp>
        <p:nvSpPr>
          <p:cNvPr id="6" name="Content Placeholder 5">
            <a:extLst>
              <a:ext uri="{FF2B5EF4-FFF2-40B4-BE49-F238E27FC236}">
                <a16:creationId xmlns:a16="http://schemas.microsoft.com/office/drawing/2014/main" id="{79A6F039-41D1-4951-8D36-071DABA419AA}"/>
              </a:ext>
            </a:extLst>
          </p:cNvPr>
          <p:cNvSpPr>
            <a:spLocks noGrp="1"/>
          </p:cNvSpPr>
          <p:nvPr>
            <p:ph idx="1"/>
          </p:nvPr>
        </p:nvSpPr>
        <p:spPr>
          <a:xfrm>
            <a:off x="1587500" y="1041401"/>
            <a:ext cx="8229600" cy="4525963"/>
          </a:xfrm>
        </p:spPr>
        <p:txBody>
          <a:bodyPr/>
          <a:lstStyle/>
          <a:p>
            <a:pPr eaLnBrk="1" hangingPunct="1">
              <a:defRPr/>
            </a:pPr>
            <a:r>
              <a:rPr lang="en-US" sz="2400" dirty="0"/>
              <a:t>The new law “also lays down an obligation to implement </a:t>
            </a:r>
            <a:r>
              <a:rPr lang="en-US" sz="2400" b="1" dirty="0"/>
              <a:t>a </a:t>
            </a:r>
            <a:r>
              <a:rPr lang="en-US" sz="2400" b="1" dirty="0">
                <a:solidFill>
                  <a:srgbClr val="FFFF00"/>
                </a:solidFill>
              </a:rPr>
              <a:t>corruption prevention plan</a:t>
            </a:r>
            <a:r>
              <a:rPr lang="en-US" sz="2400" b="1" dirty="0"/>
              <a:t> </a:t>
            </a:r>
            <a:r>
              <a:rPr lang="en-US" sz="2400" dirty="0"/>
              <a:t>in large companies. The National [Anti-Corruption] Agency will ensure that </a:t>
            </a:r>
            <a:r>
              <a:rPr lang="en-US" sz="2400" b="1" dirty="0"/>
              <a:t>companies with a workforce of over 500 </a:t>
            </a:r>
            <a:r>
              <a:rPr lang="en-US" sz="2400" dirty="0"/>
              <a:t>and whose </a:t>
            </a:r>
            <a:r>
              <a:rPr lang="en-US" sz="2400" b="1" dirty="0"/>
              <a:t>annual turnover exceeds €100 million </a:t>
            </a:r>
            <a:r>
              <a:rPr lang="en-US" sz="2400" dirty="0"/>
              <a:t>put in place </a:t>
            </a:r>
            <a:r>
              <a:rPr lang="en-US" sz="2400" u="sng" dirty="0">
                <a:solidFill>
                  <a:srgbClr val="FFFF00"/>
                </a:solidFill>
              </a:rPr>
              <a:t>procedures to guard against the risk of corruption, for example by training their employees</a:t>
            </a:r>
            <a:r>
              <a:rPr lang="en-US" sz="2400" dirty="0">
                <a:solidFill>
                  <a:srgbClr val="FFFF00"/>
                </a:solidFill>
              </a:rPr>
              <a:t>.</a:t>
            </a:r>
            <a:r>
              <a:rPr lang="en-US" sz="2400" dirty="0"/>
              <a:t> This obligation already exists in a number of countries, including the United Kingdom and Switzerland. The Agency will be able to </a:t>
            </a:r>
            <a:r>
              <a:rPr lang="en-US" sz="2400" dirty="0" err="1"/>
              <a:t>penalise</a:t>
            </a:r>
            <a:r>
              <a:rPr lang="en-US" sz="2400" dirty="0"/>
              <a:t> any failings in the 1,600 companies in France in this bracket. In this way, it will be able to issue a formal warning or impose a fine of up to €1 million for legal entities and €200,000 for natural persons, and make the proposed penalty public.”</a:t>
            </a:r>
          </a:p>
        </p:txBody>
      </p:sp>
      <p:pic>
        <p:nvPicPr>
          <p:cNvPr id="25604" name="Picture 2">
            <a:extLst>
              <a:ext uri="{FF2B5EF4-FFF2-40B4-BE49-F238E27FC236}">
                <a16:creationId xmlns:a16="http://schemas.microsoft.com/office/drawing/2014/main" id="{3A75C3FE-E668-4902-808A-BC825269F1F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696200" y="5567364"/>
            <a:ext cx="2971800" cy="129063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4153557"/>
      </p:ext>
    </p:extLst>
  </p:cSld>
  <p:clrMapOvr>
    <a:masterClrMapping/>
  </p:clrMapOvr>
  <p:transition spd="slow"/>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9DDF2DBD-A5A2-428D-8C34-0901D3AAF6B3}"/>
              </a:ext>
            </a:extLst>
          </p:cNvPr>
          <p:cNvSpPr>
            <a:spLocks noGrp="1"/>
          </p:cNvSpPr>
          <p:nvPr>
            <p:ph type="title"/>
          </p:nvPr>
        </p:nvSpPr>
        <p:spPr>
          <a:xfrm>
            <a:off x="1828800" y="-9525"/>
            <a:ext cx="8229600" cy="1143000"/>
          </a:xfrm>
        </p:spPr>
        <p:txBody>
          <a:bodyPr/>
          <a:lstStyle/>
          <a:p>
            <a:pPr algn="l" eaLnBrk="1" hangingPunct="1">
              <a:defRPr/>
            </a:pPr>
            <a:r>
              <a:rPr lang="en-US" dirty="0"/>
              <a:t>France’s Law “</a:t>
            </a:r>
            <a:r>
              <a:rPr lang="en-US" dirty="0" err="1"/>
              <a:t>Sapin</a:t>
            </a:r>
            <a:r>
              <a:rPr lang="en-US" dirty="0"/>
              <a:t> II”</a:t>
            </a:r>
          </a:p>
        </p:txBody>
      </p:sp>
      <p:pic>
        <p:nvPicPr>
          <p:cNvPr id="26627" name="Picture 2">
            <a:extLst>
              <a:ext uri="{FF2B5EF4-FFF2-40B4-BE49-F238E27FC236}">
                <a16:creationId xmlns:a16="http://schemas.microsoft.com/office/drawing/2014/main" id="{2D5A1867-EDF5-461A-9C5B-B487624519C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467600" y="908050"/>
            <a:ext cx="2971800" cy="12890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Content Placeholder 1">
            <a:extLst>
              <a:ext uri="{FF2B5EF4-FFF2-40B4-BE49-F238E27FC236}">
                <a16:creationId xmlns:a16="http://schemas.microsoft.com/office/drawing/2014/main" id="{73213A1A-E538-4A61-BB5E-6FFFA54FB82B}"/>
              </a:ext>
            </a:extLst>
          </p:cNvPr>
          <p:cNvSpPr>
            <a:spLocks noGrp="1"/>
          </p:cNvSpPr>
          <p:nvPr>
            <p:ph idx="1"/>
          </p:nvPr>
        </p:nvSpPr>
        <p:spPr>
          <a:xfrm>
            <a:off x="1752600" y="1143001"/>
            <a:ext cx="6019800" cy="4525963"/>
          </a:xfrm>
        </p:spPr>
        <p:txBody>
          <a:bodyPr/>
          <a:lstStyle/>
          <a:p>
            <a:pPr eaLnBrk="1" hangingPunct="1">
              <a:defRPr/>
            </a:pPr>
            <a:r>
              <a:rPr lang="en-US" b="1" dirty="0"/>
              <a:t>Corporate compliance system must include (Art. 17)</a:t>
            </a:r>
          </a:p>
          <a:p>
            <a:pPr marL="457200" lvl="1" indent="0">
              <a:buNone/>
              <a:defRPr/>
            </a:pPr>
            <a:r>
              <a:rPr lang="en-US" dirty="0"/>
              <a:t>1. Code of Conduct</a:t>
            </a:r>
          </a:p>
          <a:p>
            <a:pPr marL="457200" lvl="1" indent="0">
              <a:buNone/>
              <a:defRPr/>
            </a:pPr>
            <a:r>
              <a:rPr lang="en-US" dirty="0"/>
              <a:t>2. Internal alert system</a:t>
            </a:r>
          </a:p>
          <a:p>
            <a:pPr marL="457200" lvl="1" indent="0">
              <a:buNone/>
              <a:defRPr/>
            </a:pPr>
            <a:r>
              <a:rPr lang="en-US" dirty="0"/>
              <a:t>3. Risk-mapping</a:t>
            </a:r>
          </a:p>
          <a:p>
            <a:pPr marL="457200" lvl="1" indent="0">
              <a:buNone/>
              <a:defRPr/>
            </a:pPr>
            <a:r>
              <a:rPr lang="en-US" dirty="0"/>
              <a:t>4. Customer and supplier assessment</a:t>
            </a:r>
          </a:p>
          <a:p>
            <a:pPr marL="457200" lvl="1" indent="0">
              <a:buNone/>
              <a:defRPr/>
            </a:pPr>
            <a:r>
              <a:rPr lang="en-US" dirty="0"/>
              <a:t>5. Internal accounting controls</a:t>
            </a:r>
          </a:p>
          <a:p>
            <a:pPr marL="457200" lvl="1" indent="0">
              <a:buNone/>
              <a:defRPr/>
            </a:pPr>
            <a:r>
              <a:rPr lang="en-US" dirty="0"/>
              <a:t>6. Training for those at risk</a:t>
            </a:r>
          </a:p>
          <a:p>
            <a:pPr marL="457200" lvl="1" indent="0">
              <a:buNone/>
              <a:defRPr/>
            </a:pPr>
            <a:r>
              <a:rPr lang="en-US" dirty="0"/>
              <a:t>7. Discipline</a:t>
            </a:r>
          </a:p>
          <a:p>
            <a:pPr marL="457200" lvl="1" indent="0">
              <a:buNone/>
              <a:defRPr/>
            </a:pPr>
            <a:r>
              <a:rPr lang="en-US" dirty="0"/>
              <a:t>8. Evaluation and oversight of system</a:t>
            </a:r>
          </a:p>
        </p:txBody>
      </p:sp>
    </p:spTree>
    <p:extLst>
      <p:ext uri="{BB962C8B-B14F-4D97-AF65-F5344CB8AC3E}">
        <p14:creationId xmlns:p14="http://schemas.microsoft.com/office/powerpoint/2010/main" val="1468353524"/>
      </p:ext>
    </p:extLst>
  </p:cSld>
  <p:clrMapOvr>
    <a:masterClrMapping/>
  </p:clrMapOvr>
  <p:transition spd="slow"/>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BA5B61-5C6B-4F88-9988-EB5CA66C2E29}"/>
              </a:ext>
            </a:extLst>
          </p:cNvPr>
          <p:cNvSpPr>
            <a:spLocks noGrp="1"/>
          </p:cNvSpPr>
          <p:nvPr>
            <p:ph type="title"/>
          </p:nvPr>
        </p:nvSpPr>
        <p:spPr/>
        <p:txBody>
          <a:bodyPr/>
          <a:lstStyle/>
          <a:p>
            <a:pPr>
              <a:defRPr/>
            </a:pPr>
            <a:r>
              <a:rPr lang="en-US" sz="3600" dirty="0"/>
              <a:t>Mexico’s General Law of Administrative Accountability (2017)</a:t>
            </a:r>
          </a:p>
        </p:txBody>
      </p:sp>
      <p:sp>
        <p:nvSpPr>
          <p:cNvPr id="3" name="Content Placeholder 2">
            <a:extLst>
              <a:ext uri="{FF2B5EF4-FFF2-40B4-BE49-F238E27FC236}">
                <a16:creationId xmlns:a16="http://schemas.microsoft.com/office/drawing/2014/main" id="{3C60D4E2-933A-46A8-917E-D64AF12A59C1}"/>
              </a:ext>
            </a:extLst>
          </p:cNvPr>
          <p:cNvSpPr>
            <a:spLocks noGrp="1"/>
          </p:cNvSpPr>
          <p:nvPr>
            <p:ph idx="1"/>
          </p:nvPr>
        </p:nvSpPr>
        <p:spPr>
          <a:xfrm>
            <a:off x="1676400" y="1503363"/>
            <a:ext cx="8686800" cy="4525962"/>
          </a:xfrm>
        </p:spPr>
        <p:txBody>
          <a:bodyPr/>
          <a:lstStyle/>
          <a:p>
            <a:pPr>
              <a:defRPr/>
            </a:pPr>
            <a:r>
              <a:rPr lang="en-US" sz="2000" dirty="0"/>
              <a:t>However, Mexico’s new law also provides that </a:t>
            </a:r>
            <a:r>
              <a:rPr lang="en-US" sz="2000" b="1" dirty="0">
                <a:solidFill>
                  <a:srgbClr val="FFFF00"/>
                </a:solidFill>
              </a:rPr>
              <a:t>sanctions shall be mitigated by 50-70 percent where a company self-reports past or ongoing misconduct </a:t>
            </a:r>
            <a:r>
              <a:rPr lang="en-US" sz="2000" dirty="0"/>
              <a:t>and has implemented and enforced an </a:t>
            </a:r>
            <a:r>
              <a:rPr lang="en-US" sz="2000" b="1" dirty="0">
                <a:solidFill>
                  <a:srgbClr val="FFFF00"/>
                </a:solidFill>
              </a:rPr>
              <a:t>adequate “Integrity Policy</a:t>
            </a:r>
            <a:r>
              <a:rPr lang="en-US" sz="2000" dirty="0"/>
              <a:t>.” An “Integrity Policy” is defined to include, at a minimum: (</a:t>
            </a:r>
            <a:r>
              <a:rPr lang="en-US" sz="2000" b="1" dirty="0">
                <a:solidFill>
                  <a:srgbClr val="FFFF00"/>
                </a:solidFill>
              </a:rPr>
              <a:t>1) a document</a:t>
            </a:r>
            <a:r>
              <a:rPr lang="en-US" sz="2000" dirty="0"/>
              <a:t> setting forth the functions and responsibilities of each of the company’s areas, the leadership throughout the company and a clear chain of command; (2) </a:t>
            </a:r>
            <a:r>
              <a:rPr lang="en-US" sz="2000" b="1" dirty="0">
                <a:solidFill>
                  <a:srgbClr val="FFFF00"/>
                </a:solidFill>
              </a:rPr>
              <a:t>a code of conduct with enforcement protocol</a:t>
            </a:r>
            <a:r>
              <a:rPr lang="en-US" sz="2000" dirty="0"/>
              <a:t>; (3) </a:t>
            </a:r>
            <a:r>
              <a:rPr lang="en-US" sz="2000" b="1" dirty="0">
                <a:solidFill>
                  <a:srgbClr val="FFFF00"/>
                </a:solidFill>
              </a:rPr>
              <a:t>control and audit systems</a:t>
            </a:r>
            <a:r>
              <a:rPr lang="en-US" sz="2000" dirty="0"/>
              <a:t> that regularly supervise standards of compliance within the organization; (4) </a:t>
            </a:r>
            <a:r>
              <a:rPr lang="en-US" sz="2000" b="1" dirty="0">
                <a:solidFill>
                  <a:srgbClr val="FFFF00"/>
                </a:solidFill>
              </a:rPr>
              <a:t>internal whistleblower and reporting systems </a:t>
            </a:r>
            <a:r>
              <a:rPr lang="en-US" sz="2000" dirty="0"/>
              <a:t>that allow for appropriate reporting to enforcement authorities and disciplinary procedures for employees acting contrary to company policy or Mexican law; and (5) </a:t>
            </a:r>
            <a:r>
              <a:rPr lang="en-US" sz="2000" b="1" dirty="0">
                <a:solidFill>
                  <a:srgbClr val="FFFF00"/>
                </a:solidFill>
              </a:rPr>
              <a:t>human resources policies for preventing the hiring of persons that may pose compliance risks</a:t>
            </a:r>
            <a:r>
              <a:rPr lang="en-US" sz="2000" dirty="0"/>
              <a:t> to the organization.</a:t>
            </a:r>
          </a:p>
        </p:txBody>
      </p:sp>
      <p:sp>
        <p:nvSpPr>
          <p:cNvPr id="27652" name="TextBox 3">
            <a:extLst>
              <a:ext uri="{FF2B5EF4-FFF2-40B4-BE49-F238E27FC236}">
                <a16:creationId xmlns:a16="http://schemas.microsoft.com/office/drawing/2014/main" id="{0B3766CE-7504-4998-B10A-691E20B45284}"/>
              </a:ext>
            </a:extLst>
          </p:cNvPr>
          <p:cNvSpPr txBox="1">
            <a:spLocks noChangeArrowheads="1"/>
          </p:cNvSpPr>
          <p:nvPr/>
        </p:nvSpPr>
        <p:spPr bwMode="auto">
          <a:xfrm>
            <a:off x="1981200" y="6019801"/>
            <a:ext cx="4876800" cy="646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Garamond" panose="02020404030301010803" pitchFamily="18" charset="0"/>
              </a:defRPr>
            </a:lvl1pPr>
            <a:lvl2pPr marL="742950" indent="-285750">
              <a:defRPr>
                <a:solidFill>
                  <a:schemeClr val="tx1"/>
                </a:solidFill>
                <a:latin typeface="Garamond" panose="02020404030301010803" pitchFamily="18" charset="0"/>
              </a:defRPr>
            </a:lvl2pPr>
            <a:lvl3pPr marL="1143000" indent="-228600">
              <a:defRPr>
                <a:solidFill>
                  <a:schemeClr val="tx1"/>
                </a:solidFill>
                <a:latin typeface="Garamond" panose="02020404030301010803" pitchFamily="18" charset="0"/>
              </a:defRPr>
            </a:lvl3pPr>
            <a:lvl4pPr marL="1600200" indent="-228600">
              <a:defRPr>
                <a:solidFill>
                  <a:schemeClr val="tx1"/>
                </a:solidFill>
                <a:latin typeface="Garamond" panose="02020404030301010803" pitchFamily="18" charset="0"/>
              </a:defRPr>
            </a:lvl4pPr>
            <a:lvl5pPr marL="2057400" indent="-228600">
              <a:defRPr>
                <a:solidFill>
                  <a:schemeClr val="tx1"/>
                </a:solidFill>
                <a:latin typeface="Garamond" panose="02020404030301010803" pitchFamily="18" charset="0"/>
              </a:defRPr>
            </a:lvl5pPr>
            <a:lvl6pPr marL="2514600" indent="-228600" fontAlgn="base">
              <a:spcBef>
                <a:spcPct val="0"/>
              </a:spcBef>
              <a:spcAft>
                <a:spcPct val="0"/>
              </a:spcAft>
              <a:defRPr>
                <a:solidFill>
                  <a:schemeClr val="tx1"/>
                </a:solidFill>
                <a:latin typeface="Garamond" panose="02020404030301010803" pitchFamily="18" charset="0"/>
              </a:defRPr>
            </a:lvl6pPr>
            <a:lvl7pPr marL="2971800" indent="-228600" fontAlgn="base">
              <a:spcBef>
                <a:spcPct val="0"/>
              </a:spcBef>
              <a:spcAft>
                <a:spcPct val="0"/>
              </a:spcAft>
              <a:defRPr>
                <a:solidFill>
                  <a:schemeClr val="tx1"/>
                </a:solidFill>
                <a:latin typeface="Garamond" panose="02020404030301010803" pitchFamily="18" charset="0"/>
              </a:defRPr>
            </a:lvl7pPr>
            <a:lvl8pPr marL="3429000" indent="-228600" fontAlgn="base">
              <a:spcBef>
                <a:spcPct val="0"/>
              </a:spcBef>
              <a:spcAft>
                <a:spcPct val="0"/>
              </a:spcAft>
              <a:defRPr>
                <a:solidFill>
                  <a:schemeClr val="tx1"/>
                </a:solidFill>
                <a:latin typeface="Garamond" panose="02020404030301010803" pitchFamily="18" charset="0"/>
              </a:defRPr>
            </a:lvl8pPr>
            <a:lvl9pPr marL="3886200" indent="-228600" fontAlgn="base">
              <a:spcBef>
                <a:spcPct val="0"/>
              </a:spcBef>
              <a:spcAft>
                <a:spcPct val="0"/>
              </a:spcAft>
              <a:defRPr>
                <a:solidFill>
                  <a:schemeClr val="tx1"/>
                </a:solidFill>
                <a:latin typeface="Garamond" panose="02020404030301010803" pitchFamily="18" charset="0"/>
              </a:defRPr>
            </a:lvl9pPr>
          </a:lstStyle>
          <a:p>
            <a:pPr fontAlgn="base">
              <a:spcBef>
                <a:spcPct val="0"/>
              </a:spcBef>
              <a:spcAft>
                <a:spcPct val="0"/>
              </a:spcAft>
            </a:pPr>
            <a:r>
              <a:rPr lang="en-US" altLang="en-US">
                <a:solidFill>
                  <a:srgbClr val="FFFFFF"/>
                </a:solidFill>
                <a:cs typeface="Arial" panose="020B0604020202020204" pitchFamily="34" charset="0"/>
              </a:rPr>
              <a:t>https://www.corporatecomplianceinsights.com/anti-corruption-enforcement-mexico/</a:t>
            </a:r>
          </a:p>
        </p:txBody>
      </p:sp>
      <p:pic>
        <p:nvPicPr>
          <p:cNvPr id="27653" name="Picture 2" descr="Image result for mexico flag">
            <a:extLst>
              <a:ext uri="{FF2B5EF4-FFF2-40B4-BE49-F238E27FC236}">
                <a16:creationId xmlns:a16="http://schemas.microsoft.com/office/drawing/2014/main" id="{C2BB20F0-B077-459C-A01D-4733444C030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001000" y="5334000"/>
            <a:ext cx="2667000" cy="1524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059669506"/>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Title 1">
            <a:extLst>
              <a:ext uri="{FF2B5EF4-FFF2-40B4-BE49-F238E27FC236}">
                <a16:creationId xmlns:a16="http://schemas.microsoft.com/office/drawing/2014/main" id="{10450276-704C-4C21-9FB5-82F60EBD5742}"/>
              </a:ext>
            </a:extLst>
          </p:cNvPr>
          <p:cNvSpPr>
            <a:spLocks noGrp="1"/>
          </p:cNvSpPr>
          <p:nvPr>
            <p:ph type="title"/>
          </p:nvPr>
        </p:nvSpPr>
        <p:spPr/>
        <p:txBody>
          <a:bodyPr/>
          <a:lstStyle/>
          <a:p>
            <a:r>
              <a:rPr lang="en-US" altLang="en-US"/>
              <a:t>U.S. Anti-Fraud Law</a:t>
            </a:r>
          </a:p>
        </p:txBody>
      </p:sp>
      <p:graphicFrame>
        <p:nvGraphicFramePr>
          <p:cNvPr id="5" name="Content Placeholder 4">
            <a:extLst>
              <a:ext uri="{FF2B5EF4-FFF2-40B4-BE49-F238E27FC236}">
                <a16:creationId xmlns:a16="http://schemas.microsoft.com/office/drawing/2014/main" id="{F3102F14-F468-4B32-9111-351EE5E06365}"/>
              </a:ext>
            </a:extLst>
          </p:cNvPr>
          <p:cNvGraphicFramePr>
            <a:graphicFrameLocks noGrp="1"/>
          </p:cNvGraphicFramePr>
          <p:nvPr>
            <p:ph idx="1"/>
          </p:nvPr>
        </p:nvGraphicFramePr>
        <p:xfrm>
          <a:off x="1981200" y="1600201"/>
          <a:ext cx="8229600" cy="452596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Footer Placeholder 3">
            <a:extLst>
              <a:ext uri="{FF2B5EF4-FFF2-40B4-BE49-F238E27FC236}">
                <a16:creationId xmlns:a16="http://schemas.microsoft.com/office/drawing/2014/main" id="{38BE5CA7-1366-4450-9B39-19D43FCAC13A}"/>
              </a:ext>
            </a:extLst>
          </p:cNvPr>
          <p:cNvSpPr>
            <a:spLocks noGrp="1"/>
          </p:cNvSpPr>
          <p:nvPr>
            <p:ph type="ftr" sz="quarter" idx="11"/>
          </p:nvPr>
        </p:nvSpPr>
        <p:spPr/>
        <p:txBody>
          <a:bodyPr/>
          <a:lstStyle/>
          <a:p>
            <a:pPr>
              <a:defRPr/>
            </a:pPr>
            <a:endParaRPr lang="en-US">
              <a:solidFill>
                <a:prstClr val="white">
                  <a:tint val="75000"/>
                </a:prstClr>
              </a:solidFill>
              <a:latin typeface="Calibri"/>
            </a:endParaRPr>
          </a:p>
        </p:txBody>
      </p:sp>
    </p:spTree>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506" name="Picture 108" descr="unlogo">
            <a:extLst>
              <a:ext uri="{FF2B5EF4-FFF2-40B4-BE49-F238E27FC236}">
                <a16:creationId xmlns:a16="http://schemas.microsoft.com/office/drawing/2014/main" id="{8AA56798-F9D1-4726-BD83-0B040175764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648326" y="2143126"/>
            <a:ext cx="5019675" cy="4714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1149034" name="Group 106">
            <a:extLst>
              <a:ext uri="{FF2B5EF4-FFF2-40B4-BE49-F238E27FC236}">
                <a16:creationId xmlns:a16="http://schemas.microsoft.com/office/drawing/2014/main" id="{D5B50D92-3861-4191-85D7-D30C95FB77B2}"/>
              </a:ext>
            </a:extLst>
          </p:cNvPr>
          <p:cNvGraphicFramePr>
            <a:graphicFrameLocks noGrp="1"/>
          </p:cNvGraphicFramePr>
          <p:nvPr/>
        </p:nvGraphicFramePr>
        <p:xfrm>
          <a:off x="1524000" y="0"/>
          <a:ext cx="7162800" cy="6991350"/>
        </p:xfrm>
        <a:graphic>
          <a:graphicData uri="http://schemas.openxmlformats.org/drawingml/2006/table">
            <a:tbl>
              <a:tblPr/>
              <a:tblGrid>
                <a:gridCol w="7162800">
                  <a:extLst>
                    <a:ext uri="{9D8B030D-6E8A-4147-A177-3AD203B41FA5}">
                      <a16:colId xmlns:a16="http://schemas.microsoft.com/office/drawing/2014/main" val="20000"/>
                    </a:ext>
                  </a:extLst>
                </a:gridCol>
              </a:tblGrid>
              <a:tr h="937260">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2800" b="1" i="1" u="none" strike="noStrike" cap="none" normalizeH="0" baseline="0">
                          <a:ln>
                            <a:noFill/>
                          </a:ln>
                          <a:solidFill>
                            <a:schemeClr val="bg1"/>
                          </a:solidFill>
                          <a:effectLst/>
                          <a:latin typeface="Times New Roman" pitchFamily="18" charset="0"/>
                          <a:cs typeface="Times New Roman" pitchFamily="18" charset="0"/>
                        </a:rPr>
                        <a:t>UN Convention Against Corruption (Art. 9)</a:t>
                      </a:r>
                      <a:endParaRPr kumimoji="0" lang="en-US" sz="4000" b="1" i="0" u="none" strike="noStrike" cap="none" normalizeH="0" baseline="0">
                        <a:ln>
                          <a:noFill/>
                        </a:ln>
                        <a:solidFill>
                          <a:schemeClr val="bg1"/>
                        </a:solidFill>
                        <a:effectLst/>
                        <a:latin typeface="Arial"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FF00"/>
                    </a:solidFill>
                  </a:tcPr>
                </a:tc>
                <a:extLst>
                  <a:ext uri="{0D108BD9-81ED-4DB2-BD59-A6C34878D82A}">
                    <a16:rowId xmlns:a16="http://schemas.microsoft.com/office/drawing/2014/main" val="10000"/>
                  </a:ext>
                </a:extLst>
              </a:tr>
              <a:tr h="51816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2800" b="1" i="0" u="none" strike="noStrike" cap="none" normalizeH="0" baseline="0">
                          <a:ln>
                            <a:noFill/>
                          </a:ln>
                          <a:solidFill>
                            <a:schemeClr val="bg1"/>
                          </a:solidFill>
                          <a:effectLst/>
                          <a:latin typeface="Times New Roman" pitchFamily="18" charset="0"/>
                          <a:cs typeface="Times New Roman" pitchFamily="18" charset="0"/>
                        </a:rPr>
                        <a:t>Public Information</a:t>
                      </a:r>
                      <a:endParaRPr kumimoji="0" lang="en-US" sz="4000" b="1" i="0" u="none" strike="noStrike" cap="none" normalizeH="0" baseline="0">
                        <a:ln>
                          <a:noFill/>
                        </a:ln>
                        <a:solidFill>
                          <a:schemeClr val="bg1"/>
                        </a:solidFill>
                        <a:effectLst/>
                        <a:latin typeface="Arial"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FF00"/>
                    </a:solidFill>
                  </a:tcPr>
                </a:tc>
                <a:extLst>
                  <a:ext uri="{0D108BD9-81ED-4DB2-BD59-A6C34878D82A}">
                    <a16:rowId xmlns:a16="http://schemas.microsoft.com/office/drawing/2014/main" val="10001"/>
                  </a:ext>
                </a:extLst>
              </a:tr>
              <a:tr h="93726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2800" b="1" i="0" u="none" strike="noStrike" cap="none" normalizeH="0" baseline="0">
                          <a:ln>
                            <a:noFill/>
                          </a:ln>
                          <a:solidFill>
                            <a:schemeClr val="bg1"/>
                          </a:solidFill>
                          <a:effectLst/>
                          <a:latin typeface="Times New Roman" pitchFamily="18" charset="0"/>
                          <a:cs typeface="Times New Roman" pitchFamily="18" charset="0"/>
                        </a:rPr>
                        <a:t>Advance award criteria and publication</a:t>
                      </a:r>
                      <a:endParaRPr kumimoji="0" lang="en-US" sz="4000" b="1" i="0" u="none" strike="noStrike" cap="none" normalizeH="0" baseline="0">
                        <a:ln>
                          <a:noFill/>
                        </a:ln>
                        <a:solidFill>
                          <a:schemeClr val="bg1"/>
                        </a:solidFill>
                        <a:effectLst/>
                        <a:latin typeface="Arial"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FF00"/>
                    </a:solidFill>
                  </a:tcPr>
                </a:tc>
                <a:extLst>
                  <a:ext uri="{0D108BD9-81ED-4DB2-BD59-A6C34878D82A}">
                    <a16:rowId xmlns:a16="http://schemas.microsoft.com/office/drawing/2014/main" val="10002"/>
                  </a:ext>
                </a:extLst>
              </a:tr>
              <a:tr h="136017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2800" b="1" i="0" u="none" strike="noStrike" cap="none" normalizeH="0" baseline="0">
                          <a:ln>
                            <a:noFill/>
                          </a:ln>
                          <a:solidFill>
                            <a:schemeClr val="bg1"/>
                          </a:solidFill>
                          <a:effectLst/>
                          <a:latin typeface="Times New Roman" pitchFamily="18" charset="0"/>
                          <a:cs typeface="Times New Roman" pitchFamily="18" charset="0"/>
                        </a:rPr>
                        <a:t>Objective and predetermined criteria for award</a:t>
                      </a:r>
                      <a:endParaRPr kumimoji="0" lang="en-US" sz="4000" b="1" i="0" u="none" strike="noStrike" cap="none" normalizeH="0" baseline="0">
                        <a:ln>
                          <a:noFill/>
                        </a:ln>
                        <a:solidFill>
                          <a:schemeClr val="bg1"/>
                        </a:solidFill>
                        <a:effectLst/>
                        <a:latin typeface="Arial"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FF00"/>
                    </a:solidFill>
                  </a:tcPr>
                </a:tc>
                <a:extLst>
                  <a:ext uri="{0D108BD9-81ED-4DB2-BD59-A6C34878D82A}">
                    <a16:rowId xmlns:a16="http://schemas.microsoft.com/office/drawing/2014/main" val="10003"/>
                  </a:ext>
                </a:extLst>
              </a:tr>
              <a:tr h="51816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2800" b="1" i="0" u="none" strike="noStrike" cap="none" normalizeH="0" baseline="0">
                          <a:ln>
                            <a:noFill/>
                          </a:ln>
                          <a:solidFill>
                            <a:schemeClr val="bg1"/>
                          </a:solidFill>
                          <a:effectLst/>
                          <a:latin typeface="Times New Roman" pitchFamily="18" charset="0"/>
                          <a:cs typeface="Times New Roman" pitchFamily="18" charset="0"/>
                        </a:rPr>
                        <a:t>Bid protest and appeal</a:t>
                      </a:r>
                      <a:endParaRPr kumimoji="0" lang="en-US" sz="4000" b="1" i="0" u="none" strike="noStrike" cap="none" normalizeH="0" baseline="0">
                        <a:ln>
                          <a:noFill/>
                        </a:ln>
                        <a:solidFill>
                          <a:schemeClr val="bg1"/>
                        </a:solidFill>
                        <a:effectLst/>
                        <a:latin typeface="Arial"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FF00"/>
                    </a:solidFill>
                  </a:tcPr>
                </a:tc>
                <a:extLst>
                  <a:ext uri="{0D108BD9-81ED-4DB2-BD59-A6C34878D82A}">
                    <a16:rowId xmlns:a16="http://schemas.microsoft.com/office/drawing/2014/main" val="10004"/>
                  </a:ext>
                </a:extLst>
              </a:tr>
              <a:tr h="136017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2800" b="1" i="0" u="none" strike="noStrike" cap="none" normalizeH="0" baseline="0">
                          <a:ln>
                            <a:noFill/>
                          </a:ln>
                          <a:solidFill>
                            <a:schemeClr val="bg1"/>
                          </a:solidFill>
                          <a:effectLst/>
                          <a:latin typeface="Times New Roman" pitchFamily="18" charset="0"/>
                          <a:cs typeface="Times New Roman" pitchFamily="18" charset="0"/>
                        </a:rPr>
                        <a:t>Measures to control procurement personnel – e.g., rules and codes</a:t>
                      </a:r>
                      <a:endParaRPr kumimoji="0" lang="en-US" sz="4000" b="1" i="0" u="none" strike="noStrike" cap="none" normalizeH="0" baseline="0">
                        <a:ln>
                          <a:noFill/>
                        </a:ln>
                        <a:solidFill>
                          <a:schemeClr val="bg1"/>
                        </a:solidFill>
                        <a:effectLst/>
                        <a:latin typeface="Arial"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FF00"/>
                    </a:solidFill>
                  </a:tcPr>
                </a:tc>
                <a:extLst>
                  <a:ext uri="{0D108BD9-81ED-4DB2-BD59-A6C34878D82A}">
                    <a16:rowId xmlns:a16="http://schemas.microsoft.com/office/drawing/2014/main" val="10005"/>
                  </a:ext>
                </a:extLst>
              </a:tr>
              <a:tr h="136017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2800" b="1" i="0" u="none" strike="noStrike" cap="none" normalizeH="0" baseline="0">
                          <a:ln>
                            <a:noFill/>
                          </a:ln>
                          <a:solidFill>
                            <a:schemeClr val="bg1"/>
                          </a:solidFill>
                          <a:effectLst/>
                          <a:latin typeface="Times New Roman" pitchFamily="18" charset="0"/>
                          <a:cs typeface="Times New Roman" pitchFamily="18" charset="0"/>
                        </a:rPr>
                        <a:t>Transparency, including in budgeting and accounting</a:t>
                      </a:r>
                      <a:endParaRPr kumimoji="0" lang="en-US" sz="4000" b="1" i="0" u="none" strike="noStrike" cap="none" normalizeH="0" baseline="0">
                        <a:ln>
                          <a:noFill/>
                        </a:ln>
                        <a:solidFill>
                          <a:schemeClr val="bg1"/>
                        </a:solidFill>
                        <a:effectLst/>
                        <a:latin typeface="Arial"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FF00"/>
                    </a:solidFill>
                  </a:tcPr>
                </a:tc>
                <a:extLst>
                  <a:ext uri="{0D108BD9-81ED-4DB2-BD59-A6C34878D82A}">
                    <a16:rowId xmlns:a16="http://schemas.microsoft.com/office/drawing/2014/main" val="10006"/>
                  </a:ext>
                </a:extLst>
              </a:tr>
            </a:tbl>
          </a:graphicData>
        </a:graphic>
      </p:graphicFrame>
    </p:spTree>
  </p:cSld>
  <p:clrMapOvr>
    <a:masterClrMapping/>
  </p:clrMapOvr>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956F4948-A049-4A35-9BC2-971D9631B89D}"/>
              </a:ext>
            </a:extLst>
          </p:cNvPr>
          <p:cNvSpPr>
            <a:spLocks noGrp="1"/>
          </p:cNvSpPr>
          <p:nvPr>
            <p:ph type="ftr" sz="quarter" idx="11"/>
          </p:nvPr>
        </p:nvSpPr>
        <p:spPr/>
        <p:txBody>
          <a:bodyPr/>
          <a:lstStyle/>
          <a:p>
            <a:pPr>
              <a:defRPr/>
            </a:pPr>
            <a:endParaRPr lang="en-US">
              <a:solidFill>
                <a:prstClr val="white">
                  <a:tint val="75000"/>
                </a:prstClr>
              </a:solidFill>
              <a:latin typeface="Calibri"/>
            </a:endParaRPr>
          </a:p>
        </p:txBody>
      </p:sp>
      <p:pic>
        <p:nvPicPr>
          <p:cNvPr id="22531" name="Picture 2">
            <a:extLst>
              <a:ext uri="{FF2B5EF4-FFF2-40B4-BE49-F238E27FC236}">
                <a16:creationId xmlns:a16="http://schemas.microsoft.com/office/drawing/2014/main" id="{83DF2487-9740-4482-9CE9-C5130FFDF33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24001" y="34926"/>
            <a:ext cx="8994775" cy="68230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2532" name="TextBox 2">
            <a:extLst>
              <a:ext uri="{FF2B5EF4-FFF2-40B4-BE49-F238E27FC236}">
                <a16:creationId xmlns:a16="http://schemas.microsoft.com/office/drawing/2014/main" id="{C7FD533F-AF7D-4743-BB75-47587F906AC2}"/>
              </a:ext>
            </a:extLst>
          </p:cNvPr>
          <p:cNvSpPr txBox="1">
            <a:spLocks noChangeArrowheads="1"/>
          </p:cNvSpPr>
          <p:nvPr/>
        </p:nvSpPr>
        <p:spPr bwMode="auto">
          <a:xfrm>
            <a:off x="2362200" y="4267200"/>
            <a:ext cx="2514600" cy="1938338"/>
          </a:xfrm>
          <a:prstGeom prst="rect">
            <a:avLst/>
          </a:prstGeom>
          <a:solidFill>
            <a:srgbClr val="C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r>
              <a:rPr lang="en-US" altLang="en-US" sz="4000" b="1">
                <a:solidFill>
                  <a:prstClr val="white"/>
                </a:solidFill>
                <a:cs typeface="Arial" panose="020B0604020202020204" pitchFamily="34" charset="0"/>
              </a:rPr>
              <a:t>UNCAC Peer Review</a:t>
            </a:r>
          </a:p>
        </p:txBody>
      </p:sp>
      <p:pic>
        <p:nvPicPr>
          <p:cNvPr id="22533" name="Picture 4">
            <a:extLst>
              <a:ext uri="{FF2B5EF4-FFF2-40B4-BE49-F238E27FC236}">
                <a16:creationId xmlns:a16="http://schemas.microsoft.com/office/drawing/2014/main" id="{3BC66D35-5098-46DF-ABBE-84087B17D15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832475" y="2198688"/>
            <a:ext cx="4605338" cy="2068512"/>
          </a:xfrm>
          <a:prstGeom prst="rect">
            <a:avLst/>
          </a:prstGeom>
          <a:noFill/>
          <a:ln w="57150">
            <a:solidFill>
              <a:schemeClr val="bg1"/>
            </a:solidFill>
            <a:miter lim="800000"/>
            <a:headEnd/>
            <a:tailEnd/>
          </a:ln>
          <a:extLst>
            <a:ext uri="{909E8E84-426E-40DD-AFC4-6F175D3DCCD1}">
              <a14:hiddenFill xmlns:a14="http://schemas.microsoft.com/office/drawing/2010/main">
                <a:solidFill>
                  <a:schemeClr val="accent1"/>
                </a:solidFill>
              </a14:hiddenFill>
            </a:ext>
          </a:extLst>
        </p:spPr>
      </p:pic>
      <p:pic>
        <p:nvPicPr>
          <p:cNvPr id="22534" name="Picture 3">
            <a:extLst>
              <a:ext uri="{FF2B5EF4-FFF2-40B4-BE49-F238E27FC236}">
                <a16:creationId xmlns:a16="http://schemas.microsoft.com/office/drawing/2014/main" id="{167060A2-C848-43ED-AB36-7D4619423E5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135939" y="4238626"/>
            <a:ext cx="2193925" cy="272891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554" name="Picture 2">
            <a:extLst>
              <a:ext uri="{FF2B5EF4-FFF2-40B4-BE49-F238E27FC236}">
                <a16:creationId xmlns:a16="http://schemas.microsoft.com/office/drawing/2014/main" id="{2F85DC1D-6F1B-44EE-AD2B-51A3F544249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079875" y="0"/>
            <a:ext cx="14747875"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itle 2">
            <a:extLst>
              <a:ext uri="{FF2B5EF4-FFF2-40B4-BE49-F238E27FC236}">
                <a16:creationId xmlns:a16="http://schemas.microsoft.com/office/drawing/2014/main" id="{3518EFE7-17D2-4365-B92F-018D7CDF822D}"/>
              </a:ext>
            </a:extLst>
          </p:cNvPr>
          <p:cNvSpPr>
            <a:spLocks noGrp="1"/>
          </p:cNvSpPr>
          <p:nvPr>
            <p:ph type="title"/>
          </p:nvPr>
        </p:nvSpPr>
        <p:spPr>
          <a:solidFill>
            <a:schemeClr val="bg1"/>
          </a:solidFill>
        </p:spPr>
        <p:txBody>
          <a:bodyPr rtlCol="0">
            <a:normAutofit/>
          </a:bodyPr>
          <a:lstStyle/>
          <a:p>
            <a:pPr fontAlgn="auto">
              <a:spcAft>
                <a:spcPts val="0"/>
              </a:spcAft>
              <a:defRPr/>
            </a:pPr>
            <a:r>
              <a:rPr lang="en-US" dirty="0"/>
              <a:t>Corporate compliance</a:t>
            </a:r>
          </a:p>
        </p:txBody>
      </p:sp>
      <p:sp>
        <p:nvSpPr>
          <p:cNvPr id="4" name="Text Placeholder 3">
            <a:extLst>
              <a:ext uri="{FF2B5EF4-FFF2-40B4-BE49-F238E27FC236}">
                <a16:creationId xmlns:a16="http://schemas.microsoft.com/office/drawing/2014/main" id="{4B174746-B0C2-45B4-9973-76CC1DAA2B6B}"/>
              </a:ext>
            </a:extLst>
          </p:cNvPr>
          <p:cNvSpPr>
            <a:spLocks noGrp="1"/>
          </p:cNvSpPr>
          <p:nvPr>
            <p:ph type="body" idx="1"/>
          </p:nvPr>
        </p:nvSpPr>
        <p:spPr/>
        <p:txBody>
          <a:bodyPr rtlCol="0">
            <a:normAutofit/>
          </a:bodyPr>
          <a:lstStyle/>
          <a:p>
            <a:pPr fontAlgn="auto">
              <a:spcAft>
                <a:spcPts val="0"/>
              </a:spcAft>
              <a:defRPr/>
            </a:pPr>
            <a:endParaRPr lang="en-US"/>
          </a:p>
        </p:txBody>
      </p:sp>
    </p:spTree>
  </p:cSld>
  <p:clrMapOvr>
    <a:masterClrMapping/>
  </p:clrMapOvr>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Diagram 1">
            <a:extLst>
              <a:ext uri="{FF2B5EF4-FFF2-40B4-BE49-F238E27FC236}">
                <a16:creationId xmlns:a16="http://schemas.microsoft.com/office/drawing/2014/main" id="{2792C070-60C9-408B-A360-678952FC4803}"/>
              </a:ext>
            </a:extLst>
          </p:cNvPr>
          <p:cNvGraphicFramePr/>
          <p:nvPr/>
        </p:nvGraphicFramePr>
        <p:xfrm>
          <a:off x="1524000" y="1447800"/>
          <a:ext cx="9144000" cy="50800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06499" name="TextBox 2">
            <a:extLst>
              <a:ext uri="{FF2B5EF4-FFF2-40B4-BE49-F238E27FC236}">
                <a16:creationId xmlns:a16="http://schemas.microsoft.com/office/drawing/2014/main" id="{9ABEBAAB-7C04-4761-AEAC-A5B3D25F48B7}"/>
              </a:ext>
            </a:extLst>
          </p:cNvPr>
          <p:cNvSpPr txBox="1">
            <a:spLocks noChangeArrowheads="1"/>
          </p:cNvSpPr>
          <p:nvPr/>
        </p:nvSpPr>
        <p:spPr bwMode="auto">
          <a:xfrm>
            <a:off x="1752600" y="228601"/>
            <a:ext cx="4800600" cy="1077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ts val="575"/>
              </a:spcBef>
              <a:buClr>
                <a:schemeClr val="accent1"/>
              </a:buClr>
              <a:buSzPct val="85000"/>
              <a:buFont typeface="Wingdings 2" panose="05020102010507070707" pitchFamily="18" charset="2"/>
              <a:buChar char=""/>
              <a:defRPr sz="2600">
                <a:solidFill>
                  <a:schemeClr val="tx1"/>
                </a:solidFill>
                <a:latin typeface="Perpetua" panose="02020502060401020303" pitchFamily="18" charset="0"/>
              </a:defRPr>
            </a:lvl1pPr>
            <a:lvl2pPr marL="742950" indent="-285750">
              <a:spcBef>
                <a:spcPts val="375"/>
              </a:spcBef>
              <a:buClr>
                <a:schemeClr val="accent2"/>
              </a:buClr>
              <a:buSzPct val="85000"/>
              <a:buFont typeface="Wingdings 2" panose="05020102010507070707" pitchFamily="18" charset="2"/>
              <a:buChar char=""/>
              <a:defRPr sz="2400">
                <a:solidFill>
                  <a:schemeClr val="tx1"/>
                </a:solidFill>
                <a:latin typeface="Perpetua" panose="02020502060401020303" pitchFamily="18" charset="0"/>
              </a:defRPr>
            </a:lvl2pPr>
            <a:lvl3pPr marL="1143000" indent="-228600">
              <a:spcBef>
                <a:spcPts val="375"/>
              </a:spcBef>
              <a:buClr>
                <a:srgbClr val="E6B1AB"/>
              </a:buClr>
              <a:buSzPct val="85000"/>
              <a:buFont typeface="Wingdings 2" panose="05020102010507070707" pitchFamily="18" charset="2"/>
              <a:buChar char=""/>
              <a:defRPr sz="2000">
                <a:solidFill>
                  <a:schemeClr val="tx1"/>
                </a:solidFill>
                <a:latin typeface="Perpetua" panose="02020502060401020303" pitchFamily="18" charset="0"/>
              </a:defRPr>
            </a:lvl3pPr>
            <a:lvl4pPr marL="1600200" indent="-228600">
              <a:spcBef>
                <a:spcPts val="375"/>
              </a:spcBef>
              <a:buClr>
                <a:srgbClr val="A28E6A"/>
              </a:buClr>
              <a:buSzPct val="80000"/>
              <a:buFont typeface="Wingdings 2" panose="05020102010507070707" pitchFamily="18" charset="2"/>
              <a:buChar char=""/>
              <a:defRPr sz="2000">
                <a:solidFill>
                  <a:schemeClr val="tx1"/>
                </a:solidFill>
                <a:latin typeface="Perpetua" panose="02020502060401020303" pitchFamily="18" charset="0"/>
              </a:defRPr>
            </a:lvl4pPr>
            <a:lvl5pPr marL="2057400" indent="-228600">
              <a:spcBef>
                <a:spcPts val="375"/>
              </a:spcBef>
              <a:buClr>
                <a:srgbClr val="A28E6A"/>
              </a:buClr>
              <a:buChar char="o"/>
              <a:defRPr sz="2000">
                <a:solidFill>
                  <a:schemeClr val="tx1"/>
                </a:solidFill>
                <a:latin typeface="Perpetua" panose="02020502060401020303" pitchFamily="18" charset="0"/>
              </a:defRPr>
            </a:lvl5pPr>
            <a:lvl6pPr marL="2514600" indent="-228600" fontAlgn="base">
              <a:spcBef>
                <a:spcPts val="375"/>
              </a:spcBef>
              <a:spcAft>
                <a:spcPct val="0"/>
              </a:spcAft>
              <a:buClr>
                <a:srgbClr val="A28E6A"/>
              </a:buClr>
              <a:buChar char="o"/>
              <a:defRPr sz="2000">
                <a:solidFill>
                  <a:schemeClr val="tx1"/>
                </a:solidFill>
                <a:latin typeface="Perpetua" panose="02020502060401020303" pitchFamily="18" charset="0"/>
              </a:defRPr>
            </a:lvl6pPr>
            <a:lvl7pPr marL="2971800" indent="-228600" fontAlgn="base">
              <a:spcBef>
                <a:spcPts val="375"/>
              </a:spcBef>
              <a:spcAft>
                <a:spcPct val="0"/>
              </a:spcAft>
              <a:buClr>
                <a:srgbClr val="A28E6A"/>
              </a:buClr>
              <a:buChar char="o"/>
              <a:defRPr sz="2000">
                <a:solidFill>
                  <a:schemeClr val="tx1"/>
                </a:solidFill>
                <a:latin typeface="Perpetua" panose="02020502060401020303" pitchFamily="18" charset="0"/>
              </a:defRPr>
            </a:lvl7pPr>
            <a:lvl8pPr marL="3429000" indent="-228600" fontAlgn="base">
              <a:spcBef>
                <a:spcPts val="375"/>
              </a:spcBef>
              <a:spcAft>
                <a:spcPct val="0"/>
              </a:spcAft>
              <a:buClr>
                <a:srgbClr val="A28E6A"/>
              </a:buClr>
              <a:buChar char="o"/>
              <a:defRPr sz="2000">
                <a:solidFill>
                  <a:schemeClr val="tx1"/>
                </a:solidFill>
                <a:latin typeface="Perpetua" panose="02020502060401020303" pitchFamily="18" charset="0"/>
              </a:defRPr>
            </a:lvl8pPr>
            <a:lvl9pPr marL="3886200" indent="-228600" fontAlgn="base">
              <a:spcBef>
                <a:spcPts val="375"/>
              </a:spcBef>
              <a:spcAft>
                <a:spcPct val="0"/>
              </a:spcAft>
              <a:buClr>
                <a:srgbClr val="A28E6A"/>
              </a:buClr>
              <a:buChar char="o"/>
              <a:defRPr sz="2000">
                <a:solidFill>
                  <a:schemeClr val="tx1"/>
                </a:solidFill>
                <a:latin typeface="Perpetua" panose="02020502060401020303" pitchFamily="18" charset="0"/>
              </a:defRPr>
            </a:lvl9pPr>
          </a:lstStyle>
          <a:p>
            <a:pPr fontAlgn="base">
              <a:spcBef>
                <a:spcPct val="0"/>
              </a:spcBef>
              <a:spcAft>
                <a:spcPct val="0"/>
              </a:spcAft>
              <a:buClrTx/>
              <a:buSzTx/>
              <a:buNone/>
            </a:pPr>
            <a:r>
              <a:rPr lang="en-US" altLang="en-US" sz="3200" b="1">
                <a:solidFill>
                  <a:prstClr val="black"/>
                </a:solidFill>
                <a:latin typeface="Calibri" panose="020F0502020204030204" pitchFamily="34" charset="0"/>
                <a:cs typeface="Arial" panose="020B0604020202020204" pitchFamily="34" charset="0"/>
              </a:rPr>
              <a:t>Sustainability in Public Procurement:  Trajectory</a:t>
            </a:r>
          </a:p>
        </p:txBody>
      </p:sp>
      <p:sp>
        <p:nvSpPr>
          <p:cNvPr id="106500" name="TextBox 3">
            <a:extLst>
              <a:ext uri="{FF2B5EF4-FFF2-40B4-BE49-F238E27FC236}">
                <a16:creationId xmlns:a16="http://schemas.microsoft.com/office/drawing/2014/main" id="{7CEF67AA-A03B-4392-BC73-C88E6D41F908}"/>
              </a:ext>
            </a:extLst>
          </p:cNvPr>
          <p:cNvSpPr txBox="1">
            <a:spLocks noChangeArrowheads="1"/>
          </p:cNvSpPr>
          <p:nvPr/>
        </p:nvSpPr>
        <p:spPr bwMode="auto">
          <a:xfrm rot="5400000">
            <a:off x="5301457" y="2939257"/>
            <a:ext cx="3352800" cy="369887"/>
          </a:xfrm>
          <a:prstGeom prst="rect">
            <a:avLst/>
          </a:prstGeom>
          <a:solidFill>
            <a:srgbClr val="FF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ts val="575"/>
              </a:spcBef>
              <a:buClr>
                <a:schemeClr val="accent1"/>
              </a:buClr>
              <a:buSzPct val="85000"/>
              <a:buFont typeface="Wingdings 2" panose="05020102010507070707" pitchFamily="18" charset="2"/>
              <a:buChar char=""/>
              <a:defRPr sz="2600">
                <a:solidFill>
                  <a:schemeClr val="tx1"/>
                </a:solidFill>
                <a:latin typeface="Perpetua" panose="02020502060401020303" pitchFamily="18" charset="0"/>
              </a:defRPr>
            </a:lvl1pPr>
            <a:lvl2pPr marL="742950" indent="-285750">
              <a:spcBef>
                <a:spcPts val="375"/>
              </a:spcBef>
              <a:buClr>
                <a:schemeClr val="accent2"/>
              </a:buClr>
              <a:buSzPct val="85000"/>
              <a:buFont typeface="Wingdings 2" panose="05020102010507070707" pitchFamily="18" charset="2"/>
              <a:buChar char=""/>
              <a:defRPr sz="2400">
                <a:solidFill>
                  <a:schemeClr val="tx1"/>
                </a:solidFill>
                <a:latin typeface="Perpetua" panose="02020502060401020303" pitchFamily="18" charset="0"/>
              </a:defRPr>
            </a:lvl2pPr>
            <a:lvl3pPr marL="1143000" indent="-228600">
              <a:spcBef>
                <a:spcPts val="375"/>
              </a:spcBef>
              <a:buClr>
                <a:srgbClr val="E6B1AB"/>
              </a:buClr>
              <a:buSzPct val="85000"/>
              <a:buFont typeface="Wingdings 2" panose="05020102010507070707" pitchFamily="18" charset="2"/>
              <a:buChar char=""/>
              <a:defRPr sz="2000">
                <a:solidFill>
                  <a:schemeClr val="tx1"/>
                </a:solidFill>
                <a:latin typeface="Perpetua" panose="02020502060401020303" pitchFamily="18" charset="0"/>
              </a:defRPr>
            </a:lvl3pPr>
            <a:lvl4pPr marL="1600200" indent="-228600">
              <a:spcBef>
                <a:spcPts val="375"/>
              </a:spcBef>
              <a:buClr>
                <a:srgbClr val="A28E6A"/>
              </a:buClr>
              <a:buSzPct val="80000"/>
              <a:buFont typeface="Wingdings 2" panose="05020102010507070707" pitchFamily="18" charset="2"/>
              <a:buChar char=""/>
              <a:defRPr sz="2000">
                <a:solidFill>
                  <a:schemeClr val="tx1"/>
                </a:solidFill>
                <a:latin typeface="Perpetua" panose="02020502060401020303" pitchFamily="18" charset="0"/>
              </a:defRPr>
            </a:lvl4pPr>
            <a:lvl5pPr marL="2057400" indent="-228600">
              <a:spcBef>
                <a:spcPts val="375"/>
              </a:spcBef>
              <a:buClr>
                <a:srgbClr val="A28E6A"/>
              </a:buClr>
              <a:buChar char="o"/>
              <a:defRPr sz="2000">
                <a:solidFill>
                  <a:schemeClr val="tx1"/>
                </a:solidFill>
                <a:latin typeface="Perpetua" panose="02020502060401020303" pitchFamily="18" charset="0"/>
              </a:defRPr>
            </a:lvl5pPr>
            <a:lvl6pPr marL="2514600" indent="-228600" fontAlgn="base">
              <a:spcBef>
                <a:spcPts val="375"/>
              </a:spcBef>
              <a:spcAft>
                <a:spcPct val="0"/>
              </a:spcAft>
              <a:buClr>
                <a:srgbClr val="A28E6A"/>
              </a:buClr>
              <a:buChar char="o"/>
              <a:defRPr sz="2000">
                <a:solidFill>
                  <a:schemeClr val="tx1"/>
                </a:solidFill>
                <a:latin typeface="Perpetua" panose="02020502060401020303" pitchFamily="18" charset="0"/>
              </a:defRPr>
            </a:lvl6pPr>
            <a:lvl7pPr marL="2971800" indent="-228600" fontAlgn="base">
              <a:spcBef>
                <a:spcPts val="375"/>
              </a:spcBef>
              <a:spcAft>
                <a:spcPct val="0"/>
              </a:spcAft>
              <a:buClr>
                <a:srgbClr val="A28E6A"/>
              </a:buClr>
              <a:buChar char="o"/>
              <a:defRPr sz="2000">
                <a:solidFill>
                  <a:schemeClr val="tx1"/>
                </a:solidFill>
                <a:latin typeface="Perpetua" panose="02020502060401020303" pitchFamily="18" charset="0"/>
              </a:defRPr>
            </a:lvl7pPr>
            <a:lvl8pPr marL="3429000" indent="-228600" fontAlgn="base">
              <a:spcBef>
                <a:spcPts val="375"/>
              </a:spcBef>
              <a:spcAft>
                <a:spcPct val="0"/>
              </a:spcAft>
              <a:buClr>
                <a:srgbClr val="A28E6A"/>
              </a:buClr>
              <a:buChar char="o"/>
              <a:defRPr sz="2000">
                <a:solidFill>
                  <a:schemeClr val="tx1"/>
                </a:solidFill>
                <a:latin typeface="Perpetua" panose="02020502060401020303" pitchFamily="18" charset="0"/>
              </a:defRPr>
            </a:lvl8pPr>
            <a:lvl9pPr marL="3886200" indent="-228600" fontAlgn="base">
              <a:spcBef>
                <a:spcPts val="375"/>
              </a:spcBef>
              <a:spcAft>
                <a:spcPct val="0"/>
              </a:spcAft>
              <a:buClr>
                <a:srgbClr val="A28E6A"/>
              </a:buClr>
              <a:buChar char="o"/>
              <a:defRPr sz="2000">
                <a:solidFill>
                  <a:schemeClr val="tx1"/>
                </a:solidFill>
                <a:latin typeface="Perpetua" panose="02020502060401020303" pitchFamily="18" charset="0"/>
              </a:defRPr>
            </a:lvl9pPr>
          </a:lstStyle>
          <a:p>
            <a:pPr algn="ctr" fontAlgn="base">
              <a:spcBef>
                <a:spcPct val="0"/>
              </a:spcBef>
              <a:spcAft>
                <a:spcPct val="0"/>
              </a:spcAft>
              <a:buClrTx/>
              <a:buSzTx/>
              <a:buNone/>
            </a:pPr>
            <a:r>
              <a:rPr lang="en-US" altLang="en-US" sz="1800" b="1">
                <a:solidFill>
                  <a:prstClr val="black"/>
                </a:solidFill>
                <a:latin typeface="Calibri" panose="020F0502020204030204" pitchFamily="34" charset="0"/>
                <a:cs typeface="Arial" panose="020B0604020202020204" pitchFamily="34" charset="0"/>
              </a:rPr>
              <a:t>TRUMP</a:t>
            </a:r>
          </a:p>
        </p:txBody>
      </p:sp>
      <p:sp>
        <p:nvSpPr>
          <p:cNvPr id="3" name="Slide Number Placeholder 2">
            <a:extLst>
              <a:ext uri="{FF2B5EF4-FFF2-40B4-BE49-F238E27FC236}">
                <a16:creationId xmlns:a16="http://schemas.microsoft.com/office/drawing/2014/main" id="{75F18FE0-08F0-4107-8D7A-70D14694087A}"/>
              </a:ext>
            </a:extLst>
          </p:cNvPr>
          <p:cNvSpPr>
            <a:spLocks noGrp="1"/>
          </p:cNvSpPr>
          <p:nvPr>
            <p:ph type="sldNum" sz="quarter" idx="12"/>
          </p:nvPr>
        </p:nvSpPr>
        <p:spPr/>
        <p:txBody>
          <a:bodyPr/>
          <a:lstStyle>
            <a:lvl1pPr>
              <a:defRPr>
                <a:solidFill>
                  <a:schemeClr val="tx1"/>
                </a:solidFill>
                <a:latin typeface="Perpetua" panose="02020502060401020303" pitchFamily="18" charset="0"/>
              </a:defRPr>
            </a:lvl1pPr>
            <a:lvl2pPr marL="742950" indent="-285750">
              <a:defRPr>
                <a:solidFill>
                  <a:schemeClr val="tx1"/>
                </a:solidFill>
                <a:latin typeface="Perpetua" panose="02020502060401020303" pitchFamily="18" charset="0"/>
              </a:defRPr>
            </a:lvl2pPr>
            <a:lvl3pPr marL="1143000" indent="-228600">
              <a:defRPr>
                <a:solidFill>
                  <a:schemeClr val="tx1"/>
                </a:solidFill>
                <a:latin typeface="Perpetua" panose="02020502060401020303" pitchFamily="18" charset="0"/>
              </a:defRPr>
            </a:lvl3pPr>
            <a:lvl4pPr marL="1600200" indent="-228600">
              <a:defRPr>
                <a:solidFill>
                  <a:schemeClr val="tx1"/>
                </a:solidFill>
                <a:latin typeface="Perpetua" panose="02020502060401020303" pitchFamily="18" charset="0"/>
              </a:defRPr>
            </a:lvl4pPr>
            <a:lvl5pPr marL="2057400" indent="-228600">
              <a:defRPr>
                <a:solidFill>
                  <a:schemeClr val="tx1"/>
                </a:solidFill>
                <a:latin typeface="Perpetua" panose="02020502060401020303" pitchFamily="18" charset="0"/>
              </a:defRPr>
            </a:lvl5pPr>
            <a:lvl6pPr marL="2514600" indent="-228600" fontAlgn="base">
              <a:spcBef>
                <a:spcPct val="0"/>
              </a:spcBef>
              <a:spcAft>
                <a:spcPct val="0"/>
              </a:spcAft>
              <a:defRPr>
                <a:solidFill>
                  <a:schemeClr val="tx1"/>
                </a:solidFill>
                <a:latin typeface="Perpetua" panose="02020502060401020303" pitchFamily="18" charset="0"/>
              </a:defRPr>
            </a:lvl6pPr>
            <a:lvl7pPr marL="2971800" indent="-228600" fontAlgn="base">
              <a:spcBef>
                <a:spcPct val="0"/>
              </a:spcBef>
              <a:spcAft>
                <a:spcPct val="0"/>
              </a:spcAft>
              <a:defRPr>
                <a:solidFill>
                  <a:schemeClr val="tx1"/>
                </a:solidFill>
                <a:latin typeface="Perpetua" panose="02020502060401020303" pitchFamily="18" charset="0"/>
              </a:defRPr>
            </a:lvl7pPr>
            <a:lvl8pPr marL="3429000" indent="-228600" fontAlgn="base">
              <a:spcBef>
                <a:spcPct val="0"/>
              </a:spcBef>
              <a:spcAft>
                <a:spcPct val="0"/>
              </a:spcAft>
              <a:defRPr>
                <a:solidFill>
                  <a:schemeClr val="tx1"/>
                </a:solidFill>
                <a:latin typeface="Perpetua" panose="02020502060401020303" pitchFamily="18" charset="0"/>
              </a:defRPr>
            </a:lvl8pPr>
            <a:lvl9pPr marL="3886200" indent="-228600" fontAlgn="base">
              <a:spcBef>
                <a:spcPct val="0"/>
              </a:spcBef>
              <a:spcAft>
                <a:spcPct val="0"/>
              </a:spcAft>
              <a:defRPr>
                <a:solidFill>
                  <a:schemeClr val="tx1"/>
                </a:solidFill>
                <a:latin typeface="Perpetua" panose="02020502060401020303" pitchFamily="18" charset="0"/>
              </a:defRPr>
            </a:lvl9pPr>
          </a:lstStyle>
          <a:p>
            <a:pPr fontAlgn="base">
              <a:spcBef>
                <a:spcPct val="0"/>
              </a:spcBef>
              <a:spcAft>
                <a:spcPct val="0"/>
              </a:spcAft>
            </a:pPr>
            <a:fld id="{9EBB6DBB-7734-479A-A149-49F5F30FB474}" type="slidenum">
              <a:rPr lang="en-US" altLang="en-US">
                <a:solidFill>
                  <a:srgbClr val="FFFFFF"/>
                </a:solidFill>
                <a:latin typeface="Franklin Gothic Book" panose="020B0503020102020204" pitchFamily="34" charset="0"/>
                <a:cs typeface="Arial" panose="020B0604020202020204" pitchFamily="34" charset="0"/>
              </a:rPr>
              <a:pPr fontAlgn="base">
                <a:spcBef>
                  <a:spcPct val="0"/>
                </a:spcBef>
                <a:spcAft>
                  <a:spcPct val="0"/>
                </a:spcAft>
              </a:pPr>
              <a:t>5</a:t>
            </a:fld>
            <a:endParaRPr lang="en-US" altLang="en-US">
              <a:solidFill>
                <a:srgbClr val="FFFFFF"/>
              </a:solidFill>
              <a:latin typeface="Franklin Gothic Book" panose="020B0503020102020204" pitchFamily="34" charset="0"/>
              <a:cs typeface="Arial" panose="020B0604020202020204" pitchFamily="34" charset="0"/>
            </a:endParaRPr>
          </a:p>
        </p:txBody>
      </p:sp>
    </p:spTree>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Title 3">
            <a:extLst>
              <a:ext uri="{FF2B5EF4-FFF2-40B4-BE49-F238E27FC236}">
                <a16:creationId xmlns:a16="http://schemas.microsoft.com/office/drawing/2014/main" id="{466F42EF-8EBB-4D76-A74C-417ABDA67A5B}"/>
              </a:ext>
            </a:extLst>
          </p:cNvPr>
          <p:cNvSpPr>
            <a:spLocks noGrp="1"/>
          </p:cNvSpPr>
          <p:nvPr>
            <p:ph type="title"/>
          </p:nvPr>
        </p:nvSpPr>
        <p:spPr>
          <a:xfrm>
            <a:off x="1827213" y="2216151"/>
            <a:ext cx="8229600" cy="3889375"/>
          </a:xfr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t"/>
          <a:lstStyle/>
          <a:p>
            <a:pPr algn="l">
              <a:defRPr/>
            </a:pPr>
            <a:r>
              <a:rPr lang="en-US" altLang="en-US" sz="3200"/>
              <a:t>What Is a Compliance System?</a:t>
            </a:r>
          </a:p>
        </p:txBody>
      </p:sp>
      <p:graphicFrame>
        <p:nvGraphicFramePr>
          <p:cNvPr id="5" name="Table 4">
            <a:extLst>
              <a:ext uri="{FF2B5EF4-FFF2-40B4-BE49-F238E27FC236}">
                <a16:creationId xmlns:a16="http://schemas.microsoft.com/office/drawing/2014/main" id="{05F5E1A2-43D2-4130-A68D-637F1E3FC004}"/>
              </a:ext>
            </a:extLst>
          </p:cNvPr>
          <p:cNvGraphicFramePr>
            <a:graphicFrameLocks noGrp="1"/>
          </p:cNvGraphicFramePr>
          <p:nvPr/>
        </p:nvGraphicFramePr>
        <p:xfrm>
          <a:off x="7467600" y="533401"/>
          <a:ext cx="3194050" cy="6324601"/>
        </p:xfrm>
        <a:graphic>
          <a:graphicData uri="http://schemas.openxmlformats.org/drawingml/2006/table">
            <a:tbl>
              <a:tblPr/>
              <a:tblGrid>
                <a:gridCol w="3194050">
                  <a:extLst>
                    <a:ext uri="{9D8B030D-6E8A-4147-A177-3AD203B41FA5}">
                      <a16:colId xmlns:a16="http://schemas.microsoft.com/office/drawing/2014/main" val="20000"/>
                    </a:ext>
                  </a:extLst>
                </a:gridCol>
              </a:tblGrid>
              <a:tr h="997231">
                <a:tc>
                  <a:txBody>
                    <a:bodyPr/>
                    <a:lstStyle/>
                    <a:p>
                      <a:pPr marL="304800" marR="0" lvl="0" indent="-304800" algn="l" defTabSz="914400" rtl="0" eaLnBrk="1" fontAlgn="base" latinLnBrk="0" hangingPunct="1">
                        <a:lnSpc>
                          <a:spcPct val="100000"/>
                        </a:lnSpc>
                        <a:spcBef>
                          <a:spcPct val="30000"/>
                        </a:spcBef>
                        <a:spcAft>
                          <a:spcPct val="25000"/>
                        </a:spcAft>
                        <a:buClr>
                          <a:srgbClr val="192F5A"/>
                        </a:buClr>
                        <a:buSzTx/>
                        <a:buFont typeface="Times" pitchFamily="18" charset="0"/>
                        <a:buNone/>
                        <a:tabLst/>
                      </a:pPr>
                      <a:r>
                        <a:rPr kumimoji="0" lang="en-US" sz="1800" b="1" i="0" u="none" strike="noStrike" cap="none" normalizeH="0" baseline="0" dirty="0">
                          <a:ln>
                            <a:noFill/>
                          </a:ln>
                          <a:solidFill>
                            <a:schemeClr val="tx1"/>
                          </a:solidFill>
                          <a:effectLst/>
                          <a:latin typeface="Times New Roman" pitchFamily="18" charset="0"/>
                          <a:ea typeface="ＭＳ Ｐゴシック" pitchFamily="34" charset="-128"/>
                          <a:cs typeface="Times New Roman" pitchFamily="18" charset="0"/>
                        </a:rPr>
                        <a:t>1. 	Standards and procedures	</a:t>
                      </a:r>
                    </a:p>
                  </a:txBody>
                  <a:tcPr marL="91437" marR="91437" marT="45718" marB="45718"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333333"/>
                    </a:solidFill>
                  </a:tcPr>
                </a:tc>
                <a:extLst>
                  <a:ext uri="{0D108BD9-81ED-4DB2-BD59-A6C34878D82A}">
                    <a16:rowId xmlns:a16="http://schemas.microsoft.com/office/drawing/2014/main" val="10000"/>
                  </a:ext>
                </a:extLst>
              </a:tr>
              <a:tr h="1019234">
                <a:tc>
                  <a:txBody>
                    <a:bodyPr/>
                    <a:lstStyle/>
                    <a:p>
                      <a:pPr marL="304800" marR="0" lvl="0" indent="-304800" algn="l" defTabSz="914400" rtl="0" eaLnBrk="1" fontAlgn="base" latinLnBrk="0" hangingPunct="1">
                        <a:lnSpc>
                          <a:spcPct val="100000"/>
                        </a:lnSpc>
                        <a:spcBef>
                          <a:spcPct val="30000"/>
                        </a:spcBef>
                        <a:spcAft>
                          <a:spcPct val="25000"/>
                        </a:spcAft>
                        <a:buClr>
                          <a:srgbClr val="192F5A"/>
                        </a:buClr>
                        <a:buSzTx/>
                        <a:buFont typeface="Times" pitchFamily="18" charset="0"/>
                        <a:buNone/>
                        <a:tabLst/>
                      </a:pPr>
                      <a:r>
                        <a:rPr kumimoji="0" lang="en-US" sz="1800" b="1" i="0" u="none" strike="noStrike" cap="none" normalizeH="0" baseline="0" dirty="0">
                          <a:ln>
                            <a:noFill/>
                          </a:ln>
                          <a:solidFill>
                            <a:schemeClr val="tx1"/>
                          </a:solidFill>
                          <a:effectLst/>
                          <a:latin typeface="Times New Roman" pitchFamily="18" charset="0"/>
                          <a:ea typeface="ＭＳ Ｐゴシック" pitchFamily="34" charset="-128"/>
                          <a:cs typeface="Times New Roman" pitchFamily="18" charset="0"/>
                        </a:rPr>
                        <a:t>2.  Knowledgeable leadership</a:t>
                      </a:r>
                    </a:p>
                  </a:txBody>
                  <a:tcPr marL="91437" marR="91437" marT="45718" marB="45718"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333333"/>
                    </a:solidFill>
                  </a:tcPr>
                </a:tc>
                <a:extLst>
                  <a:ext uri="{0D108BD9-81ED-4DB2-BD59-A6C34878D82A}">
                    <a16:rowId xmlns:a16="http://schemas.microsoft.com/office/drawing/2014/main" val="10001"/>
                  </a:ext>
                </a:extLst>
              </a:tr>
              <a:tr h="816839">
                <a:tc>
                  <a:txBody>
                    <a:bodyPr/>
                    <a:lstStyle/>
                    <a:p>
                      <a:pPr marL="304800" marR="0" lvl="0" indent="-304800" algn="l" defTabSz="914400" rtl="0" eaLnBrk="1" fontAlgn="base" latinLnBrk="0" hangingPunct="1">
                        <a:lnSpc>
                          <a:spcPct val="100000"/>
                        </a:lnSpc>
                        <a:spcBef>
                          <a:spcPct val="30000"/>
                        </a:spcBef>
                        <a:spcAft>
                          <a:spcPct val="25000"/>
                        </a:spcAft>
                        <a:buClr>
                          <a:srgbClr val="192F5A"/>
                        </a:buClr>
                        <a:buSzTx/>
                        <a:buFont typeface="Times" pitchFamily="18" charset="0"/>
                        <a:buNone/>
                        <a:tabLst/>
                      </a:pPr>
                      <a:r>
                        <a:rPr kumimoji="0" lang="en-US" sz="1800" b="1" i="0" u="none" strike="noStrike" cap="none" normalizeH="0" baseline="0" dirty="0">
                          <a:ln>
                            <a:noFill/>
                          </a:ln>
                          <a:solidFill>
                            <a:schemeClr val="tx1"/>
                          </a:solidFill>
                          <a:effectLst/>
                          <a:latin typeface="Times New Roman" pitchFamily="18" charset="0"/>
                          <a:ea typeface="ＭＳ Ｐゴシック" pitchFamily="34" charset="-128"/>
                          <a:cs typeface="Times New Roman" pitchFamily="18" charset="0"/>
                        </a:rPr>
                        <a:t>3. 	Exclude risky personnel</a:t>
                      </a:r>
                    </a:p>
                  </a:txBody>
                  <a:tcPr marL="91437" marR="91437" marT="45718" marB="45718"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333333"/>
                    </a:solidFill>
                  </a:tcPr>
                </a:tc>
                <a:extLst>
                  <a:ext uri="{0D108BD9-81ED-4DB2-BD59-A6C34878D82A}">
                    <a16:rowId xmlns:a16="http://schemas.microsoft.com/office/drawing/2014/main" val="10002"/>
                  </a:ext>
                </a:extLst>
              </a:tr>
              <a:tr h="409122">
                <a:tc>
                  <a:txBody>
                    <a:bodyPr/>
                    <a:lstStyle/>
                    <a:p>
                      <a:pPr marL="304800" marR="0" lvl="0" indent="-304800" algn="l" defTabSz="914400" rtl="0" eaLnBrk="1" fontAlgn="base" latinLnBrk="0" hangingPunct="1">
                        <a:lnSpc>
                          <a:spcPct val="100000"/>
                        </a:lnSpc>
                        <a:spcBef>
                          <a:spcPct val="30000"/>
                        </a:spcBef>
                        <a:spcAft>
                          <a:spcPct val="25000"/>
                        </a:spcAft>
                        <a:buClr>
                          <a:srgbClr val="192F5A"/>
                        </a:buClr>
                        <a:buSzTx/>
                        <a:buFont typeface="Times" pitchFamily="18" charset="0"/>
                        <a:buNone/>
                        <a:tabLst/>
                      </a:pPr>
                      <a:r>
                        <a:rPr kumimoji="0" lang="en-US" sz="1800" b="1" i="0" u="none" strike="noStrike" cap="none" normalizeH="0" baseline="0" dirty="0">
                          <a:ln>
                            <a:noFill/>
                          </a:ln>
                          <a:solidFill>
                            <a:schemeClr val="tx1"/>
                          </a:solidFill>
                          <a:effectLst/>
                          <a:latin typeface="Times New Roman" pitchFamily="18" charset="0"/>
                          <a:ea typeface="ＭＳ Ｐゴシック" pitchFamily="34" charset="-128"/>
                          <a:cs typeface="Times New Roman" pitchFamily="18" charset="0"/>
                        </a:rPr>
                        <a:t>4. 	Training</a:t>
                      </a:r>
                      <a:r>
                        <a:rPr kumimoji="0" lang="en-US" sz="1800" b="0" i="0" u="none" strike="noStrike" cap="none" normalizeH="0" baseline="0" dirty="0">
                          <a:ln>
                            <a:noFill/>
                          </a:ln>
                          <a:solidFill>
                            <a:schemeClr val="tx1"/>
                          </a:solidFill>
                          <a:effectLst/>
                          <a:latin typeface="Times New Roman" pitchFamily="18" charset="0"/>
                          <a:ea typeface="ＭＳ Ｐゴシック" pitchFamily="34" charset="-128"/>
                          <a:cs typeface="Times New Roman" pitchFamily="18" charset="0"/>
                        </a:rPr>
                        <a:t> </a:t>
                      </a:r>
                    </a:p>
                  </a:txBody>
                  <a:tcPr marL="91437" marR="91437" marT="45718" marB="45718"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333333"/>
                    </a:solidFill>
                  </a:tcPr>
                </a:tc>
                <a:extLst>
                  <a:ext uri="{0D108BD9-81ED-4DB2-BD59-A6C34878D82A}">
                    <a16:rowId xmlns:a16="http://schemas.microsoft.com/office/drawing/2014/main" val="10003"/>
                  </a:ext>
                </a:extLst>
              </a:tr>
              <a:tr h="1151357">
                <a:tc>
                  <a:txBody>
                    <a:bodyPr/>
                    <a:lstStyle/>
                    <a:p>
                      <a:pPr marL="304800" marR="0" lvl="0" indent="-304800" algn="l" defTabSz="914400" rtl="0" eaLnBrk="1" fontAlgn="base" latinLnBrk="0" hangingPunct="1">
                        <a:lnSpc>
                          <a:spcPct val="100000"/>
                        </a:lnSpc>
                        <a:spcBef>
                          <a:spcPct val="30000"/>
                        </a:spcBef>
                        <a:spcAft>
                          <a:spcPct val="25000"/>
                        </a:spcAft>
                        <a:buClr>
                          <a:srgbClr val="192F5A"/>
                        </a:buClr>
                        <a:buSzTx/>
                        <a:buFont typeface="Times" pitchFamily="18" charset="0"/>
                        <a:buNone/>
                        <a:tabLst/>
                      </a:pPr>
                      <a:r>
                        <a:rPr kumimoji="0" lang="en-US" sz="1800" b="1" i="0" u="none" strike="noStrike" cap="none" normalizeH="0" baseline="0" dirty="0">
                          <a:ln>
                            <a:noFill/>
                          </a:ln>
                          <a:solidFill>
                            <a:schemeClr val="tx1"/>
                          </a:solidFill>
                          <a:effectLst/>
                          <a:latin typeface="Times New Roman" pitchFamily="18" charset="0"/>
                          <a:ea typeface="ＭＳ Ｐゴシック" pitchFamily="34" charset="-128"/>
                          <a:cs typeface="Times New Roman" pitchFamily="18" charset="0"/>
                        </a:rPr>
                        <a:t>5. 	Monitor, evaluate, reporting hotlin</a:t>
                      </a:r>
                      <a:r>
                        <a:rPr kumimoji="0" lang="en-US" sz="1800" b="0" i="0" u="none" strike="noStrike" cap="none" normalizeH="0" baseline="0" dirty="0">
                          <a:ln>
                            <a:noFill/>
                          </a:ln>
                          <a:solidFill>
                            <a:schemeClr val="tx1"/>
                          </a:solidFill>
                          <a:effectLst/>
                          <a:latin typeface="Times New Roman" pitchFamily="18" charset="0"/>
                          <a:ea typeface="ＭＳ Ｐゴシック" pitchFamily="34" charset="-128"/>
                          <a:cs typeface="Times New Roman" pitchFamily="18" charset="0"/>
                        </a:rPr>
                        <a:t>e</a:t>
                      </a:r>
                    </a:p>
                  </a:txBody>
                  <a:tcPr marL="91437" marR="91437" marT="45718" marB="45718"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333333"/>
                    </a:solidFill>
                  </a:tcPr>
                </a:tc>
                <a:extLst>
                  <a:ext uri="{0D108BD9-81ED-4DB2-BD59-A6C34878D82A}">
                    <a16:rowId xmlns:a16="http://schemas.microsoft.com/office/drawing/2014/main" val="10004"/>
                  </a:ext>
                </a:extLst>
              </a:tr>
              <a:tr h="881461">
                <a:tc>
                  <a:txBody>
                    <a:bodyPr/>
                    <a:lstStyle/>
                    <a:p>
                      <a:pPr marL="304800" marR="0" lvl="0" indent="-304800" algn="l" defTabSz="914400" rtl="0" eaLnBrk="1" fontAlgn="base" latinLnBrk="0" hangingPunct="1">
                        <a:lnSpc>
                          <a:spcPct val="100000"/>
                        </a:lnSpc>
                        <a:spcBef>
                          <a:spcPct val="30000"/>
                        </a:spcBef>
                        <a:spcAft>
                          <a:spcPct val="25000"/>
                        </a:spcAft>
                        <a:buClr>
                          <a:srgbClr val="192F5A"/>
                        </a:buClr>
                        <a:buSzTx/>
                        <a:buFont typeface="Times" pitchFamily="18" charset="0"/>
                        <a:buNone/>
                        <a:tabLst/>
                      </a:pPr>
                      <a:r>
                        <a:rPr kumimoji="0" lang="en-US" sz="1800" b="1" i="0" u="none" strike="noStrike" cap="none" normalizeH="0" baseline="0" dirty="0">
                          <a:ln>
                            <a:noFill/>
                          </a:ln>
                          <a:solidFill>
                            <a:schemeClr val="tx1"/>
                          </a:solidFill>
                          <a:effectLst/>
                          <a:latin typeface="Times New Roman" pitchFamily="18" charset="0"/>
                          <a:ea typeface="ＭＳ Ｐゴシック" pitchFamily="34" charset="-128"/>
                          <a:cs typeface="Times New Roman" pitchFamily="18" charset="0"/>
                        </a:rPr>
                        <a:t>6. 	Incentives and discipline </a:t>
                      </a:r>
                    </a:p>
                  </a:txBody>
                  <a:tcPr marL="91437" marR="91437" marT="45718" marB="45718"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333333"/>
                    </a:solidFill>
                  </a:tcPr>
                </a:tc>
                <a:extLst>
                  <a:ext uri="{0D108BD9-81ED-4DB2-BD59-A6C34878D82A}">
                    <a16:rowId xmlns:a16="http://schemas.microsoft.com/office/drawing/2014/main" val="10005"/>
                  </a:ext>
                </a:extLst>
              </a:tr>
              <a:tr h="1049357">
                <a:tc>
                  <a:txBody>
                    <a:bodyPr/>
                    <a:lstStyle/>
                    <a:p>
                      <a:pPr marL="304800" marR="0" lvl="0" indent="-304800" algn="l" defTabSz="914400" rtl="0" eaLnBrk="1" fontAlgn="base" latinLnBrk="0" hangingPunct="1">
                        <a:lnSpc>
                          <a:spcPct val="100000"/>
                        </a:lnSpc>
                        <a:spcBef>
                          <a:spcPct val="30000"/>
                        </a:spcBef>
                        <a:spcAft>
                          <a:spcPct val="25000"/>
                        </a:spcAft>
                        <a:buClr>
                          <a:srgbClr val="192F5A"/>
                        </a:buClr>
                        <a:buSzTx/>
                        <a:buFont typeface="Times" pitchFamily="18" charset="0"/>
                        <a:buNone/>
                        <a:tabLst/>
                      </a:pPr>
                      <a:r>
                        <a:rPr kumimoji="0" lang="en-US" sz="1800" b="1" i="0" u="none" strike="noStrike" cap="none" normalizeH="0" baseline="0" dirty="0">
                          <a:ln>
                            <a:noFill/>
                          </a:ln>
                          <a:solidFill>
                            <a:schemeClr val="tx1"/>
                          </a:solidFill>
                          <a:effectLst/>
                          <a:latin typeface="Times New Roman" pitchFamily="18" charset="0"/>
                          <a:ea typeface="ＭＳ Ｐゴシック" pitchFamily="34" charset="-128"/>
                          <a:cs typeface="Times New Roman" pitchFamily="18" charset="0"/>
                        </a:rPr>
                        <a:t>7. 	Adjust program to risk</a:t>
                      </a:r>
                    </a:p>
                  </a:txBody>
                  <a:tcPr marL="91437" marR="91437" marT="45718" marB="45718"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rgbClr val="333333"/>
                    </a:solidFill>
                  </a:tcPr>
                </a:tc>
                <a:extLst>
                  <a:ext uri="{0D108BD9-81ED-4DB2-BD59-A6C34878D82A}">
                    <a16:rowId xmlns:a16="http://schemas.microsoft.com/office/drawing/2014/main" val="10006"/>
                  </a:ext>
                </a:extLst>
              </a:tr>
            </a:tbl>
          </a:graphicData>
        </a:graphic>
      </p:graphicFrame>
    </p:spTree>
    <p:extLst>
      <p:ext uri="{BB962C8B-B14F-4D97-AF65-F5344CB8AC3E}">
        <p14:creationId xmlns:p14="http://schemas.microsoft.com/office/powerpoint/2010/main" val="2185739650"/>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Group 71">
            <a:extLst>
              <a:ext uri="{FF2B5EF4-FFF2-40B4-BE49-F238E27FC236}">
                <a16:creationId xmlns:a16="http://schemas.microsoft.com/office/drawing/2014/main" id="{9F9E96D1-5DB1-4C0B-9CAD-11CBB6A60E5B}"/>
              </a:ext>
            </a:extLst>
          </p:cNvPr>
          <p:cNvGraphicFramePr>
            <a:graphicFrameLocks/>
          </p:cNvGraphicFramePr>
          <p:nvPr/>
        </p:nvGraphicFramePr>
        <p:xfrm>
          <a:off x="1524001" y="1"/>
          <a:ext cx="9143999" cy="6857999"/>
        </p:xfrm>
        <a:graphic>
          <a:graphicData uri="http://schemas.openxmlformats.org/drawingml/2006/table">
            <a:tbl>
              <a:tblPr/>
              <a:tblGrid>
                <a:gridCol w="2590799">
                  <a:extLst>
                    <a:ext uri="{9D8B030D-6E8A-4147-A177-3AD203B41FA5}">
                      <a16:colId xmlns:a16="http://schemas.microsoft.com/office/drawing/2014/main" val="20000"/>
                    </a:ext>
                  </a:extLst>
                </a:gridCol>
                <a:gridCol w="1828800">
                  <a:extLst>
                    <a:ext uri="{9D8B030D-6E8A-4147-A177-3AD203B41FA5}">
                      <a16:colId xmlns:a16="http://schemas.microsoft.com/office/drawing/2014/main" val="20001"/>
                    </a:ext>
                  </a:extLst>
                </a:gridCol>
                <a:gridCol w="1524000">
                  <a:extLst>
                    <a:ext uri="{9D8B030D-6E8A-4147-A177-3AD203B41FA5}">
                      <a16:colId xmlns:a16="http://schemas.microsoft.com/office/drawing/2014/main" val="20002"/>
                    </a:ext>
                  </a:extLst>
                </a:gridCol>
                <a:gridCol w="1600200">
                  <a:extLst>
                    <a:ext uri="{9D8B030D-6E8A-4147-A177-3AD203B41FA5}">
                      <a16:colId xmlns:a16="http://schemas.microsoft.com/office/drawing/2014/main" val="20003"/>
                    </a:ext>
                  </a:extLst>
                </a:gridCol>
                <a:gridCol w="1600200">
                  <a:extLst>
                    <a:ext uri="{9D8B030D-6E8A-4147-A177-3AD203B41FA5}">
                      <a16:colId xmlns:a16="http://schemas.microsoft.com/office/drawing/2014/main" val="20004"/>
                    </a:ext>
                  </a:extLst>
                </a:gridCol>
              </a:tblGrid>
              <a:tr h="824182">
                <a:tc>
                  <a:txBody>
                    <a:bodyPr/>
                    <a:lstStyle/>
                    <a:p>
                      <a:pPr marL="0" marR="0" lvl="0" indent="0" algn="l" defTabSz="914400" rtl="0" eaLnBrk="1" fontAlgn="base" latinLnBrk="0" hangingPunct="1">
                        <a:lnSpc>
                          <a:spcPct val="100000"/>
                        </a:lnSpc>
                        <a:spcBef>
                          <a:spcPct val="30000"/>
                        </a:spcBef>
                        <a:spcAft>
                          <a:spcPct val="25000"/>
                        </a:spcAft>
                        <a:buClr>
                          <a:srgbClr val="192F5A"/>
                        </a:buClr>
                        <a:buSzTx/>
                        <a:buFont typeface="Times" pitchFamily="18" charset="0"/>
                        <a:buNone/>
                        <a:tabLst/>
                      </a:pPr>
                      <a:endParaRPr kumimoji="0" lang="en-US" sz="1100" b="1" i="0" u="none" strike="noStrike" cap="none" normalizeH="0" baseline="0" dirty="0">
                        <a:ln>
                          <a:noFill/>
                        </a:ln>
                        <a:solidFill>
                          <a:schemeClr val="tx1"/>
                        </a:solidFill>
                        <a:effectLst/>
                        <a:latin typeface="Arial" charset="0"/>
                        <a:ea typeface="ＭＳ Ｐゴシック" pitchFamily="34" charset="-128"/>
                      </a:endParaRP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333333"/>
                    </a:solidFill>
                  </a:tcPr>
                </a:tc>
                <a:tc>
                  <a:txBody>
                    <a:bodyPr/>
                    <a:lstStyle/>
                    <a:p>
                      <a:pPr marL="0" marR="0" lvl="0" indent="0" algn="l" defTabSz="914400" rtl="0" eaLnBrk="1" fontAlgn="base" latinLnBrk="0" hangingPunct="1">
                        <a:lnSpc>
                          <a:spcPct val="100000"/>
                        </a:lnSpc>
                        <a:spcBef>
                          <a:spcPct val="30000"/>
                        </a:spcBef>
                        <a:spcAft>
                          <a:spcPct val="25000"/>
                        </a:spcAft>
                        <a:buClr>
                          <a:srgbClr val="192F5A"/>
                        </a:buClr>
                        <a:buSzTx/>
                        <a:buFont typeface="Times" pitchFamily="18" charset="0"/>
                        <a:buNone/>
                        <a:tabLst/>
                      </a:pPr>
                      <a:endParaRPr kumimoji="0" lang="en-US" sz="1100" b="1" i="0" u="none" strike="noStrike" kern="1200" cap="none" normalizeH="0" baseline="0" dirty="0">
                        <a:ln>
                          <a:noFill/>
                        </a:ln>
                        <a:solidFill>
                          <a:schemeClr val="tx1"/>
                        </a:solidFill>
                        <a:effectLst/>
                        <a:latin typeface="Arial" charset="0"/>
                        <a:ea typeface="ＭＳ Ｐゴシック" pitchFamily="34" charset="-128"/>
                        <a:cs typeface="+mn-cs"/>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333333"/>
                    </a:solidFill>
                  </a:tcPr>
                </a:tc>
                <a:tc>
                  <a:txBody>
                    <a:bodyPr/>
                    <a:lstStyle/>
                    <a:p>
                      <a:pPr marL="0" marR="0" lvl="0" indent="0" algn="l" defTabSz="914400" rtl="0" eaLnBrk="1" fontAlgn="base" latinLnBrk="0" hangingPunct="1">
                        <a:lnSpc>
                          <a:spcPct val="100000"/>
                        </a:lnSpc>
                        <a:spcBef>
                          <a:spcPct val="30000"/>
                        </a:spcBef>
                        <a:spcAft>
                          <a:spcPct val="25000"/>
                        </a:spcAft>
                        <a:buClr>
                          <a:srgbClr val="192F5A"/>
                        </a:buClr>
                        <a:buSzTx/>
                        <a:buFont typeface="Times" pitchFamily="18" charset="0"/>
                        <a:buNone/>
                        <a:tabLst/>
                      </a:pPr>
                      <a:endParaRPr kumimoji="0" lang="en-US" sz="1100" b="1" i="0" u="none" strike="noStrike" kern="1200" cap="none" normalizeH="0" baseline="0" dirty="0">
                        <a:ln>
                          <a:noFill/>
                        </a:ln>
                        <a:solidFill>
                          <a:schemeClr val="tx1"/>
                        </a:solidFill>
                        <a:effectLst/>
                        <a:latin typeface="Arial" charset="0"/>
                        <a:ea typeface="ＭＳ Ｐゴシック" pitchFamily="34" charset="-128"/>
                        <a:cs typeface="+mn-cs"/>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333333"/>
                    </a:solidFill>
                  </a:tcPr>
                </a:tc>
                <a:tc>
                  <a:txBody>
                    <a:bodyPr/>
                    <a:lstStyle/>
                    <a:p>
                      <a:pPr marL="0" marR="0" lvl="0" indent="0" algn="l" defTabSz="914400" rtl="0" eaLnBrk="1" fontAlgn="base" latinLnBrk="0" hangingPunct="1">
                        <a:lnSpc>
                          <a:spcPct val="100000"/>
                        </a:lnSpc>
                        <a:spcBef>
                          <a:spcPct val="30000"/>
                        </a:spcBef>
                        <a:spcAft>
                          <a:spcPct val="25000"/>
                        </a:spcAft>
                        <a:buClr>
                          <a:srgbClr val="192F5A"/>
                        </a:buClr>
                        <a:buSzTx/>
                        <a:buFont typeface="Times" pitchFamily="18" charset="0"/>
                        <a:buNone/>
                        <a:tabLst/>
                        <a:defRPr/>
                      </a:pPr>
                      <a:endParaRPr kumimoji="0" lang="en-US" sz="4000" b="1" i="0" u="none" strike="noStrike" kern="1200" cap="none" normalizeH="0" baseline="0" dirty="0">
                        <a:ln>
                          <a:noFill/>
                        </a:ln>
                        <a:solidFill>
                          <a:schemeClr val="tx1"/>
                        </a:solidFill>
                        <a:effectLst/>
                        <a:latin typeface="Arial" charset="0"/>
                        <a:ea typeface="ＭＳ Ｐゴシック" pitchFamily="34" charset="-128"/>
                        <a:cs typeface="+mn-cs"/>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333333"/>
                    </a:solidFill>
                  </a:tcPr>
                </a:tc>
                <a:tc>
                  <a:txBody>
                    <a:bodyPr/>
                    <a:lstStyle/>
                    <a:p>
                      <a:pPr marL="0" marR="0" lvl="0" indent="0" algn="l" defTabSz="914400" rtl="0" eaLnBrk="1" fontAlgn="base" latinLnBrk="0" hangingPunct="1">
                        <a:lnSpc>
                          <a:spcPct val="100000"/>
                        </a:lnSpc>
                        <a:spcBef>
                          <a:spcPct val="30000"/>
                        </a:spcBef>
                        <a:spcAft>
                          <a:spcPct val="25000"/>
                        </a:spcAft>
                        <a:buClr>
                          <a:srgbClr val="192F5A"/>
                        </a:buClr>
                        <a:buSzTx/>
                        <a:buFont typeface="Times" pitchFamily="18" charset="0"/>
                        <a:buNone/>
                        <a:tabLst/>
                      </a:pPr>
                      <a:endParaRPr kumimoji="0" lang="en-US" sz="2800" b="1" i="0" u="none" strike="noStrike" kern="1200" cap="none" normalizeH="0" baseline="0" dirty="0">
                        <a:ln>
                          <a:noFill/>
                        </a:ln>
                        <a:solidFill>
                          <a:schemeClr val="tx1"/>
                        </a:solidFill>
                        <a:effectLst/>
                        <a:latin typeface="Arial" charset="0"/>
                        <a:ea typeface="ＭＳ Ｐゴシック" pitchFamily="34" charset="-128"/>
                        <a:cs typeface="+mn-cs"/>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333333"/>
                    </a:solidFill>
                  </a:tcPr>
                </a:tc>
                <a:extLst>
                  <a:ext uri="{0D108BD9-81ED-4DB2-BD59-A6C34878D82A}">
                    <a16:rowId xmlns:a16="http://schemas.microsoft.com/office/drawing/2014/main" val="10000"/>
                  </a:ext>
                </a:extLst>
              </a:tr>
              <a:tr h="969364">
                <a:tc>
                  <a:txBody>
                    <a:bodyPr/>
                    <a:lstStyle/>
                    <a:p>
                      <a:pPr marL="304800" marR="0" lvl="0" indent="-304800" algn="l" defTabSz="914400" rtl="0" eaLnBrk="1" fontAlgn="base" latinLnBrk="0" hangingPunct="1">
                        <a:lnSpc>
                          <a:spcPct val="100000"/>
                        </a:lnSpc>
                        <a:spcBef>
                          <a:spcPct val="30000"/>
                        </a:spcBef>
                        <a:spcAft>
                          <a:spcPct val="25000"/>
                        </a:spcAft>
                        <a:buClr>
                          <a:srgbClr val="192F5A"/>
                        </a:buClr>
                        <a:buSzTx/>
                        <a:buFont typeface="Times" pitchFamily="18" charset="0"/>
                        <a:buNone/>
                        <a:tabLst/>
                      </a:pPr>
                      <a:r>
                        <a:rPr kumimoji="0" lang="en-US" sz="1800" b="1" i="0" u="none" strike="noStrike" cap="none" normalizeH="0" baseline="0" dirty="0">
                          <a:ln>
                            <a:noFill/>
                          </a:ln>
                          <a:solidFill>
                            <a:schemeClr val="tx1"/>
                          </a:solidFill>
                          <a:effectLst/>
                          <a:latin typeface="Times New Roman" pitchFamily="18" charset="0"/>
                          <a:ea typeface="ＭＳ Ｐゴシック" pitchFamily="34" charset="-128"/>
                          <a:cs typeface="Times New Roman" pitchFamily="18" charset="0"/>
                        </a:rPr>
                        <a:t>1. 	Standards and procedures	</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333333"/>
                    </a:solidFill>
                  </a:tcPr>
                </a:tc>
                <a:tc>
                  <a:txBody>
                    <a:bodyPr/>
                    <a:lstStyle/>
                    <a:p>
                      <a:pPr marL="0" marR="0" lvl="0" indent="0" algn="ctr" defTabSz="914400" rtl="0" eaLnBrk="1" fontAlgn="base" latinLnBrk="0" hangingPunct="1">
                        <a:lnSpc>
                          <a:spcPct val="100000"/>
                        </a:lnSpc>
                        <a:spcBef>
                          <a:spcPct val="30000"/>
                        </a:spcBef>
                        <a:spcAft>
                          <a:spcPct val="25000"/>
                        </a:spcAft>
                        <a:buClr>
                          <a:srgbClr val="192F5A"/>
                        </a:buClr>
                        <a:buSzTx/>
                        <a:buFont typeface="Times" pitchFamily="18" charset="0"/>
                        <a:buNone/>
                        <a:tabLst/>
                      </a:pPr>
                      <a:r>
                        <a:rPr kumimoji="0" lang="en-US" sz="3600" b="1" i="0" u="none" strike="noStrike" cap="none" normalizeH="0" baseline="0" dirty="0">
                          <a:ln>
                            <a:noFill/>
                          </a:ln>
                          <a:solidFill>
                            <a:schemeClr val="tx1"/>
                          </a:solidFill>
                          <a:effectLst/>
                          <a:latin typeface="Times New Roman" pitchFamily="18" charset="0"/>
                          <a:ea typeface="ＭＳ Ｐゴシック" pitchFamily="34" charset="-128"/>
                          <a:cs typeface="Times New Roman" pitchFamily="18" charset="0"/>
                        </a:rPr>
                        <a:t>√</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30000"/>
                        </a:spcBef>
                        <a:spcAft>
                          <a:spcPct val="25000"/>
                        </a:spcAft>
                        <a:buClr>
                          <a:srgbClr val="192F5A"/>
                        </a:buClr>
                        <a:buSzTx/>
                        <a:buFont typeface="Times" pitchFamily="18" charset="0"/>
                        <a:buNone/>
                        <a:tabLst/>
                      </a:pPr>
                      <a:r>
                        <a:rPr kumimoji="0" lang="en-US" sz="3600" b="1" i="0" u="none" strike="noStrike" cap="none" normalizeH="0" baseline="0">
                          <a:ln>
                            <a:noFill/>
                          </a:ln>
                          <a:solidFill>
                            <a:schemeClr val="tx1"/>
                          </a:solidFill>
                          <a:effectLst/>
                          <a:latin typeface="Times New Roman" pitchFamily="18" charset="0"/>
                          <a:ea typeface="ＭＳ Ｐゴシック" pitchFamily="34" charset="-128"/>
                          <a:cs typeface="Times New Roman" pitchFamily="18" charset="0"/>
                        </a:rPr>
                        <a:t>√</a:t>
                      </a:r>
                      <a:endParaRPr kumimoji="0" lang="en-US" sz="3600" b="1" i="0" u="none" strike="noStrike" cap="none" normalizeH="0" baseline="0" dirty="0">
                        <a:ln>
                          <a:noFill/>
                        </a:ln>
                        <a:solidFill>
                          <a:schemeClr val="tx1"/>
                        </a:solidFill>
                        <a:effectLst/>
                        <a:latin typeface="Times New Roman" pitchFamily="18" charset="0"/>
                        <a:ea typeface="ＭＳ Ｐゴシック" pitchFamily="34" charset="-128"/>
                        <a:cs typeface="Times New Roman" pitchFamily="18"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30000"/>
                        </a:spcBef>
                        <a:spcAft>
                          <a:spcPct val="25000"/>
                        </a:spcAft>
                        <a:buClr>
                          <a:srgbClr val="192F5A"/>
                        </a:buClr>
                        <a:buSzTx/>
                        <a:buFont typeface="Times" pitchFamily="18" charset="0"/>
                        <a:buNone/>
                        <a:tabLst/>
                      </a:pPr>
                      <a:r>
                        <a:rPr kumimoji="0" lang="en-US" sz="3600" b="1" i="0" u="none" strike="noStrike" cap="none" normalizeH="0" baseline="0">
                          <a:ln>
                            <a:noFill/>
                          </a:ln>
                          <a:solidFill>
                            <a:schemeClr val="tx1"/>
                          </a:solidFill>
                          <a:effectLst/>
                          <a:latin typeface="Times New Roman" pitchFamily="18" charset="0"/>
                          <a:ea typeface="ＭＳ Ｐゴシック" pitchFamily="34" charset="-128"/>
                          <a:cs typeface="Times New Roman" pitchFamily="18" charset="0"/>
                        </a:rPr>
                        <a:t>√</a:t>
                      </a:r>
                      <a:endParaRPr kumimoji="0" lang="en-US" sz="3600" b="1" i="0" u="none" strike="noStrike" cap="none" normalizeH="0" baseline="0" dirty="0">
                        <a:ln>
                          <a:noFill/>
                        </a:ln>
                        <a:solidFill>
                          <a:schemeClr val="tx1"/>
                        </a:solidFill>
                        <a:effectLst/>
                        <a:latin typeface="Times New Roman" pitchFamily="18" charset="0"/>
                        <a:ea typeface="ＭＳ Ｐゴシック" pitchFamily="34" charset="-128"/>
                        <a:cs typeface="Times New Roman" pitchFamily="18"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30000"/>
                        </a:spcBef>
                        <a:spcAft>
                          <a:spcPct val="25000"/>
                        </a:spcAft>
                        <a:buClr>
                          <a:srgbClr val="192F5A"/>
                        </a:buClr>
                        <a:buSzTx/>
                        <a:buFont typeface="Times" pitchFamily="18" charset="0"/>
                        <a:buNone/>
                        <a:tabLst/>
                      </a:pPr>
                      <a:r>
                        <a:rPr kumimoji="0" lang="en-US" sz="3600" b="1" i="0" u="none" strike="noStrike" cap="none" normalizeH="0" baseline="0">
                          <a:ln>
                            <a:noFill/>
                          </a:ln>
                          <a:solidFill>
                            <a:schemeClr val="tx1"/>
                          </a:solidFill>
                          <a:effectLst/>
                          <a:latin typeface="Times New Roman" pitchFamily="18" charset="0"/>
                          <a:ea typeface="ＭＳ Ｐゴシック" pitchFamily="34" charset="-128"/>
                          <a:cs typeface="Times New Roman" pitchFamily="18" charset="0"/>
                        </a:rPr>
                        <a:t>√</a:t>
                      </a:r>
                      <a:endParaRPr kumimoji="0" lang="en-US" sz="3600" b="1" i="0" u="none" strike="noStrike" cap="none" normalizeH="0" baseline="0" dirty="0">
                        <a:ln>
                          <a:noFill/>
                        </a:ln>
                        <a:solidFill>
                          <a:schemeClr val="tx1"/>
                        </a:solidFill>
                        <a:effectLst/>
                        <a:latin typeface="Times New Roman" pitchFamily="18" charset="0"/>
                        <a:ea typeface="ＭＳ Ｐゴシック" pitchFamily="34" charset="-128"/>
                        <a:cs typeface="Times New Roman" pitchFamily="18"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803171">
                <a:tc>
                  <a:txBody>
                    <a:bodyPr/>
                    <a:lstStyle/>
                    <a:p>
                      <a:pPr marL="304800" marR="0" lvl="0" indent="-304800" algn="l" defTabSz="914400" rtl="0" eaLnBrk="1" fontAlgn="base" latinLnBrk="0" hangingPunct="1">
                        <a:lnSpc>
                          <a:spcPct val="100000"/>
                        </a:lnSpc>
                        <a:spcBef>
                          <a:spcPct val="30000"/>
                        </a:spcBef>
                        <a:spcAft>
                          <a:spcPct val="25000"/>
                        </a:spcAft>
                        <a:buClr>
                          <a:srgbClr val="192F5A"/>
                        </a:buClr>
                        <a:buSzTx/>
                        <a:buFont typeface="Times" pitchFamily="18" charset="0"/>
                        <a:buNone/>
                        <a:tabLst/>
                      </a:pPr>
                      <a:r>
                        <a:rPr kumimoji="0" lang="en-US" sz="1800" b="1" i="0" u="none" strike="noStrike" cap="none" normalizeH="0" baseline="0" dirty="0">
                          <a:ln>
                            <a:noFill/>
                          </a:ln>
                          <a:solidFill>
                            <a:schemeClr val="tx1"/>
                          </a:solidFill>
                          <a:effectLst/>
                          <a:latin typeface="Times New Roman" pitchFamily="18" charset="0"/>
                          <a:ea typeface="ＭＳ Ｐゴシック" pitchFamily="34" charset="-128"/>
                          <a:cs typeface="Times New Roman" pitchFamily="18" charset="0"/>
                        </a:rPr>
                        <a:t>2.  Knowledgeable leadership</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333333"/>
                    </a:solidFill>
                  </a:tcPr>
                </a:tc>
                <a:tc>
                  <a:txBody>
                    <a:bodyPr/>
                    <a:lstStyle/>
                    <a:p>
                      <a:pPr marL="0" marR="0" lvl="0" indent="0" algn="ctr" defTabSz="914400" rtl="0" eaLnBrk="1" fontAlgn="base" latinLnBrk="0" hangingPunct="1">
                        <a:lnSpc>
                          <a:spcPct val="100000"/>
                        </a:lnSpc>
                        <a:spcBef>
                          <a:spcPct val="30000"/>
                        </a:spcBef>
                        <a:spcAft>
                          <a:spcPct val="25000"/>
                        </a:spcAft>
                        <a:buClr>
                          <a:srgbClr val="192F5A"/>
                        </a:buClr>
                        <a:buSzTx/>
                        <a:buFont typeface="Times" pitchFamily="18" charset="0"/>
                        <a:buNone/>
                        <a:tabLst/>
                        <a:defRPr/>
                      </a:pPr>
                      <a:endParaRPr kumimoji="0" lang="en-US" sz="3600" b="1" i="0" u="none" strike="noStrike" cap="none" normalizeH="0" baseline="0" dirty="0">
                        <a:ln>
                          <a:noFill/>
                        </a:ln>
                        <a:solidFill>
                          <a:schemeClr val="tx1"/>
                        </a:solidFill>
                        <a:effectLst/>
                        <a:latin typeface="Times New Roman" pitchFamily="18" charset="0"/>
                        <a:ea typeface="ＭＳ Ｐゴシック" pitchFamily="34" charset="-128"/>
                        <a:cs typeface="Times New Roman" pitchFamily="18"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30000"/>
                        </a:spcBef>
                        <a:spcAft>
                          <a:spcPct val="25000"/>
                        </a:spcAft>
                        <a:buClr>
                          <a:srgbClr val="192F5A"/>
                        </a:buClr>
                        <a:buSzTx/>
                        <a:buFont typeface="Times" pitchFamily="18" charset="0"/>
                        <a:buNone/>
                        <a:tabLst/>
                      </a:pPr>
                      <a:r>
                        <a:rPr kumimoji="0" lang="en-US" sz="3600" b="1" i="0" u="none" strike="noStrike" cap="none" normalizeH="0" baseline="0" dirty="0">
                          <a:ln>
                            <a:noFill/>
                          </a:ln>
                          <a:solidFill>
                            <a:schemeClr val="tx1"/>
                          </a:solidFill>
                          <a:effectLst/>
                          <a:latin typeface="Times New Roman" pitchFamily="18" charset="0"/>
                          <a:ea typeface="ＭＳ Ｐゴシック" pitchFamily="34" charset="-128"/>
                          <a:cs typeface="Times New Roman" pitchFamily="18" charset="0"/>
                        </a:rPr>
                        <a:t>√</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30000"/>
                        </a:spcBef>
                        <a:spcAft>
                          <a:spcPct val="25000"/>
                        </a:spcAft>
                        <a:buClr>
                          <a:srgbClr val="192F5A"/>
                        </a:buClr>
                        <a:buSzTx/>
                        <a:buFont typeface="Times" pitchFamily="18" charset="0"/>
                        <a:buNone/>
                        <a:tabLst/>
                      </a:pPr>
                      <a:r>
                        <a:rPr kumimoji="0" lang="en-US" sz="3600" b="1" i="0" u="none" strike="noStrike" cap="none" normalizeH="0" baseline="0">
                          <a:ln>
                            <a:noFill/>
                          </a:ln>
                          <a:solidFill>
                            <a:schemeClr val="tx1"/>
                          </a:solidFill>
                          <a:effectLst/>
                          <a:latin typeface="Times New Roman" pitchFamily="18" charset="0"/>
                          <a:ea typeface="ＭＳ Ｐゴシック" pitchFamily="34" charset="-128"/>
                          <a:cs typeface="Times New Roman" pitchFamily="18" charset="0"/>
                        </a:rPr>
                        <a:t>√</a:t>
                      </a:r>
                      <a:endParaRPr kumimoji="0" lang="en-US" sz="3600" b="1" i="0" u="none" strike="noStrike" cap="none" normalizeH="0" baseline="0" dirty="0">
                        <a:ln>
                          <a:noFill/>
                        </a:ln>
                        <a:solidFill>
                          <a:schemeClr val="tx1"/>
                        </a:solidFill>
                        <a:effectLst/>
                        <a:latin typeface="Times New Roman" pitchFamily="18" charset="0"/>
                        <a:ea typeface="ＭＳ Ｐゴシック" pitchFamily="34" charset="-128"/>
                        <a:cs typeface="Times New Roman" pitchFamily="18"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30000"/>
                        </a:spcBef>
                        <a:spcAft>
                          <a:spcPct val="25000"/>
                        </a:spcAft>
                        <a:buClr>
                          <a:srgbClr val="192F5A"/>
                        </a:buClr>
                        <a:buSzTx/>
                        <a:buFont typeface="Times" pitchFamily="18" charset="0"/>
                        <a:buNone/>
                        <a:tabLst/>
                      </a:pPr>
                      <a:r>
                        <a:rPr kumimoji="0" lang="en-US" sz="3600" b="1" i="0" u="none" strike="noStrike" cap="none" normalizeH="0" baseline="0">
                          <a:ln>
                            <a:noFill/>
                          </a:ln>
                          <a:solidFill>
                            <a:schemeClr val="tx1"/>
                          </a:solidFill>
                          <a:effectLst/>
                          <a:latin typeface="Times New Roman" pitchFamily="18" charset="0"/>
                          <a:ea typeface="ＭＳ Ｐゴシック" pitchFamily="34" charset="-128"/>
                          <a:cs typeface="Times New Roman" pitchFamily="18" charset="0"/>
                        </a:rPr>
                        <a:t>√</a:t>
                      </a:r>
                      <a:endParaRPr kumimoji="0" lang="en-US" sz="3600" b="1" i="0" u="none" strike="noStrike" cap="none" normalizeH="0" baseline="0" dirty="0">
                        <a:ln>
                          <a:noFill/>
                        </a:ln>
                        <a:solidFill>
                          <a:schemeClr val="tx1"/>
                        </a:solidFill>
                        <a:effectLst/>
                        <a:latin typeface="Times New Roman" pitchFamily="18" charset="0"/>
                        <a:ea typeface="ＭＳ Ｐゴシック" pitchFamily="34" charset="-128"/>
                        <a:cs typeface="Times New Roman" pitchFamily="18"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838499">
                <a:tc>
                  <a:txBody>
                    <a:bodyPr/>
                    <a:lstStyle/>
                    <a:p>
                      <a:pPr marL="304800" marR="0" lvl="0" indent="-304800" algn="l" defTabSz="914400" rtl="0" eaLnBrk="1" fontAlgn="base" latinLnBrk="0" hangingPunct="1">
                        <a:lnSpc>
                          <a:spcPct val="100000"/>
                        </a:lnSpc>
                        <a:spcBef>
                          <a:spcPct val="30000"/>
                        </a:spcBef>
                        <a:spcAft>
                          <a:spcPct val="25000"/>
                        </a:spcAft>
                        <a:buClr>
                          <a:srgbClr val="192F5A"/>
                        </a:buClr>
                        <a:buSzTx/>
                        <a:buFont typeface="Times" pitchFamily="18" charset="0"/>
                        <a:buNone/>
                        <a:tabLst/>
                      </a:pPr>
                      <a:r>
                        <a:rPr kumimoji="0" lang="en-US" sz="1800" b="1" i="0" u="none" strike="noStrike" cap="none" normalizeH="0" baseline="0" dirty="0">
                          <a:ln>
                            <a:noFill/>
                          </a:ln>
                          <a:solidFill>
                            <a:schemeClr val="tx1"/>
                          </a:solidFill>
                          <a:effectLst/>
                          <a:latin typeface="Times New Roman" pitchFamily="18" charset="0"/>
                          <a:ea typeface="ＭＳ Ｐゴシック" pitchFamily="34" charset="-128"/>
                          <a:cs typeface="Times New Roman" pitchFamily="18" charset="0"/>
                        </a:rPr>
                        <a:t>3. 	Exclude risky personnel</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333333"/>
                    </a:solidFill>
                  </a:tcPr>
                </a:tc>
                <a:tc>
                  <a:txBody>
                    <a:bodyPr/>
                    <a:lstStyle/>
                    <a:p>
                      <a:pPr marL="0" marR="0" lvl="0" indent="0" algn="ctr" defTabSz="914400" rtl="0" eaLnBrk="1" fontAlgn="base" latinLnBrk="0" hangingPunct="1">
                        <a:lnSpc>
                          <a:spcPct val="100000"/>
                        </a:lnSpc>
                        <a:spcBef>
                          <a:spcPct val="30000"/>
                        </a:spcBef>
                        <a:spcAft>
                          <a:spcPct val="25000"/>
                        </a:spcAft>
                        <a:buClr>
                          <a:srgbClr val="192F5A"/>
                        </a:buClr>
                        <a:buSzTx/>
                        <a:buFont typeface="Times" pitchFamily="18" charset="0"/>
                        <a:buNone/>
                        <a:tabLst/>
                      </a:pPr>
                      <a:r>
                        <a:rPr kumimoji="0" lang="en-US" sz="3600" b="1" i="0" u="none" strike="noStrike" cap="none" normalizeH="0" baseline="0" dirty="0">
                          <a:ln>
                            <a:noFill/>
                          </a:ln>
                          <a:solidFill>
                            <a:schemeClr val="tx1"/>
                          </a:solidFill>
                          <a:effectLst/>
                          <a:latin typeface="Times New Roman" pitchFamily="18" charset="0"/>
                          <a:ea typeface="ＭＳ Ｐゴシック" pitchFamily="34" charset="-128"/>
                          <a:cs typeface="Times New Roman" pitchFamily="18" charset="0"/>
                        </a:rPr>
                        <a:t>√</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30000"/>
                        </a:spcBef>
                        <a:spcAft>
                          <a:spcPct val="25000"/>
                        </a:spcAft>
                        <a:buClr>
                          <a:srgbClr val="192F5A"/>
                        </a:buClr>
                        <a:buSzTx/>
                        <a:buFont typeface="Times" pitchFamily="18" charset="0"/>
                        <a:buNone/>
                        <a:tabLst/>
                      </a:pPr>
                      <a:r>
                        <a:rPr kumimoji="0" lang="en-US" sz="3600" b="1" i="0" u="none" strike="noStrike" cap="none" normalizeH="0" baseline="0" dirty="0">
                          <a:ln>
                            <a:noFill/>
                          </a:ln>
                          <a:solidFill>
                            <a:schemeClr val="tx1"/>
                          </a:solidFill>
                          <a:effectLst/>
                          <a:latin typeface="Times New Roman" pitchFamily="18" charset="0"/>
                          <a:ea typeface="ＭＳ Ｐゴシック" pitchFamily="34" charset="-128"/>
                          <a:cs typeface="Times New Roman" pitchFamily="18" charset="0"/>
                        </a:rPr>
                        <a:t>√</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30000"/>
                        </a:spcBef>
                        <a:spcAft>
                          <a:spcPct val="25000"/>
                        </a:spcAft>
                        <a:buClr>
                          <a:srgbClr val="192F5A"/>
                        </a:buClr>
                        <a:buSzTx/>
                        <a:buFont typeface="Times" pitchFamily="18" charset="0"/>
                        <a:buNone/>
                        <a:tabLst/>
                      </a:pPr>
                      <a:r>
                        <a:rPr kumimoji="0" lang="en-US" sz="3600" b="1" i="0" u="none" strike="noStrike" cap="none" normalizeH="0" baseline="0">
                          <a:ln>
                            <a:noFill/>
                          </a:ln>
                          <a:solidFill>
                            <a:schemeClr val="tx1"/>
                          </a:solidFill>
                          <a:effectLst/>
                          <a:latin typeface="Times New Roman" pitchFamily="18" charset="0"/>
                          <a:ea typeface="ＭＳ Ｐゴシック" pitchFamily="34" charset="-128"/>
                          <a:cs typeface="Times New Roman" pitchFamily="18" charset="0"/>
                        </a:rPr>
                        <a:t>√</a:t>
                      </a:r>
                      <a:endParaRPr kumimoji="0" lang="en-US" sz="3600" b="1" i="0" u="none" strike="noStrike" cap="none" normalizeH="0" baseline="0" dirty="0">
                        <a:ln>
                          <a:noFill/>
                        </a:ln>
                        <a:solidFill>
                          <a:schemeClr val="tx1"/>
                        </a:solidFill>
                        <a:effectLst/>
                        <a:latin typeface="Times New Roman" pitchFamily="18" charset="0"/>
                        <a:ea typeface="ＭＳ Ｐゴシック" pitchFamily="34" charset="-128"/>
                        <a:cs typeface="Times New Roman" pitchFamily="18"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30000"/>
                        </a:spcBef>
                        <a:spcAft>
                          <a:spcPct val="25000"/>
                        </a:spcAft>
                        <a:buClr>
                          <a:srgbClr val="192F5A"/>
                        </a:buClr>
                        <a:buSzTx/>
                        <a:buFont typeface="Times" pitchFamily="18" charset="0"/>
                        <a:buNone/>
                        <a:tabLst/>
                      </a:pPr>
                      <a:r>
                        <a:rPr kumimoji="0" lang="en-US" sz="3600" b="1" i="0" u="none" strike="noStrike" cap="none" normalizeH="0" baseline="0">
                          <a:ln>
                            <a:noFill/>
                          </a:ln>
                          <a:solidFill>
                            <a:schemeClr val="tx1"/>
                          </a:solidFill>
                          <a:effectLst/>
                          <a:latin typeface="Times New Roman" pitchFamily="18" charset="0"/>
                          <a:ea typeface="ＭＳ Ｐゴシック" pitchFamily="34" charset="-128"/>
                          <a:cs typeface="Times New Roman" pitchFamily="18" charset="0"/>
                        </a:rPr>
                        <a:t>√</a:t>
                      </a:r>
                      <a:endParaRPr kumimoji="0" lang="en-US" sz="3600" b="1" i="0" u="none" strike="noStrike" cap="none" normalizeH="0" baseline="0" dirty="0">
                        <a:ln>
                          <a:noFill/>
                        </a:ln>
                        <a:solidFill>
                          <a:schemeClr val="tx1"/>
                        </a:solidFill>
                        <a:effectLst/>
                        <a:latin typeface="Times New Roman" pitchFamily="18" charset="0"/>
                        <a:ea typeface="ＭＳ Ｐゴシック" pitchFamily="34" charset="-128"/>
                        <a:cs typeface="Times New Roman" pitchFamily="18"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838499">
                <a:tc>
                  <a:txBody>
                    <a:bodyPr/>
                    <a:lstStyle/>
                    <a:p>
                      <a:pPr marL="304800" marR="0" lvl="0" indent="-304800" algn="l" defTabSz="914400" rtl="0" eaLnBrk="1" fontAlgn="base" latinLnBrk="0" hangingPunct="1">
                        <a:lnSpc>
                          <a:spcPct val="100000"/>
                        </a:lnSpc>
                        <a:spcBef>
                          <a:spcPct val="30000"/>
                        </a:spcBef>
                        <a:spcAft>
                          <a:spcPct val="25000"/>
                        </a:spcAft>
                        <a:buClr>
                          <a:srgbClr val="192F5A"/>
                        </a:buClr>
                        <a:buSzTx/>
                        <a:buFont typeface="Times" pitchFamily="18" charset="0"/>
                        <a:buNone/>
                        <a:tabLst/>
                      </a:pPr>
                      <a:r>
                        <a:rPr kumimoji="0" lang="en-US" sz="1800" b="1" i="0" u="none" strike="noStrike" cap="none" normalizeH="0" baseline="0" dirty="0">
                          <a:ln>
                            <a:noFill/>
                          </a:ln>
                          <a:solidFill>
                            <a:schemeClr val="tx1"/>
                          </a:solidFill>
                          <a:effectLst/>
                          <a:latin typeface="Times New Roman" pitchFamily="18" charset="0"/>
                          <a:ea typeface="ＭＳ Ｐゴシック" pitchFamily="34" charset="-128"/>
                          <a:cs typeface="Times New Roman" pitchFamily="18" charset="0"/>
                        </a:rPr>
                        <a:t>4. 	Training</a:t>
                      </a:r>
                      <a:r>
                        <a:rPr kumimoji="0" lang="en-US" sz="1800" b="0" i="0" u="none" strike="noStrike" cap="none" normalizeH="0" baseline="0" dirty="0">
                          <a:ln>
                            <a:noFill/>
                          </a:ln>
                          <a:solidFill>
                            <a:schemeClr val="tx1"/>
                          </a:solidFill>
                          <a:effectLst/>
                          <a:latin typeface="Times New Roman" pitchFamily="18" charset="0"/>
                          <a:ea typeface="ＭＳ Ｐゴシック" pitchFamily="34" charset="-128"/>
                          <a:cs typeface="Times New Roman" pitchFamily="18" charset="0"/>
                        </a:rPr>
                        <a:t> </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333333"/>
                    </a:solidFill>
                  </a:tcPr>
                </a:tc>
                <a:tc>
                  <a:txBody>
                    <a:bodyPr/>
                    <a:lstStyle/>
                    <a:p>
                      <a:pPr marL="0" marR="0" lvl="0" indent="0" algn="ctr" defTabSz="914400" rtl="0" eaLnBrk="1" fontAlgn="base" latinLnBrk="0" hangingPunct="1">
                        <a:lnSpc>
                          <a:spcPct val="100000"/>
                        </a:lnSpc>
                        <a:spcBef>
                          <a:spcPct val="30000"/>
                        </a:spcBef>
                        <a:spcAft>
                          <a:spcPct val="25000"/>
                        </a:spcAft>
                        <a:buClr>
                          <a:srgbClr val="192F5A"/>
                        </a:buClr>
                        <a:buSzTx/>
                        <a:buFont typeface="Times" pitchFamily="18" charset="0"/>
                        <a:buNone/>
                        <a:tabLst/>
                      </a:pPr>
                      <a:r>
                        <a:rPr kumimoji="0" lang="en-US" sz="3600" b="1" i="0" u="none" strike="noStrike" cap="none" normalizeH="0" baseline="0" dirty="0">
                          <a:ln>
                            <a:noFill/>
                          </a:ln>
                          <a:solidFill>
                            <a:schemeClr val="tx1"/>
                          </a:solidFill>
                          <a:effectLst/>
                          <a:latin typeface="Times New Roman" pitchFamily="18" charset="0"/>
                          <a:ea typeface="ＭＳ Ｐゴシック" pitchFamily="34" charset="-128"/>
                          <a:cs typeface="Times New Roman" pitchFamily="18" charset="0"/>
                        </a:rPr>
                        <a:t>√</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30000"/>
                        </a:spcBef>
                        <a:spcAft>
                          <a:spcPct val="25000"/>
                        </a:spcAft>
                        <a:buClr>
                          <a:srgbClr val="192F5A"/>
                        </a:buClr>
                        <a:buSzTx/>
                        <a:buFont typeface="Times" pitchFamily="18" charset="0"/>
                        <a:buNone/>
                        <a:tabLst/>
                      </a:pPr>
                      <a:r>
                        <a:rPr kumimoji="0" lang="en-US" sz="3600" b="1" i="0" u="none" strike="noStrike" cap="none" normalizeH="0" baseline="0" dirty="0">
                          <a:ln>
                            <a:noFill/>
                          </a:ln>
                          <a:solidFill>
                            <a:schemeClr val="tx1"/>
                          </a:solidFill>
                          <a:effectLst/>
                          <a:latin typeface="Times New Roman" pitchFamily="18" charset="0"/>
                          <a:ea typeface="ＭＳ Ｐゴシック" pitchFamily="34" charset="-128"/>
                          <a:cs typeface="Times New Roman" pitchFamily="18" charset="0"/>
                        </a:rPr>
                        <a:t>√</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30000"/>
                        </a:spcBef>
                        <a:spcAft>
                          <a:spcPct val="25000"/>
                        </a:spcAft>
                        <a:buClr>
                          <a:srgbClr val="192F5A"/>
                        </a:buClr>
                        <a:buSzTx/>
                        <a:buFont typeface="Times" pitchFamily="18" charset="0"/>
                        <a:buNone/>
                        <a:tabLst/>
                      </a:pPr>
                      <a:r>
                        <a:rPr kumimoji="0" lang="en-US" sz="3600" b="1" i="0" u="none" strike="noStrike" cap="none" normalizeH="0" baseline="0">
                          <a:ln>
                            <a:noFill/>
                          </a:ln>
                          <a:solidFill>
                            <a:schemeClr val="tx1"/>
                          </a:solidFill>
                          <a:effectLst/>
                          <a:latin typeface="Times New Roman" pitchFamily="18" charset="0"/>
                          <a:ea typeface="ＭＳ Ｐゴシック" pitchFamily="34" charset="-128"/>
                          <a:cs typeface="Times New Roman" pitchFamily="18" charset="0"/>
                        </a:rPr>
                        <a:t>√</a:t>
                      </a:r>
                      <a:endParaRPr kumimoji="0" lang="en-US" sz="3600" b="1" i="0" u="none" strike="noStrike" cap="none" normalizeH="0" baseline="0" dirty="0">
                        <a:ln>
                          <a:noFill/>
                        </a:ln>
                        <a:solidFill>
                          <a:schemeClr val="tx1"/>
                        </a:solidFill>
                        <a:effectLst/>
                        <a:latin typeface="Times New Roman" pitchFamily="18" charset="0"/>
                        <a:ea typeface="ＭＳ Ｐゴシック" pitchFamily="34" charset="-128"/>
                        <a:cs typeface="Times New Roman" pitchFamily="18"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30000"/>
                        </a:spcBef>
                        <a:spcAft>
                          <a:spcPct val="25000"/>
                        </a:spcAft>
                        <a:buClr>
                          <a:srgbClr val="192F5A"/>
                        </a:buClr>
                        <a:buSzTx/>
                        <a:buFont typeface="Times" pitchFamily="18" charset="0"/>
                        <a:buNone/>
                        <a:tabLst/>
                      </a:pPr>
                      <a:r>
                        <a:rPr kumimoji="0" lang="en-US" sz="3600" b="1" i="0" u="none" strike="noStrike" cap="none" normalizeH="0" baseline="0">
                          <a:ln>
                            <a:noFill/>
                          </a:ln>
                          <a:solidFill>
                            <a:schemeClr val="tx1"/>
                          </a:solidFill>
                          <a:effectLst/>
                          <a:latin typeface="Times New Roman" pitchFamily="18" charset="0"/>
                          <a:ea typeface="ＭＳ Ｐゴシック" pitchFamily="34" charset="-128"/>
                          <a:cs typeface="Times New Roman" pitchFamily="18" charset="0"/>
                        </a:rPr>
                        <a:t>√</a:t>
                      </a:r>
                      <a:endParaRPr kumimoji="0" lang="en-US" sz="3600" b="1" i="0" u="none" strike="noStrike" cap="none" normalizeH="0" baseline="0" dirty="0">
                        <a:ln>
                          <a:noFill/>
                        </a:ln>
                        <a:solidFill>
                          <a:schemeClr val="tx1"/>
                        </a:solidFill>
                        <a:effectLst/>
                        <a:latin typeface="Times New Roman" pitchFamily="18" charset="0"/>
                        <a:ea typeface="ＭＳ Ｐゴシック" pitchFamily="34" charset="-128"/>
                        <a:cs typeface="Times New Roman" pitchFamily="18"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907286">
                <a:tc>
                  <a:txBody>
                    <a:bodyPr/>
                    <a:lstStyle/>
                    <a:p>
                      <a:pPr marL="304800" marR="0" lvl="0" indent="-304800" algn="l" defTabSz="914400" rtl="0" eaLnBrk="1" fontAlgn="base" latinLnBrk="0" hangingPunct="1">
                        <a:lnSpc>
                          <a:spcPct val="100000"/>
                        </a:lnSpc>
                        <a:spcBef>
                          <a:spcPct val="30000"/>
                        </a:spcBef>
                        <a:spcAft>
                          <a:spcPct val="25000"/>
                        </a:spcAft>
                        <a:buClr>
                          <a:srgbClr val="192F5A"/>
                        </a:buClr>
                        <a:buSzTx/>
                        <a:buFont typeface="Times" pitchFamily="18" charset="0"/>
                        <a:buNone/>
                        <a:tabLst/>
                      </a:pPr>
                      <a:r>
                        <a:rPr kumimoji="0" lang="en-US" sz="1800" b="1" i="0" u="none" strike="noStrike" cap="none" normalizeH="0" baseline="0" dirty="0">
                          <a:ln>
                            <a:noFill/>
                          </a:ln>
                          <a:solidFill>
                            <a:schemeClr val="tx1"/>
                          </a:solidFill>
                          <a:effectLst/>
                          <a:latin typeface="Times New Roman" pitchFamily="18" charset="0"/>
                          <a:ea typeface="ＭＳ Ｐゴシック" pitchFamily="34" charset="-128"/>
                          <a:cs typeface="Times New Roman" pitchFamily="18" charset="0"/>
                        </a:rPr>
                        <a:t>5. 	Monitor, evaluate, reporting hotlin</a:t>
                      </a:r>
                      <a:r>
                        <a:rPr kumimoji="0" lang="en-US" sz="1800" b="0" i="0" u="none" strike="noStrike" cap="none" normalizeH="0" baseline="0" dirty="0">
                          <a:ln>
                            <a:noFill/>
                          </a:ln>
                          <a:solidFill>
                            <a:schemeClr val="tx1"/>
                          </a:solidFill>
                          <a:effectLst/>
                          <a:latin typeface="Times New Roman" pitchFamily="18" charset="0"/>
                          <a:ea typeface="ＭＳ Ｐゴシック" pitchFamily="34" charset="-128"/>
                          <a:cs typeface="Times New Roman" pitchFamily="18" charset="0"/>
                        </a:rPr>
                        <a:t>e</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333333"/>
                    </a:solidFill>
                  </a:tcPr>
                </a:tc>
                <a:tc>
                  <a:txBody>
                    <a:bodyPr/>
                    <a:lstStyle/>
                    <a:p>
                      <a:pPr marL="0" marR="0" lvl="0" indent="0" algn="ctr" defTabSz="914400" rtl="0" eaLnBrk="1" fontAlgn="base" latinLnBrk="0" hangingPunct="1">
                        <a:lnSpc>
                          <a:spcPct val="100000"/>
                        </a:lnSpc>
                        <a:spcBef>
                          <a:spcPct val="30000"/>
                        </a:spcBef>
                        <a:spcAft>
                          <a:spcPct val="25000"/>
                        </a:spcAft>
                        <a:buClr>
                          <a:srgbClr val="192F5A"/>
                        </a:buClr>
                        <a:buSzTx/>
                        <a:buFont typeface="Times" pitchFamily="18" charset="0"/>
                        <a:buNone/>
                        <a:tabLst/>
                      </a:pPr>
                      <a:r>
                        <a:rPr kumimoji="0" lang="en-US" sz="3600" b="1" i="0" u="none" strike="noStrike" cap="none" normalizeH="0" baseline="0" dirty="0">
                          <a:ln>
                            <a:noFill/>
                          </a:ln>
                          <a:solidFill>
                            <a:schemeClr val="tx1"/>
                          </a:solidFill>
                          <a:effectLst/>
                          <a:latin typeface="Times New Roman" pitchFamily="18" charset="0"/>
                          <a:ea typeface="ＭＳ Ｐゴシック" pitchFamily="34" charset="-128"/>
                          <a:cs typeface="Times New Roman" pitchFamily="18" charset="0"/>
                        </a:rPr>
                        <a:t>√</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30000"/>
                        </a:spcBef>
                        <a:spcAft>
                          <a:spcPct val="25000"/>
                        </a:spcAft>
                        <a:buClr>
                          <a:srgbClr val="192F5A"/>
                        </a:buClr>
                        <a:buSzTx/>
                        <a:buFont typeface="Times" pitchFamily="18" charset="0"/>
                        <a:buNone/>
                        <a:tabLst/>
                      </a:pPr>
                      <a:r>
                        <a:rPr kumimoji="0" lang="en-US" sz="3600" b="1" i="0" u="none" strike="noStrike" cap="none" normalizeH="0" baseline="0" dirty="0">
                          <a:ln>
                            <a:noFill/>
                          </a:ln>
                          <a:solidFill>
                            <a:schemeClr val="tx1"/>
                          </a:solidFill>
                          <a:effectLst/>
                          <a:latin typeface="Times New Roman" pitchFamily="18" charset="0"/>
                          <a:ea typeface="ＭＳ Ｐゴシック" pitchFamily="34" charset="-128"/>
                          <a:cs typeface="Times New Roman" pitchFamily="18" charset="0"/>
                        </a:rPr>
                        <a:t>√</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30000"/>
                        </a:spcBef>
                        <a:spcAft>
                          <a:spcPct val="25000"/>
                        </a:spcAft>
                        <a:buClr>
                          <a:srgbClr val="192F5A"/>
                        </a:buClr>
                        <a:buSzTx/>
                        <a:buFont typeface="Times" pitchFamily="18" charset="0"/>
                        <a:buNone/>
                        <a:tabLst/>
                      </a:pPr>
                      <a:r>
                        <a:rPr kumimoji="0" lang="en-US" sz="3600" b="1" i="0" u="none" strike="noStrike" cap="none" normalizeH="0" baseline="0" dirty="0">
                          <a:ln>
                            <a:noFill/>
                          </a:ln>
                          <a:solidFill>
                            <a:schemeClr val="tx1"/>
                          </a:solidFill>
                          <a:effectLst/>
                          <a:latin typeface="Times New Roman" pitchFamily="18" charset="0"/>
                          <a:ea typeface="ＭＳ Ｐゴシック" pitchFamily="34" charset="-128"/>
                          <a:cs typeface="Times New Roman" pitchFamily="18" charset="0"/>
                        </a:rPr>
                        <a:t>√</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30000"/>
                        </a:spcBef>
                        <a:spcAft>
                          <a:spcPct val="25000"/>
                        </a:spcAft>
                        <a:buClr>
                          <a:srgbClr val="192F5A"/>
                        </a:buClr>
                        <a:buSzTx/>
                        <a:buFont typeface="Times" pitchFamily="18" charset="0"/>
                        <a:buNone/>
                        <a:tabLst/>
                      </a:pPr>
                      <a:r>
                        <a:rPr kumimoji="0" lang="en-US" sz="3600" b="1" i="0" u="none" strike="noStrike" cap="none" normalizeH="0" baseline="0">
                          <a:ln>
                            <a:noFill/>
                          </a:ln>
                          <a:solidFill>
                            <a:schemeClr val="tx1"/>
                          </a:solidFill>
                          <a:effectLst/>
                          <a:latin typeface="Times New Roman" pitchFamily="18" charset="0"/>
                          <a:ea typeface="ＭＳ Ｐゴシック" pitchFamily="34" charset="-128"/>
                          <a:cs typeface="Times New Roman" pitchFamily="18" charset="0"/>
                        </a:rPr>
                        <a:t>√</a:t>
                      </a:r>
                      <a:endParaRPr kumimoji="0" lang="en-US" sz="3600" b="1" i="0" u="none" strike="noStrike" cap="none" normalizeH="0" baseline="0" dirty="0">
                        <a:ln>
                          <a:noFill/>
                        </a:ln>
                        <a:solidFill>
                          <a:schemeClr val="tx1"/>
                        </a:solidFill>
                        <a:effectLst/>
                        <a:latin typeface="Times New Roman" pitchFamily="18" charset="0"/>
                        <a:ea typeface="ＭＳ Ｐゴシック" pitchFamily="34" charset="-128"/>
                        <a:cs typeface="Times New Roman" pitchFamily="18"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r h="838499">
                <a:tc>
                  <a:txBody>
                    <a:bodyPr/>
                    <a:lstStyle/>
                    <a:p>
                      <a:pPr marL="304800" marR="0" lvl="0" indent="-304800" algn="l" defTabSz="914400" rtl="0" eaLnBrk="1" fontAlgn="base" latinLnBrk="0" hangingPunct="1">
                        <a:lnSpc>
                          <a:spcPct val="100000"/>
                        </a:lnSpc>
                        <a:spcBef>
                          <a:spcPct val="30000"/>
                        </a:spcBef>
                        <a:spcAft>
                          <a:spcPct val="25000"/>
                        </a:spcAft>
                        <a:buClr>
                          <a:srgbClr val="192F5A"/>
                        </a:buClr>
                        <a:buSzTx/>
                        <a:buFont typeface="Times" pitchFamily="18" charset="0"/>
                        <a:buNone/>
                        <a:tabLst/>
                      </a:pPr>
                      <a:r>
                        <a:rPr kumimoji="0" lang="en-US" sz="1800" b="1" i="0" u="none" strike="noStrike" cap="none" normalizeH="0" baseline="0" dirty="0">
                          <a:ln>
                            <a:noFill/>
                          </a:ln>
                          <a:solidFill>
                            <a:schemeClr val="tx1"/>
                          </a:solidFill>
                          <a:effectLst/>
                          <a:latin typeface="Times New Roman" pitchFamily="18" charset="0"/>
                          <a:ea typeface="ＭＳ Ｐゴシック" pitchFamily="34" charset="-128"/>
                          <a:cs typeface="Times New Roman" pitchFamily="18" charset="0"/>
                        </a:rPr>
                        <a:t>6. 	Incentives and discipline </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333333"/>
                    </a:solidFill>
                  </a:tcPr>
                </a:tc>
                <a:tc>
                  <a:txBody>
                    <a:bodyPr/>
                    <a:lstStyle/>
                    <a:p>
                      <a:pPr marL="0" marR="0" lvl="0" indent="0" algn="ctr" defTabSz="914400" rtl="0" eaLnBrk="1" fontAlgn="base" latinLnBrk="0" hangingPunct="1">
                        <a:lnSpc>
                          <a:spcPct val="100000"/>
                        </a:lnSpc>
                        <a:spcBef>
                          <a:spcPct val="30000"/>
                        </a:spcBef>
                        <a:spcAft>
                          <a:spcPct val="25000"/>
                        </a:spcAft>
                        <a:buClr>
                          <a:srgbClr val="192F5A"/>
                        </a:buClr>
                        <a:buSzTx/>
                        <a:buFont typeface="Times" pitchFamily="18" charset="0"/>
                        <a:buNone/>
                        <a:tabLst/>
                      </a:pPr>
                      <a:r>
                        <a:rPr kumimoji="0" lang="en-US" sz="3600" b="1" i="0" u="none" strike="noStrike" cap="none" normalizeH="0" baseline="0">
                          <a:ln>
                            <a:noFill/>
                          </a:ln>
                          <a:solidFill>
                            <a:schemeClr val="tx1"/>
                          </a:solidFill>
                          <a:effectLst/>
                          <a:latin typeface="Times New Roman" pitchFamily="18" charset="0"/>
                          <a:ea typeface="ＭＳ Ｐゴシック" pitchFamily="34" charset="-128"/>
                          <a:cs typeface="Times New Roman" pitchFamily="18" charset="0"/>
                        </a:rPr>
                        <a:t>√</a:t>
                      </a:r>
                      <a:endParaRPr kumimoji="0" lang="en-US" sz="3600" b="1" i="0" u="none" strike="noStrike" cap="none" normalizeH="0" baseline="0" dirty="0">
                        <a:ln>
                          <a:noFill/>
                        </a:ln>
                        <a:solidFill>
                          <a:schemeClr val="tx1"/>
                        </a:solidFill>
                        <a:effectLst/>
                        <a:latin typeface="Times New Roman" pitchFamily="18" charset="0"/>
                        <a:ea typeface="ＭＳ Ｐゴシック" pitchFamily="34" charset="-128"/>
                        <a:cs typeface="Times New Roman" pitchFamily="18"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30000"/>
                        </a:spcBef>
                        <a:spcAft>
                          <a:spcPct val="25000"/>
                        </a:spcAft>
                        <a:buClr>
                          <a:srgbClr val="192F5A"/>
                        </a:buClr>
                        <a:buSzTx/>
                        <a:buFont typeface="Times" pitchFamily="18" charset="0"/>
                        <a:buNone/>
                        <a:tabLst/>
                      </a:pPr>
                      <a:r>
                        <a:rPr kumimoji="0" lang="en-US" sz="3600" b="1" i="0" u="none" strike="noStrike" cap="none" normalizeH="0" baseline="0" dirty="0">
                          <a:ln>
                            <a:noFill/>
                          </a:ln>
                          <a:solidFill>
                            <a:schemeClr val="tx1"/>
                          </a:solidFill>
                          <a:effectLst/>
                          <a:latin typeface="Times New Roman" pitchFamily="18" charset="0"/>
                          <a:ea typeface="ＭＳ Ｐゴシック" pitchFamily="34" charset="-128"/>
                          <a:cs typeface="Times New Roman" pitchFamily="18" charset="0"/>
                        </a:rPr>
                        <a:t>√</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30000"/>
                        </a:spcBef>
                        <a:spcAft>
                          <a:spcPct val="25000"/>
                        </a:spcAft>
                        <a:buClr>
                          <a:srgbClr val="192F5A"/>
                        </a:buClr>
                        <a:buSzTx/>
                        <a:buFont typeface="Times" pitchFamily="18" charset="0"/>
                        <a:buNone/>
                        <a:tabLst/>
                      </a:pPr>
                      <a:r>
                        <a:rPr kumimoji="0" lang="en-US" sz="3600" b="1" i="0" u="none" strike="noStrike" cap="none" normalizeH="0" baseline="0" dirty="0">
                          <a:ln>
                            <a:noFill/>
                          </a:ln>
                          <a:solidFill>
                            <a:schemeClr val="tx1"/>
                          </a:solidFill>
                          <a:effectLst/>
                          <a:latin typeface="Times New Roman" pitchFamily="18" charset="0"/>
                          <a:ea typeface="ＭＳ Ｐゴシック" pitchFamily="34" charset="-128"/>
                          <a:cs typeface="Times New Roman" pitchFamily="18" charset="0"/>
                        </a:rPr>
                        <a:t>√</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30000"/>
                        </a:spcBef>
                        <a:spcAft>
                          <a:spcPct val="25000"/>
                        </a:spcAft>
                        <a:buClr>
                          <a:srgbClr val="192F5A"/>
                        </a:buClr>
                        <a:buSzTx/>
                        <a:buFont typeface="Times" pitchFamily="18" charset="0"/>
                        <a:buNone/>
                        <a:tabLst/>
                      </a:pPr>
                      <a:r>
                        <a:rPr kumimoji="0" lang="en-US" sz="3600" b="1" i="0" u="none" strike="noStrike" cap="none" normalizeH="0" baseline="0">
                          <a:ln>
                            <a:noFill/>
                          </a:ln>
                          <a:solidFill>
                            <a:schemeClr val="tx1"/>
                          </a:solidFill>
                          <a:effectLst/>
                          <a:latin typeface="Times New Roman" pitchFamily="18" charset="0"/>
                          <a:ea typeface="ＭＳ Ｐゴシック" pitchFamily="34" charset="-128"/>
                          <a:cs typeface="Times New Roman" pitchFamily="18" charset="0"/>
                        </a:rPr>
                        <a:t>√</a:t>
                      </a:r>
                      <a:endParaRPr kumimoji="0" lang="en-US" sz="3600" b="1" i="0" u="none" strike="noStrike" cap="none" normalizeH="0" baseline="0" dirty="0">
                        <a:ln>
                          <a:noFill/>
                        </a:ln>
                        <a:solidFill>
                          <a:schemeClr val="tx1"/>
                        </a:solidFill>
                        <a:effectLst/>
                        <a:latin typeface="Times New Roman" pitchFamily="18" charset="0"/>
                        <a:ea typeface="ＭＳ Ｐゴシック" pitchFamily="34" charset="-128"/>
                        <a:cs typeface="Times New Roman" pitchFamily="18"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6"/>
                  </a:ext>
                </a:extLst>
              </a:tr>
              <a:tr h="838499">
                <a:tc>
                  <a:txBody>
                    <a:bodyPr/>
                    <a:lstStyle/>
                    <a:p>
                      <a:pPr marL="304800" marR="0" lvl="0" indent="-304800" algn="l" defTabSz="914400" rtl="0" eaLnBrk="1" fontAlgn="base" latinLnBrk="0" hangingPunct="1">
                        <a:lnSpc>
                          <a:spcPct val="100000"/>
                        </a:lnSpc>
                        <a:spcBef>
                          <a:spcPct val="30000"/>
                        </a:spcBef>
                        <a:spcAft>
                          <a:spcPct val="25000"/>
                        </a:spcAft>
                        <a:buClr>
                          <a:srgbClr val="192F5A"/>
                        </a:buClr>
                        <a:buSzTx/>
                        <a:buFont typeface="Times" pitchFamily="18" charset="0"/>
                        <a:buNone/>
                        <a:tabLst/>
                      </a:pPr>
                      <a:r>
                        <a:rPr kumimoji="0" lang="en-US" sz="1800" b="1" i="0" u="none" strike="noStrike" cap="none" normalizeH="0" baseline="0" dirty="0">
                          <a:ln>
                            <a:noFill/>
                          </a:ln>
                          <a:solidFill>
                            <a:schemeClr val="tx1"/>
                          </a:solidFill>
                          <a:effectLst/>
                          <a:latin typeface="Times New Roman" pitchFamily="18" charset="0"/>
                          <a:ea typeface="ＭＳ Ｐゴシック" pitchFamily="34" charset="-128"/>
                          <a:cs typeface="Times New Roman" pitchFamily="18" charset="0"/>
                        </a:rPr>
                        <a:t>7. 	Adjust program to risk</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rgbClr val="333333"/>
                    </a:solidFill>
                  </a:tcPr>
                </a:tc>
                <a:tc>
                  <a:txBody>
                    <a:bodyPr/>
                    <a:lstStyle/>
                    <a:p>
                      <a:pPr marL="0" marR="0" lvl="0" indent="0" algn="ctr" defTabSz="914400" rtl="0" eaLnBrk="1" fontAlgn="base" latinLnBrk="0" hangingPunct="1">
                        <a:lnSpc>
                          <a:spcPct val="100000"/>
                        </a:lnSpc>
                        <a:spcBef>
                          <a:spcPct val="30000"/>
                        </a:spcBef>
                        <a:spcAft>
                          <a:spcPct val="25000"/>
                        </a:spcAft>
                        <a:buClr>
                          <a:srgbClr val="192F5A"/>
                        </a:buClr>
                        <a:buSzTx/>
                        <a:buFont typeface="Times" pitchFamily="18" charset="0"/>
                        <a:buNone/>
                        <a:tabLst/>
                      </a:pPr>
                      <a:r>
                        <a:rPr kumimoji="0" lang="en-US" sz="3600" b="1" i="0" u="none" strike="noStrike" cap="none" normalizeH="0" baseline="0">
                          <a:ln>
                            <a:noFill/>
                          </a:ln>
                          <a:solidFill>
                            <a:schemeClr val="tx1"/>
                          </a:solidFill>
                          <a:effectLst/>
                          <a:latin typeface="Times New Roman" pitchFamily="18" charset="0"/>
                          <a:ea typeface="ＭＳ Ｐゴシック" pitchFamily="34" charset="-128"/>
                          <a:cs typeface="Times New Roman" pitchFamily="18" charset="0"/>
                        </a:rPr>
                        <a:t>√</a:t>
                      </a:r>
                      <a:endParaRPr kumimoji="0" lang="en-US" sz="3600" b="1" i="0" u="none" strike="noStrike" cap="none" normalizeH="0" baseline="0" dirty="0">
                        <a:ln>
                          <a:noFill/>
                        </a:ln>
                        <a:solidFill>
                          <a:schemeClr val="tx1"/>
                        </a:solidFill>
                        <a:effectLst/>
                        <a:latin typeface="Times New Roman" pitchFamily="18" charset="0"/>
                        <a:ea typeface="ＭＳ Ｐゴシック" pitchFamily="34" charset="-128"/>
                        <a:cs typeface="Times New Roman" pitchFamily="18"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30000"/>
                        </a:spcBef>
                        <a:spcAft>
                          <a:spcPct val="25000"/>
                        </a:spcAft>
                        <a:buClr>
                          <a:srgbClr val="192F5A"/>
                        </a:buClr>
                        <a:buSzTx/>
                        <a:buFont typeface="Times" pitchFamily="18" charset="0"/>
                        <a:buNone/>
                        <a:tabLst/>
                      </a:pPr>
                      <a:r>
                        <a:rPr kumimoji="0" lang="en-US" sz="3600" b="1" i="0" u="none" strike="noStrike" cap="none" normalizeH="0" baseline="0" dirty="0">
                          <a:ln>
                            <a:noFill/>
                          </a:ln>
                          <a:solidFill>
                            <a:schemeClr val="tx1"/>
                          </a:solidFill>
                          <a:effectLst/>
                          <a:latin typeface="Times New Roman" pitchFamily="18" charset="0"/>
                          <a:ea typeface="ＭＳ Ｐゴシック" pitchFamily="34" charset="-128"/>
                          <a:cs typeface="Times New Roman" pitchFamily="18" charset="0"/>
                        </a:rPr>
                        <a:t>√</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30000"/>
                        </a:spcBef>
                        <a:spcAft>
                          <a:spcPct val="25000"/>
                        </a:spcAft>
                        <a:buClr>
                          <a:srgbClr val="192F5A"/>
                        </a:buClr>
                        <a:buSzTx/>
                        <a:buFont typeface="Times" pitchFamily="18" charset="0"/>
                        <a:buNone/>
                        <a:tabLst/>
                      </a:pPr>
                      <a:r>
                        <a:rPr kumimoji="0" lang="en-US" sz="3600" b="1" i="0" u="none" strike="noStrike" cap="none" normalizeH="0" baseline="0" dirty="0">
                          <a:ln>
                            <a:noFill/>
                          </a:ln>
                          <a:solidFill>
                            <a:schemeClr val="tx1"/>
                          </a:solidFill>
                          <a:effectLst/>
                          <a:latin typeface="Times New Roman" pitchFamily="18" charset="0"/>
                          <a:ea typeface="ＭＳ Ｐゴシック" pitchFamily="34" charset="-128"/>
                          <a:cs typeface="Times New Roman" pitchFamily="18" charset="0"/>
                        </a:rPr>
                        <a:t>√</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30000"/>
                        </a:spcBef>
                        <a:spcAft>
                          <a:spcPct val="25000"/>
                        </a:spcAft>
                        <a:buClr>
                          <a:srgbClr val="192F5A"/>
                        </a:buClr>
                        <a:buSzTx/>
                        <a:buFont typeface="Times" pitchFamily="18" charset="0"/>
                        <a:buNone/>
                        <a:tabLst/>
                      </a:pPr>
                      <a:r>
                        <a:rPr kumimoji="0" lang="en-US" sz="3600" b="1" i="0" u="none" strike="noStrike" cap="none" normalizeH="0" baseline="0" dirty="0">
                          <a:ln>
                            <a:noFill/>
                          </a:ln>
                          <a:solidFill>
                            <a:schemeClr val="tx1"/>
                          </a:solidFill>
                          <a:effectLst/>
                          <a:latin typeface="Times New Roman" pitchFamily="18" charset="0"/>
                          <a:ea typeface="ＭＳ Ｐゴシック" pitchFamily="34" charset="-128"/>
                          <a:cs typeface="Times New Roman" pitchFamily="18" charset="0"/>
                        </a:rPr>
                        <a:t>√</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7"/>
                  </a:ext>
                </a:extLst>
              </a:tr>
            </a:tbl>
          </a:graphicData>
        </a:graphic>
      </p:graphicFrame>
      <p:pic>
        <p:nvPicPr>
          <p:cNvPr id="24634" name="Picture 5">
            <a:extLst>
              <a:ext uri="{FF2B5EF4-FFF2-40B4-BE49-F238E27FC236}">
                <a16:creationId xmlns:a16="http://schemas.microsoft.com/office/drawing/2014/main" id="{11F199EF-5966-4F63-AE46-4A199B77007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572000" y="1"/>
            <a:ext cx="914400" cy="735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4635" name="Picture 8">
            <a:extLst>
              <a:ext uri="{FF2B5EF4-FFF2-40B4-BE49-F238E27FC236}">
                <a16:creationId xmlns:a16="http://schemas.microsoft.com/office/drawing/2014/main" id="{BC85C5DC-67C9-478B-8611-5500EB5B747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248400" y="125413"/>
            <a:ext cx="890588" cy="60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4636" name="Picture 8">
            <a:extLst>
              <a:ext uri="{FF2B5EF4-FFF2-40B4-BE49-F238E27FC236}">
                <a16:creationId xmlns:a16="http://schemas.microsoft.com/office/drawing/2014/main" id="{111E25CB-1F37-4905-8534-08F1F248B2D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438400" y="0"/>
            <a:ext cx="762000" cy="76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4637" name="Picture 2">
            <a:extLst>
              <a:ext uri="{FF2B5EF4-FFF2-40B4-BE49-F238E27FC236}">
                <a16:creationId xmlns:a16="http://schemas.microsoft.com/office/drawing/2014/main" id="{DA23B15D-6339-40BB-9074-C0FA62F5AC48}"/>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696201" y="52389"/>
            <a:ext cx="1069975" cy="714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4638" name="Picture 4">
            <a:extLst>
              <a:ext uri="{FF2B5EF4-FFF2-40B4-BE49-F238E27FC236}">
                <a16:creationId xmlns:a16="http://schemas.microsoft.com/office/drawing/2014/main" id="{A72F06BE-2B65-41D3-9719-E96E532CEE81}"/>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9372600" y="161926"/>
            <a:ext cx="914400" cy="525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F7E6F19-BA05-4890-BB8D-6DEEA4CE1DCE}"/>
              </a:ext>
            </a:extLst>
          </p:cNvPr>
          <p:cNvSpPr>
            <a:spLocks noGrp="1"/>
          </p:cNvSpPr>
          <p:nvPr>
            <p:ph type="title"/>
          </p:nvPr>
        </p:nvSpPr>
        <p:spPr>
          <a:xfrm>
            <a:off x="1981201" y="304800"/>
            <a:ext cx="5959475" cy="1143000"/>
          </a:xfrm>
        </p:spPr>
        <p:txBody>
          <a:bodyPr/>
          <a:lstStyle/>
          <a:p>
            <a:pPr>
              <a:defRPr/>
            </a:pPr>
            <a:r>
              <a:rPr lang="en-US" dirty="0"/>
              <a:t>Issues in Compliance</a:t>
            </a:r>
          </a:p>
        </p:txBody>
      </p:sp>
      <p:sp>
        <p:nvSpPr>
          <p:cNvPr id="92163" name="Content Placeholder 4">
            <a:extLst>
              <a:ext uri="{FF2B5EF4-FFF2-40B4-BE49-F238E27FC236}">
                <a16:creationId xmlns:a16="http://schemas.microsoft.com/office/drawing/2014/main" id="{A5865F52-3111-4B1F-A014-761B96822099}"/>
              </a:ext>
            </a:extLst>
          </p:cNvPr>
          <p:cNvSpPr>
            <a:spLocks noGrp="1"/>
          </p:cNvSpPr>
          <p:nvPr>
            <p:ph idx="1"/>
          </p:nvPr>
        </p:nvSpPr>
        <p:spPr>
          <a:xfrm>
            <a:off x="1981200" y="1295401"/>
            <a:ext cx="8229600" cy="4525963"/>
          </a:xfr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defRPr/>
            </a:pPr>
            <a:r>
              <a:rPr lang="en-US" altLang="en-US" dirty="0"/>
              <a:t>Gifts</a:t>
            </a:r>
          </a:p>
          <a:p>
            <a:pPr>
              <a:defRPr/>
            </a:pPr>
            <a:r>
              <a:rPr lang="en-US" altLang="en-US" dirty="0"/>
              <a:t>Revolving door</a:t>
            </a:r>
          </a:p>
          <a:p>
            <a:pPr>
              <a:defRPr/>
            </a:pPr>
            <a:r>
              <a:rPr lang="en-US" altLang="en-US" dirty="0"/>
              <a:t>Conflicts of interest (personal)</a:t>
            </a:r>
          </a:p>
          <a:p>
            <a:pPr>
              <a:defRPr/>
            </a:pPr>
            <a:r>
              <a:rPr lang="en-US" altLang="en-US" dirty="0"/>
              <a:t>Integrity of the procurement process</a:t>
            </a:r>
          </a:p>
          <a:p>
            <a:pPr lvl="1">
              <a:defRPr/>
            </a:pPr>
            <a:r>
              <a:rPr lang="en-US" altLang="en-US" dirty="0"/>
              <a:t>Bid &amp; proposal</a:t>
            </a:r>
          </a:p>
          <a:p>
            <a:pPr lvl="1">
              <a:defRPr/>
            </a:pPr>
            <a:r>
              <a:rPr lang="en-US" altLang="en-US" dirty="0"/>
              <a:t>Internal government procurement information</a:t>
            </a:r>
          </a:p>
          <a:p>
            <a:pPr>
              <a:defRPr/>
            </a:pPr>
            <a:r>
              <a:rPr lang="en-US" altLang="en-US" dirty="0"/>
              <a:t>Oversight by compliance officers</a:t>
            </a:r>
          </a:p>
        </p:txBody>
      </p:sp>
    </p:spTree>
    <p:extLst>
      <p:ext uri="{BB962C8B-B14F-4D97-AF65-F5344CB8AC3E}">
        <p14:creationId xmlns:p14="http://schemas.microsoft.com/office/powerpoint/2010/main" val="2269813885"/>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234" name="Rectangle 2">
            <a:extLst>
              <a:ext uri="{FF2B5EF4-FFF2-40B4-BE49-F238E27FC236}">
                <a16:creationId xmlns:a16="http://schemas.microsoft.com/office/drawing/2014/main" id="{6041AB73-A3C0-49B8-8C1C-AD379927E43C}"/>
              </a:ext>
            </a:extLst>
          </p:cNvPr>
          <p:cNvSpPr>
            <a:spLocks noGrp="1" noRot="1" noChangeArrowheads="1"/>
          </p:cNvSpPr>
          <p:nvPr>
            <p:ph type="title"/>
          </p:nvPr>
        </p:nvSpPr>
        <p:spPr>
          <a:xfrm>
            <a:off x="1905000" y="152400"/>
            <a:ext cx="8229600" cy="1143000"/>
          </a:xfr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t"/>
          <a:lstStyle/>
          <a:p>
            <a:pPr algn="l" eaLnBrk="1" hangingPunct="1">
              <a:defRPr/>
            </a:pPr>
            <a:r>
              <a:rPr lang="en-US" altLang="en-US" sz="2400" dirty="0"/>
              <a:t>Should Organizational Conflicts of Interest Be a Basis for Debarment?  Addressed in a Compliance System?</a:t>
            </a:r>
          </a:p>
        </p:txBody>
      </p:sp>
      <p:graphicFrame>
        <p:nvGraphicFramePr>
          <p:cNvPr id="8" name="Diagram 7">
            <a:extLst>
              <a:ext uri="{FF2B5EF4-FFF2-40B4-BE49-F238E27FC236}">
                <a16:creationId xmlns:a16="http://schemas.microsoft.com/office/drawing/2014/main" id="{8BC69C31-FCD5-4901-B54E-533E16BEAC64}"/>
              </a:ext>
            </a:extLst>
          </p:cNvPr>
          <p:cNvGraphicFramePr/>
          <p:nvPr/>
        </p:nvGraphicFramePr>
        <p:xfrm>
          <a:off x="2362200" y="990600"/>
          <a:ext cx="7848600" cy="49276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9700" name="TextBox 8">
            <a:extLst>
              <a:ext uri="{FF2B5EF4-FFF2-40B4-BE49-F238E27FC236}">
                <a16:creationId xmlns:a16="http://schemas.microsoft.com/office/drawing/2014/main" id="{53FEFD8B-8EEE-4408-8776-BC46CAE1B79C}"/>
              </a:ext>
            </a:extLst>
          </p:cNvPr>
          <p:cNvSpPr txBox="1">
            <a:spLocks noChangeArrowheads="1"/>
          </p:cNvSpPr>
          <p:nvPr/>
        </p:nvSpPr>
        <p:spPr bwMode="auto">
          <a:xfrm>
            <a:off x="1524000" y="5410200"/>
            <a:ext cx="3657600" cy="1200150"/>
          </a:xfrm>
          <a:prstGeom prst="rect">
            <a:avLst/>
          </a:prstGeom>
          <a:solidFill>
            <a:srgbClr val="FFFF00"/>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Clr>
                <a:schemeClr val="hlink"/>
              </a:buClr>
              <a:buSzPct val="70000"/>
              <a:buFont typeface="Wingdings" panose="05000000000000000000" pitchFamily="2" charset="2"/>
              <a:buChar char="n"/>
              <a:defRPr sz="3200">
                <a:solidFill>
                  <a:schemeClr val="tx1"/>
                </a:solidFill>
                <a:latin typeface="Garamond" panose="02020404030301010803" pitchFamily="18" charset="0"/>
              </a:defRPr>
            </a:lvl1pPr>
            <a:lvl2pPr marL="742950" indent="-285750" eaLnBrk="0" hangingPunct="0">
              <a:spcBef>
                <a:spcPct val="20000"/>
              </a:spcBef>
              <a:buClr>
                <a:schemeClr val="accent2"/>
              </a:buClr>
              <a:buSzPct val="70000"/>
              <a:buFont typeface="Wingdings" panose="05000000000000000000" pitchFamily="2" charset="2"/>
              <a:buChar char="n"/>
              <a:defRPr sz="2800">
                <a:solidFill>
                  <a:schemeClr val="tx1"/>
                </a:solidFill>
                <a:latin typeface="Garamond" panose="02020404030301010803" pitchFamily="18" charset="0"/>
              </a:defRPr>
            </a:lvl2pPr>
            <a:lvl3pPr marL="1143000" indent="-228600" eaLnBrk="0" hangingPunct="0">
              <a:spcBef>
                <a:spcPct val="20000"/>
              </a:spcBef>
              <a:buClr>
                <a:schemeClr val="tx2"/>
              </a:buClr>
              <a:buSzPct val="70000"/>
              <a:buFont typeface="Wingdings" panose="05000000000000000000" pitchFamily="2" charset="2"/>
              <a:buChar char="n"/>
              <a:defRPr sz="2400">
                <a:solidFill>
                  <a:schemeClr val="tx1"/>
                </a:solidFill>
                <a:latin typeface="Garamond" panose="02020404030301010803" pitchFamily="18" charset="0"/>
              </a:defRPr>
            </a:lvl3pPr>
            <a:lvl4pPr marL="1600200" indent="-228600" eaLnBrk="0" hangingPunct="0">
              <a:spcBef>
                <a:spcPct val="20000"/>
              </a:spcBef>
              <a:buClr>
                <a:schemeClr val="accent2"/>
              </a:buClr>
              <a:buSzPct val="70000"/>
              <a:buFont typeface="Wingdings" panose="05000000000000000000" pitchFamily="2" charset="2"/>
              <a:buChar char="n"/>
              <a:defRPr sz="2000">
                <a:solidFill>
                  <a:schemeClr val="tx1"/>
                </a:solidFill>
                <a:latin typeface="Garamond" panose="02020404030301010803" pitchFamily="18" charset="0"/>
              </a:defRPr>
            </a:lvl4pPr>
            <a:lvl5pPr marL="2057400" indent="-228600" eaLnBrk="0" hangingPunct="0">
              <a:spcBef>
                <a:spcPct val="20000"/>
              </a:spcBef>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5pPr>
            <a:lvl6pPr marL="25146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6pPr>
            <a:lvl7pPr marL="29718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7pPr>
            <a:lvl8pPr marL="34290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8pPr>
            <a:lvl9pPr marL="38862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9pPr>
          </a:lstStyle>
          <a:p>
            <a:pPr eaLnBrk="1" fontAlgn="base" hangingPunct="1">
              <a:spcBef>
                <a:spcPct val="0"/>
              </a:spcBef>
              <a:spcAft>
                <a:spcPct val="0"/>
              </a:spcAft>
              <a:buClrTx/>
              <a:buSzTx/>
              <a:buFont typeface="Arial" panose="020B0604020202020204" pitchFamily="34" charset="0"/>
              <a:buChar char="•"/>
            </a:pPr>
            <a:r>
              <a:rPr lang="en-US" altLang="en-US" sz="2400">
                <a:solidFill>
                  <a:srgbClr val="FFFFFF"/>
                </a:solidFill>
                <a:latin typeface="Arial" panose="020B0604020202020204" pitchFamily="34" charset="0"/>
                <a:cs typeface="Arial" panose="020B0604020202020204" pitchFamily="34" charset="0"/>
              </a:rPr>
              <a:t> </a:t>
            </a:r>
            <a:r>
              <a:rPr lang="en-US" altLang="en-US" sz="2400">
                <a:solidFill>
                  <a:srgbClr val="003399"/>
                </a:solidFill>
                <a:latin typeface="Arial" panose="020B0604020202020204" pitchFamily="34" charset="0"/>
                <a:cs typeface="Arial" panose="020B0604020202020204" pitchFamily="34" charset="0"/>
              </a:rPr>
              <a:t>Unfair competition</a:t>
            </a:r>
          </a:p>
          <a:p>
            <a:pPr eaLnBrk="1" fontAlgn="base" hangingPunct="1">
              <a:spcBef>
                <a:spcPct val="0"/>
              </a:spcBef>
              <a:spcAft>
                <a:spcPct val="0"/>
              </a:spcAft>
              <a:buClrTx/>
              <a:buSzTx/>
              <a:buFont typeface="Arial" panose="020B0604020202020204" pitchFamily="34" charset="0"/>
              <a:buChar char="•"/>
            </a:pPr>
            <a:r>
              <a:rPr lang="en-US" altLang="en-US" sz="2400">
                <a:solidFill>
                  <a:srgbClr val="003399"/>
                </a:solidFill>
                <a:latin typeface="Arial" panose="020B0604020202020204" pitchFamily="34" charset="0"/>
                <a:cs typeface="Arial" panose="020B0604020202020204" pitchFamily="34" charset="0"/>
              </a:rPr>
              <a:t> Biased specifications</a:t>
            </a:r>
          </a:p>
          <a:p>
            <a:pPr eaLnBrk="1" fontAlgn="base" hangingPunct="1">
              <a:spcBef>
                <a:spcPct val="0"/>
              </a:spcBef>
              <a:spcAft>
                <a:spcPct val="0"/>
              </a:spcAft>
              <a:buClrTx/>
              <a:buSzTx/>
              <a:buFont typeface="Arial" panose="020B0604020202020204" pitchFamily="34" charset="0"/>
              <a:buChar char="•"/>
            </a:pPr>
            <a:r>
              <a:rPr lang="en-US" altLang="en-US" sz="2400">
                <a:solidFill>
                  <a:srgbClr val="003399"/>
                </a:solidFill>
                <a:latin typeface="Arial" panose="020B0604020202020204" pitchFamily="34" charset="0"/>
                <a:cs typeface="Arial" panose="020B0604020202020204" pitchFamily="34" charset="0"/>
              </a:rPr>
              <a:t> Impaired objectivity</a:t>
            </a:r>
          </a:p>
        </p:txBody>
      </p:sp>
    </p:spTree>
    <p:extLst>
      <p:ext uri="{BB962C8B-B14F-4D97-AF65-F5344CB8AC3E}">
        <p14:creationId xmlns:p14="http://schemas.microsoft.com/office/powerpoint/2010/main" val="612232778"/>
      </p:ext>
    </p:extLst>
  </p:cSld>
  <p:clrMapOvr>
    <a:masterClrMapping/>
  </p:clrMapOvr>
  <p:transition>
    <p:random/>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B2BC11-73FF-4BDE-9DC9-D491A806C51D}"/>
              </a:ext>
            </a:extLst>
          </p:cNvPr>
          <p:cNvSpPr>
            <a:spLocks noGrp="1"/>
          </p:cNvSpPr>
          <p:nvPr>
            <p:ph type="title"/>
          </p:nvPr>
        </p:nvSpPr>
        <p:spPr/>
        <p:txBody>
          <a:bodyPr rtlCol="0">
            <a:normAutofit/>
          </a:bodyPr>
          <a:lstStyle/>
          <a:p>
            <a:pPr fontAlgn="auto">
              <a:spcAft>
                <a:spcPts val="0"/>
              </a:spcAft>
              <a:defRPr/>
            </a:pPr>
            <a:r>
              <a:rPr lang="en-US" dirty="0"/>
              <a:t>Suspension/Debarment/</a:t>
            </a:r>
            <a:br>
              <a:rPr lang="en-US" dirty="0"/>
            </a:br>
            <a:r>
              <a:rPr lang="en-US" dirty="0"/>
              <a:t>Exclusion</a:t>
            </a:r>
          </a:p>
        </p:txBody>
      </p:sp>
      <p:sp>
        <p:nvSpPr>
          <p:cNvPr id="5" name="Text Placeholder 4">
            <a:extLst>
              <a:ext uri="{FF2B5EF4-FFF2-40B4-BE49-F238E27FC236}">
                <a16:creationId xmlns:a16="http://schemas.microsoft.com/office/drawing/2014/main" id="{695E0C32-3715-484D-9A01-C62E22B1445F}"/>
              </a:ext>
            </a:extLst>
          </p:cNvPr>
          <p:cNvSpPr>
            <a:spLocks noGrp="1"/>
          </p:cNvSpPr>
          <p:nvPr>
            <p:ph type="body" idx="1"/>
          </p:nvPr>
        </p:nvSpPr>
        <p:spPr/>
        <p:txBody>
          <a:bodyPr rtlCol="0">
            <a:normAutofit/>
          </a:bodyPr>
          <a:lstStyle/>
          <a:p>
            <a:pPr fontAlgn="auto">
              <a:spcAft>
                <a:spcPts val="0"/>
              </a:spcAft>
              <a:defRPr/>
            </a:pPr>
            <a:endParaRPr lang="en-US"/>
          </a:p>
        </p:txBody>
      </p:sp>
      <p:sp>
        <p:nvSpPr>
          <p:cNvPr id="4" name="Footer Placeholder 3">
            <a:extLst>
              <a:ext uri="{FF2B5EF4-FFF2-40B4-BE49-F238E27FC236}">
                <a16:creationId xmlns:a16="http://schemas.microsoft.com/office/drawing/2014/main" id="{CFBEEF28-F612-4314-A840-1C9B22B9CE80}"/>
              </a:ext>
            </a:extLst>
          </p:cNvPr>
          <p:cNvSpPr>
            <a:spLocks noGrp="1"/>
          </p:cNvSpPr>
          <p:nvPr>
            <p:ph type="ftr" sz="quarter" idx="11"/>
          </p:nvPr>
        </p:nvSpPr>
        <p:spPr/>
        <p:txBody>
          <a:bodyPr/>
          <a:lstStyle/>
          <a:p>
            <a:pPr>
              <a:defRPr/>
            </a:pPr>
            <a:endParaRPr lang="en-US">
              <a:solidFill>
                <a:prstClr val="white">
                  <a:tint val="75000"/>
                </a:prstClr>
              </a:solidFill>
              <a:latin typeface="Calibri"/>
            </a:endParaRPr>
          </a:p>
        </p:txBody>
      </p:sp>
    </p:spTree>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D5CF01CB-DFAC-4F6F-8F31-2F285DB32E2A}"/>
              </a:ext>
            </a:extLst>
          </p:cNvPr>
          <p:cNvSpPr>
            <a:spLocks noGrp="1"/>
          </p:cNvSpPr>
          <p:nvPr>
            <p:ph type="title"/>
          </p:nvPr>
        </p:nvSpPr>
        <p:spPr/>
        <p:txBody>
          <a:bodyPr rtlCol="0">
            <a:normAutofit fontScale="90000"/>
          </a:bodyPr>
          <a:lstStyle/>
          <a:p>
            <a:pPr fontAlgn="auto">
              <a:spcAft>
                <a:spcPts val="0"/>
              </a:spcAft>
              <a:defRPr/>
            </a:pPr>
            <a:r>
              <a:rPr lang="en-US" dirty="0"/>
              <a:t>US – Mexico – Canada Agreement </a:t>
            </a:r>
            <a:br>
              <a:rPr lang="en-US" dirty="0"/>
            </a:br>
            <a:r>
              <a:rPr lang="en-US" dirty="0"/>
              <a:t>(USMCA)</a:t>
            </a:r>
          </a:p>
        </p:txBody>
      </p:sp>
      <p:sp>
        <p:nvSpPr>
          <p:cNvPr id="6" name="Content Placeholder 5">
            <a:extLst>
              <a:ext uri="{FF2B5EF4-FFF2-40B4-BE49-F238E27FC236}">
                <a16:creationId xmlns:a16="http://schemas.microsoft.com/office/drawing/2014/main" id="{BF6F66D2-44B2-41E5-8B9B-D5574289F93F}"/>
              </a:ext>
            </a:extLst>
          </p:cNvPr>
          <p:cNvSpPr>
            <a:spLocks noGrp="1"/>
          </p:cNvSpPr>
          <p:nvPr>
            <p:ph idx="1"/>
          </p:nvPr>
        </p:nvSpPr>
        <p:spPr/>
        <p:txBody>
          <a:bodyPr rtlCol="0">
            <a:normAutofit fontScale="92500" lnSpcReduction="10000"/>
          </a:bodyPr>
          <a:lstStyle/>
          <a:p>
            <a:pPr marL="0" indent="0" fontAlgn="auto">
              <a:spcAft>
                <a:spcPts val="0"/>
              </a:spcAft>
              <a:buNone/>
              <a:defRPr/>
            </a:pPr>
            <a:r>
              <a:rPr lang="en-US" dirty="0"/>
              <a:t>Article 13.17: Ensuring Integrity in Procurement Practices </a:t>
            </a:r>
          </a:p>
          <a:p>
            <a:pPr marL="514350" indent="-514350" fontAlgn="auto">
              <a:spcAft>
                <a:spcPts val="0"/>
              </a:spcAft>
              <a:buFont typeface="Arial" panose="020B0604020202020204" pitchFamily="34" charset="0"/>
              <a:buAutoNum type="arabicPeriod"/>
              <a:defRPr/>
            </a:pPr>
            <a:r>
              <a:rPr lang="en-US" dirty="0"/>
              <a:t>Each Party shall ensure that criminal, civil, or administrative measures exist that can address corruption, fraud, and other wrongful acts in its government procurement. </a:t>
            </a:r>
          </a:p>
          <a:p>
            <a:pPr marL="514350" indent="-514350" fontAlgn="auto">
              <a:spcAft>
                <a:spcPts val="0"/>
              </a:spcAft>
              <a:buFont typeface="Arial" panose="020B0604020202020204" pitchFamily="34" charset="0"/>
              <a:buAutoNum type="arabicPeriod"/>
              <a:defRPr/>
            </a:pPr>
            <a:r>
              <a:rPr lang="en-US" dirty="0"/>
              <a:t>These measures </a:t>
            </a:r>
            <a:r>
              <a:rPr lang="en-US" b="1" dirty="0">
                <a:solidFill>
                  <a:srgbClr val="FFFF00"/>
                </a:solidFill>
              </a:rPr>
              <a:t>may include procedures to debar, suspend, or declare ineligible from participation in the Party’s procurements</a:t>
            </a:r>
            <a:r>
              <a:rPr lang="en-US" dirty="0"/>
              <a:t>, for a stated period of time, a supplier that the Party has determined to have engaged in corruption, fraud, or other wrongful acts relevant to a supplier’s eligibility to participate in a Party’s government procurement . . .</a:t>
            </a:r>
          </a:p>
        </p:txBody>
      </p:sp>
      <p:sp>
        <p:nvSpPr>
          <p:cNvPr id="4" name="Footer Placeholder 3">
            <a:extLst>
              <a:ext uri="{FF2B5EF4-FFF2-40B4-BE49-F238E27FC236}">
                <a16:creationId xmlns:a16="http://schemas.microsoft.com/office/drawing/2014/main" id="{8EB5FD33-6E31-40FD-8AD2-9F0ACBA2044F}"/>
              </a:ext>
            </a:extLst>
          </p:cNvPr>
          <p:cNvSpPr>
            <a:spLocks noGrp="1"/>
          </p:cNvSpPr>
          <p:nvPr>
            <p:ph type="ftr" sz="quarter" idx="11"/>
          </p:nvPr>
        </p:nvSpPr>
        <p:spPr/>
        <p:txBody>
          <a:bodyPr/>
          <a:lstStyle/>
          <a:p>
            <a:pPr>
              <a:defRPr/>
            </a:pPr>
            <a:endParaRPr lang="en-US">
              <a:solidFill>
                <a:prstClr val="white">
                  <a:tint val="75000"/>
                </a:prstClr>
              </a:solidFill>
              <a:latin typeface="Calibri"/>
            </a:endParaRPr>
          </a:p>
        </p:txBody>
      </p:sp>
    </p:spTree>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Text Box 6">
            <a:extLst>
              <a:ext uri="{FF2B5EF4-FFF2-40B4-BE49-F238E27FC236}">
                <a16:creationId xmlns:a16="http://schemas.microsoft.com/office/drawing/2014/main" id="{E54730EA-D2C2-43AD-BC18-31F9B6CB35BE}"/>
              </a:ext>
            </a:extLst>
          </p:cNvPr>
          <p:cNvSpPr txBox="1">
            <a:spLocks noChangeArrowheads="1"/>
          </p:cNvSpPr>
          <p:nvPr/>
        </p:nvSpPr>
        <p:spPr bwMode="auto">
          <a:xfrm>
            <a:off x="3429000" y="1752600"/>
            <a:ext cx="7239000" cy="45720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algn="r" fontAlgn="base">
              <a:spcBef>
                <a:spcPct val="0"/>
              </a:spcBef>
              <a:spcAft>
                <a:spcPct val="0"/>
              </a:spcAft>
            </a:pPr>
            <a:r>
              <a:rPr lang="en-US" altLang="en-US" sz="3200" b="1">
                <a:solidFill>
                  <a:prstClr val="white"/>
                </a:solidFill>
                <a:cs typeface="Arial" panose="020B0604020202020204" pitchFamily="34" charset="0"/>
              </a:rPr>
              <a:t>FAR 9.402  Policy. </a:t>
            </a:r>
          </a:p>
          <a:p>
            <a:pPr algn="r" fontAlgn="base">
              <a:spcBef>
                <a:spcPct val="0"/>
              </a:spcBef>
              <a:spcAft>
                <a:spcPct val="0"/>
              </a:spcAft>
            </a:pPr>
            <a:r>
              <a:rPr lang="en-US" altLang="en-US" sz="3200">
                <a:solidFill>
                  <a:prstClr val="white"/>
                </a:solidFill>
                <a:cs typeface="Arial" panose="020B0604020202020204" pitchFamily="34" charset="0"/>
              </a:rPr>
              <a:t>(a) Agencies shall solicit offers from, award contracts to, and consent to subcontracts with </a:t>
            </a:r>
            <a:r>
              <a:rPr lang="en-US" altLang="en-US" sz="3200" b="1">
                <a:solidFill>
                  <a:srgbClr val="FFFF00"/>
                </a:solidFill>
                <a:cs typeface="Arial" panose="020B0604020202020204" pitchFamily="34" charset="0"/>
              </a:rPr>
              <a:t>responsible contractors only</a:t>
            </a:r>
            <a:r>
              <a:rPr lang="en-US" altLang="en-US" sz="3200">
                <a:solidFill>
                  <a:srgbClr val="FFFF00"/>
                </a:solidFill>
                <a:cs typeface="Arial" panose="020B0604020202020204" pitchFamily="34" charset="0"/>
              </a:rPr>
              <a:t>. </a:t>
            </a:r>
            <a:r>
              <a:rPr lang="en-US" altLang="en-US" sz="3200">
                <a:solidFill>
                  <a:prstClr val="white"/>
                </a:solidFill>
                <a:cs typeface="Arial" panose="020B0604020202020204" pitchFamily="34" charset="0"/>
              </a:rPr>
              <a:t>Debarment and suspension are discretionary actions that, taken in accordance with this subpart, are appropriate means to effectuate this policy. </a:t>
            </a:r>
          </a:p>
        </p:txBody>
      </p:sp>
      <p:sp>
        <p:nvSpPr>
          <p:cNvPr id="631810" name="Rectangle 2">
            <a:extLst>
              <a:ext uri="{FF2B5EF4-FFF2-40B4-BE49-F238E27FC236}">
                <a16:creationId xmlns:a16="http://schemas.microsoft.com/office/drawing/2014/main" id="{377A1C69-42A0-4667-A91A-63AB2C0C7D9C}"/>
              </a:ext>
            </a:extLst>
          </p:cNvPr>
          <p:cNvSpPr>
            <a:spLocks noGrp="1" noRot="1" noChangeArrowheads="1"/>
          </p:cNvSpPr>
          <p:nvPr>
            <p:ph type="title"/>
          </p:nvPr>
        </p:nvSpPr>
        <p:spPr>
          <a:xfrm>
            <a:off x="1524000" y="274638"/>
            <a:ext cx="9144000" cy="1143000"/>
          </a:xfrm>
        </p:spPr>
        <p:txBody>
          <a:bodyPr rtlCol="0">
            <a:normAutofit fontScale="90000"/>
          </a:bodyPr>
          <a:lstStyle/>
          <a:p>
            <a:pPr algn="l" fontAlgn="auto">
              <a:spcAft>
                <a:spcPts val="0"/>
              </a:spcAft>
              <a:defRPr/>
            </a:pPr>
            <a:r>
              <a:rPr lang="en-US" sz="3600" dirty="0"/>
              <a:t>United States:  </a:t>
            </a:r>
            <a:br>
              <a:rPr lang="en-US" sz="3600" dirty="0"/>
            </a:br>
            <a:r>
              <a:rPr lang="en-US" sz="3600" dirty="0"/>
              <a:t>Procurement Suspension or Debarment =</a:t>
            </a:r>
            <a:br>
              <a:rPr lang="en-US" sz="3600" dirty="0"/>
            </a:br>
            <a:r>
              <a:rPr lang="en-US" sz="3600" dirty="0"/>
              <a:t>“Meta”- Responsibility Determination</a:t>
            </a:r>
          </a:p>
        </p:txBody>
      </p:sp>
    </p:spTree>
  </p:cSld>
  <p:clrMapOvr>
    <a:masterClrMapping/>
  </p:clrMapOvr>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Down Arrow 16">
            <a:extLst>
              <a:ext uri="{FF2B5EF4-FFF2-40B4-BE49-F238E27FC236}">
                <a16:creationId xmlns:a16="http://schemas.microsoft.com/office/drawing/2014/main" id="{06B1733C-AD26-4668-B5CB-927A117ECCA2}"/>
              </a:ext>
            </a:extLst>
          </p:cNvPr>
          <p:cNvSpPr>
            <a:spLocks noChangeArrowheads="1"/>
          </p:cNvSpPr>
          <p:nvPr/>
        </p:nvSpPr>
        <p:spPr bwMode="auto">
          <a:xfrm rot="18652214">
            <a:off x="7280275" y="3789363"/>
            <a:ext cx="533400" cy="2165350"/>
          </a:xfrm>
          <a:prstGeom prst="downArrow">
            <a:avLst>
              <a:gd name="adj1" fmla="val 50000"/>
              <a:gd name="adj2" fmla="val 49992"/>
            </a:avLst>
          </a:prstGeom>
          <a:solidFill>
            <a:schemeClr val="accent1"/>
          </a:solidFill>
          <a:ln w="9525" algn="ctr">
            <a:solidFill>
              <a:schemeClr val="tx1"/>
            </a:solidFill>
            <a:round/>
            <a:headEnd/>
            <a:tailEnd/>
          </a:ln>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endParaRPr lang="en-US" altLang="en-US">
              <a:solidFill>
                <a:prstClr val="white"/>
              </a:solidFill>
              <a:cs typeface="Arial" panose="020B0604020202020204" pitchFamily="34" charset="0"/>
            </a:endParaRPr>
          </a:p>
        </p:txBody>
      </p:sp>
      <p:sp>
        <p:nvSpPr>
          <p:cNvPr id="28675" name="Down Arrow 13">
            <a:extLst>
              <a:ext uri="{FF2B5EF4-FFF2-40B4-BE49-F238E27FC236}">
                <a16:creationId xmlns:a16="http://schemas.microsoft.com/office/drawing/2014/main" id="{F0DB6F45-6295-4F7C-BF2A-F165DD303F12}"/>
              </a:ext>
            </a:extLst>
          </p:cNvPr>
          <p:cNvSpPr>
            <a:spLocks noChangeArrowheads="1"/>
          </p:cNvSpPr>
          <p:nvPr/>
        </p:nvSpPr>
        <p:spPr bwMode="auto">
          <a:xfrm>
            <a:off x="5867400" y="4876800"/>
            <a:ext cx="533400" cy="457200"/>
          </a:xfrm>
          <a:prstGeom prst="downArrow">
            <a:avLst>
              <a:gd name="adj1" fmla="val 50000"/>
              <a:gd name="adj2" fmla="val 50000"/>
            </a:avLst>
          </a:prstGeom>
          <a:solidFill>
            <a:schemeClr val="accent1"/>
          </a:solidFill>
          <a:ln w="9525" algn="ctr">
            <a:solidFill>
              <a:schemeClr val="tx1"/>
            </a:solidFill>
            <a:round/>
            <a:headEnd/>
            <a:tailEnd/>
          </a:ln>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endParaRPr lang="en-US" altLang="en-US">
              <a:solidFill>
                <a:prstClr val="white"/>
              </a:solidFill>
              <a:cs typeface="Arial" panose="020B0604020202020204" pitchFamily="34" charset="0"/>
            </a:endParaRPr>
          </a:p>
        </p:txBody>
      </p:sp>
      <p:sp>
        <p:nvSpPr>
          <p:cNvPr id="28676" name="Title 1">
            <a:extLst>
              <a:ext uri="{FF2B5EF4-FFF2-40B4-BE49-F238E27FC236}">
                <a16:creationId xmlns:a16="http://schemas.microsoft.com/office/drawing/2014/main" id="{326C0C74-FE4F-41CB-8CF4-1267A2A1B1C5}"/>
              </a:ext>
            </a:extLst>
          </p:cNvPr>
          <p:cNvSpPr>
            <a:spLocks noGrp="1"/>
          </p:cNvSpPr>
          <p:nvPr>
            <p:ph type="title"/>
          </p:nvPr>
        </p:nvSpPr>
        <p:spPr>
          <a:xfrm>
            <a:off x="1981200" y="-152400"/>
            <a:ext cx="8229600" cy="1143000"/>
          </a:xfrm>
        </p:spPr>
        <p:txBody>
          <a:bodyPr/>
          <a:lstStyle/>
          <a:p>
            <a:r>
              <a:rPr lang="en-US" altLang="en-US" sz="3600">
                <a:solidFill>
                  <a:srgbClr val="FFFF00"/>
                </a:solidFill>
              </a:rPr>
              <a:t>U.S. Federal Discretionary Debarment</a:t>
            </a:r>
          </a:p>
        </p:txBody>
      </p:sp>
      <p:graphicFrame>
        <p:nvGraphicFramePr>
          <p:cNvPr id="3" name="Diagram 2">
            <a:extLst>
              <a:ext uri="{FF2B5EF4-FFF2-40B4-BE49-F238E27FC236}">
                <a16:creationId xmlns:a16="http://schemas.microsoft.com/office/drawing/2014/main" id="{5831B927-F386-4367-878E-F31FB8A115F4}"/>
              </a:ext>
            </a:extLst>
          </p:cNvPr>
          <p:cNvGraphicFramePr/>
          <p:nvPr/>
        </p:nvGraphicFramePr>
        <p:xfrm>
          <a:off x="3048000" y="914400"/>
          <a:ext cx="6096000" cy="40640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cxnSp>
        <p:nvCxnSpPr>
          <p:cNvPr id="28678" name="Straight Arrow Connector 4">
            <a:extLst>
              <a:ext uri="{FF2B5EF4-FFF2-40B4-BE49-F238E27FC236}">
                <a16:creationId xmlns:a16="http://schemas.microsoft.com/office/drawing/2014/main" id="{267AE5ED-5B19-4C3E-8F41-4C8751C7A2B5}"/>
              </a:ext>
            </a:extLst>
          </p:cNvPr>
          <p:cNvCxnSpPr>
            <a:cxnSpLocks noChangeShapeType="1"/>
          </p:cNvCxnSpPr>
          <p:nvPr/>
        </p:nvCxnSpPr>
        <p:spPr bwMode="auto">
          <a:xfrm flipH="1">
            <a:off x="2819400" y="3429000"/>
            <a:ext cx="1219200" cy="381000"/>
          </a:xfrm>
          <a:prstGeom prst="straightConnector1">
            <a:avLst/>
          </a:prstGeom>
          <a:noFill/>
          <a:ln w="9525" algn="ctr">
            <a:solidFill>
              <a:schemeClr val="tx1"/>
            </a:solidFill>
            <a:round/>
            <a:headEnd/>
            <a:tailEnd type="arrow" w="med" len="med"/>
          </a:ln>
          <a:extLst>
            <a:ext uri="{909E8E84-426E-40DD-AFC4-6F175D3DCCD1}">
              <a14:hiddenFill xmlns:a14="http://schemas.microsoft.com/office/drawing/2010/main">
                <a:noFill/>
              </a14:hiddenFill>
            </a:ext>
          </a:extLst>
        </p:spPr>
      </p:cxnSp>
      <p:cxnSp>
        <p:nvCxnSpPr>
          <p:cNvPr id="28679" name="Straight Arrow Connector 5">
            <a:extLst>
              <a:ext uri="{FF2B5EF4-FFF2-40B4-BE49-F238E27FC236}">
                <a16:creationId xmlns:a16="http://schemas.microsoft.com/office/drawing/2014/main" id="{EB4E6058-81BC-4D8B-B810-1A7737B81DA8}"/>
              </a:ext>
            </a:extLst>
          </p:cNvPr>
          <p:cNvCxnSpPr>
            <a:cxnSpLocks noChangeShapeType="1"/>
          </p:cNvCxnSpPr>
          <p:nvPr/>
        </p:nvCxnSpPr>
        <p:spPr bwMode="auto">
          <a:xfrm>
            <a:off x="8077200" y="3352800"/>
            <a:ext cx="914400" cy="381000"/>
          </a:xfrm>
          <a:prstGeom prst="straightConnector1">
            <a:avLst/>
          </a:prstGeom>
          <a:noFill/>
          <a:ln w="9525" algn="ctr">
            <a:solidFill>
              <a:schemeClr val="tx1"/>
            </a:solidFill>
            <a:round/>
            <a:headEnd/>
            <a:tailEnd type="arrow" w="med" len="med"/>
          </a:ln>
          <a:extLst>
            <a:ext uri="{909E8E84-426E-40DD-AFC4-6F175D3DCCD1}">
              <a14:hiddenFill xmlns:a14="http://schemas.microsoft.com/office/drawing/2010/main">
                <a:noFill/>
              </a14:hiddenFill>
            </a:ext>
          </a:extLst>
        </p:spPr>
      </p:cxnSp>
      <p:sp>
        <p:nvSpPr>
          <p:cNvPr id="28680" name="Rounded Rectangle 6">
            <a:extLst>
              <a:ext uri="{FF2B5EF4-FFF2-40B4-BE49-F238E27FC236}">
                <a16:creationId xmlns:a16="http://schemas.microsoft.com/office/drawing/2014/main" id="{27F63892-3863-4669-893B-F58742AFA979}"/>
              </a:ext>
            </a:extLst>
          </p:cNvPr>
          <p:cNvSpPr>
            <a:spLocks noChangeArrowheads="1"/>
          </p:cNvSpPr>
          <p:nvPr/>
        </p:nvSpPr>
        <p:spPr bwMode="auto">
          <a:xfrm>
            <a:off x="1828800" y="3886200"/>
            <a:ext cx="1676400" cy="685800"/>
          </a:xfrm>
          <a:prstGeom prst="roundRect">
            <a:avLst>
              <a:gd name="adj" fmla="val 16667"/>
            </a:avLst>
          </a:prstGeom>
          <a:solidFill>
            <a:srgbClr val="FF0000"/>
          </a:solidFill>
          <a:ln w="9525" algn="ctr">
            <a:solidFill>
              <a:schemeClr val="tx1"/>
            </a:solidFill>
            <a:round/>
            <a:headEnd/>
            <a:tailEnd/>
          </a:ln>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algn="ctr" fontAlgn="base">
              <a:spcBef>
                <a:spcPct val="0"/>
              </a:spcBef>
              <a:spcAft>
                <a:spcPct val="0"/>
              </a:spcAft>
            </a:pPr>
            <a:r>
              <a:rPr lang="en-US" altLang="en-US">
                <a:solidFill>
                  <a:prstClr val="white"/>
                </a:solidFill>
                <a:cs typeface="Arial" panose="020B0604020202020204" pitchFamily="34" charset="0"/>
              </a:rPr>
              <a:t>Criminal or Civil Fraud</a:t>
            </a:r>
          </a:p>
        </p:txBody>
      </p:sp>
      <p:sp>
        <p:nvSpPr>
          <p:cNvPr id="8" name="Rounded Rectangle 7">
            <a:extLst>
              <a:ext uri="{FF2B5EF4-FFF2-40B4-BE49-F238E27FC236}">
                <a16:creationId xmlns:a16="http://schemas.microsoft.com/office/drawing/2014/main" id="{B1AB5926-0111-4FAE-98F5-DC365D521120}"/>
              </a:ext>
            </a:extLst>
          </p:cNvPr>
          <p:cNvSpPr/>
          <p:nvPr/>
        </p:nvSpPr>
        <p:spPr bwMode="auto">
          <a:xfrm>
            <a:off x="8610600" y="3810000"/>
            <a:ext cx="1676400" cy="990600"/>
          </a:xfrm>
          <a:prstGeom prst="roundRect">
            <a:avLst/>
          </a:prstGeom>
          <a:solidFill>
            <a:schemeClr val="bg2">
              <a:lumMod val="75000"/>
              <a:lumOff val="25000"/>
            </a:schemeClr>
          </a:solidFill>
          <a:ln w="9525" cap="flat" cmpd="sng" algn="ctr">
            <a:solidFill>
              <a:schemeClr val="tx1"/>
            </a:solidFill>
            <a:prstDash val="solid"/>
            <a:round/>
            <a:headEnd type="none" w="med" len="med"/>
            <a:tailEnd type="none" w="med" len="med"/>
          </a:ln>
          <a:effectLst/>
        </p:spPr>
        <p:txBody>
          <a:bodyPr/>
          <a:lstStyle/>
          <a:p>
            <a:pPr algn="ctr">
              <a:defRPr/>
            </a:pPr>
            <a:r>
              <a:rPr lang="en-US" dirty="0">
                <a:solidFill>
                  <a:prstClr val="white"/>
                </a:solidFill>
                <a:latin typeface="Calibri"/>
                <a:cs typeface="Arial" panose="020B0604020202020204" pitchFamily="34" charset="0"/>
              </a:rPr>
              <a:t>Adverse Past Performance Reports</a:t>
            </a:r>
          </a:p>
        </p:txBody>
      </p:sp>
      <p:sp>
        <p:nvSpPr>
          <p:cNvPr id="28682" name="Rounded Rectangle 12">
            <a:extLst>
              <a:ext uri="{FF2B5EF4-FFF2-40B4-BE49-F238E27FC236}">
                <a16:creationId xmlns:a16="http://schemas.microsoft.com/office/drawing/2014/main" id="{CFDD3232-F2EF-4E5E-A0B3-E3D54E4957AE}"/>
              </a:ext>
            </a:extLst>
          </p:cNvPr>
          <p:cNvSpPr>
            <a:spLocks noChangeArrowheads="1"/>
          </p:cNvSpPr>
          <p:nvPr/>
        </p:nvSpPr>
        <p:spPr bwMode="auto">
          <a:xfrm>
            <a:off x="4495800" y="5410200"/>
            <a:ext cx="3276600" cy="381000"/>
          </a:xfrm>
          <a:prstGeom prst="roundRect">
            <a:avLst>
              <a:gd name="adj" fmla="val 16667"/>
            </a:avLst>
          </a:prstGeom>
          <a:solidFill>
            <a:schemeClr val="accent1"/>
          </a:solidFill>
          <a:ln w="9525" algn="ctr">
            <a:solidFill>
              <a:schemeClr val="tx1"/>
            </a:solidFill>
            <a:round/>
            <a:headEnd/>
            <a:tailEnd/>
          </a:ln>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algn="ctr" fontAlgn="base">
              <a:spcBef>
                <a:spcPct val="0"/>
              </a:spcBef>
              <a:spcAft>
                <a:spcPct val="0"/>
              </a:spcAft>
            </a:pPr>
            <a:r>
              <a:rPr lang="en-US" altLang="en-US" b="1">
                <a:solidFill>
                  <a:prstClr val="white"/>
                </a:solidFill>
                <a:cs typeface="Arial" panose="020B0604020202020204" pitchFamily="34" charset="0"/>
              </a:rPr>
              <a:t>Suspension or Debarment</a:t>
            </a:r>
          </a:p>
        </p:txBody>
      </p:sp>
      <p:sp>
        <p:nvSpPr>
          <p:cNvPr id="28683" name="Down Arrow 11">
            <a:extLst>
              <a:ext uri="{FF2B5EF4-FFF2-40B4-BE49-F238E27FC236}">
                <a16:creationId xmlns:a16="http://schemas.microsoft.com/office/drawing/2014/main" id="{D52FD27D-FEA0-437D-91F5-F92D8E782538}"/>
              </a:ext>
            </a:extLst>
          </p:cNvPr>
          <p:cNvSpPr>
            <a:spLocks noChangeArrowheads="1"/>
          </p:cNvSpPr>
          <p:nvPr/>
        </p:nvSpPr>
        <p:spPr bwMode="auto">
          <a:xfrm>
            <a:off x="5867400" y="5791200"/>
            <a:ext cx="533400" cy="457200"/>
          </a:xfrm>
          <a:prstGeom prst="downArrow">
            <a:avLst>
              <a:gd name="adj1" fmla="val 50000"/>
              <a:gd name="adj2" fmla="val 50000"/>
            </a:avLst>
          </a:prstGeom>
          <a:solidFill>
            <a:schemeClr val="accent1"/>
          </a:solidFill>
          <a:ln w="9525" algn="ctr">
            <a:solidFill>
              <a:schemeClr val="tx1"/>
            </a:solidFill>
            <a:round/>
            <a:headEnd/>
            <a:tailEnd/>
          </a:ln>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endParaRPr lang="en-US" altLang="en-US">
              <a:solidFill>
                <a:prstClr val="white"/>
              </a:solidFill>
              <a:cs typeface="Arial" panose="020B0604020202020204" pitchFamily="34" charset="0"/>
            </a:endParaRPr>
          </a:p>
        </p:txBody>
      </p:sp>
      <p:sp>
        <p:nvSpPr>
          <p:cNvPr id="28684" name="TextBox 15">
            <a:extLst>
              <a:ext uri="{FF2B5EF4-FFF2-40B4-BE49-F238E27FC236}">
                <a16:creationId xmlns:a16="http://schemas.microsoft.com/office/drawing/2014/main" id="{3B4C0DF3-2E9C-44B9-9355-37994FD15DBD}"/>
              </a:ext>
            </a:extLst>
          </p:cNvPr>
          <p:cNvSpPr txBox="1">
            <a:spLocks noChangeArrowheads="1"/>
          </p:cNvSpPr>
          <p:nvPr/>
        </p:nvSpPr>
        <p:spPr bwMode="auto">
          <a:xfrm>
            <a:off x="1524000" y="6027738"/>
            <a:ext cx="2667000" cy="830262"/>
          </a:xfrm>
          <a:prstGeom prst="rect">
            <a:avLst/>
          </a:prstGeom>
          <a:solidFill>
            <a:srgbClr val="FFC000"/>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r>
              <a:rPr lang="en-US" altLang="en-US" sz="1600" b="1">
                <a:solidFill>
                  <a:prstClr val="black"/>
                </a:solidFill>
                <a:cs typeface="Arial" panose="020B0604020202020204" pitchFamily="34" charset="0"/>
              </a:rPr>
              <a:t>Other problems:</a:t>
            </a:r>
          </a:p>
          <a:p>
            <a:pPr fontAlgn="base">
              <a:spcBef>
                <a:spcPct val="0"/>
              </a:spcBef>
              <a:spcAft>
                <a:spcPct val="0"/>
              </a:spcAft>
              <a:buFont typeface="Arial" panose="020B0604020202020204" pitchFamily="34" charset="0"/>
              <a:buChar char="•"/>
            </a:pPr>
            <a:r>
              <a:rPr lang="en-US" altLang="en-US" sz="1600" b="1">
                <a:solidFill>
                  <a:prstClr val="black"/>
                </a:solidFill>
                <a:cs typeface="Arial" panose="020B0604020202020204" pitchFamily="34" charset="0"/>
              </a:rPr>
              <a:t>  No uniform procedures</a:t>
            </a:r>
          </a:p>
          <a:p>
            <a:pPr fontAlgn="base">
              <a:spcBef>
                <a:spcPct val="0"/>
              </a:spcBef>
              <a:spcAft>
                <a:spcPct val="0"/>
              </a:spcAft>
              <a:buFont typeface="Arial" panose="020B0604020202020204" pitchFamily="34" charset="0"/>
              <a:buChar char="•"/>
            </a:pPr>
            <a:r>
              <a:rPr lang="en-US" altLang="en-US" sz="1600" b="1">
                <a:solidFill>
                  <a:prstClr val="black"/>
                </a:solidFill>
                <a:cs typeface="Arial" panose="020B0604020202020204" pitchFamily="34" charset="0"/>
              </a:rPr>
              <a:t>  Huge disparity in actions</a:t>
            </a:r>
          </a:p>
        </p:txBody>
      </p:sp>
      <p:sp>
        <p:nvSpPr>
          <p:cNvPr id="28685" name="Rounded Rectangle 17">
            <a:extLst>
              <a:ext uri="{FF2B5EF4-FFF2-40B4-BE49-F238E27FC236}">
                <a16:creationId xmlns:a16="http://schemas.microsoft.com/office/drawing/2014/main" id="{4E665773-C95E-420B-AA7F-F0090D22400D}"/>
              </a:ext>
            </a:extLst>
          </p:cNvPr>
          <p:cNvSpPr>
            <a:spLocks noChangeArrowheads="1"/>
          </p:cNvSpPr>
          <p:nvPr/>
        </p:nvSpPr>
        <p:spPr bwMode="auto">
          <a:xfrm>
            <a:off x="8458200" y="5410200"/>
            <a:ext cx="1828800" cy="1066800"/>
          </a:xfrm>
          <a:prstGeom prst="roundRect">
            <a:avLst>
              <a:gd name="adj" fmla="val 16667"/>
            </a:avLst>
          </a:prstGeom>
          <a:solidFill>
            <a:schemeClr val="accent1"/>
          </a:solidFill>
          <a:ln w="9525" algn="ctr">
            <a:solidFill>
              <a:schemeClr val="tx1"/>
            </a:solidFill>
            <a:round/>
            <a:headEnd/>
            <a:tailEnd/>
          </a:ln>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algn="ctr" fontAlgn="base">
              <a:spcBef>
                <a:spcPct val="0"/>
              </a:spcBef>
              <a:spcAft>
                <a:spcPct val="0"/>
              </a:spcAft>
            </a:pPr>
            <a:r>
              <a:rPr lang="en-US" altLang="en-US" b="1">
                <a:solidFill>
                  <a:prstClr val="white"/>
                </a:solidFill>
                <a:cs typeface="Arial" panose="020B0604020202020204" pitchFamily="34" charset="0"/>
              </a:rPr>
              <a:t>Administrative Agreement / Compliance</a:t>
            </a:r>
          </a:p>
        </p:txBody>
      </p:sp>
      <p:pic>
        <p:nvPicPr>
          <p:cNvPr id="28686" name="Picture 4">
            <a:extLst>
              <a:ext uri="{FF2B5EF4-FFF2-40B4-BE49-F238E27FC236}">
                <a16:creationId xmlns:a16="http://schemas.microsoft.com/office/drawing/2014/main" id="{A9CAD03C-77D6-4541-84B4-8118DF95369A}"/>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638800" y="5862638"/>
            <a:ext cx="876300" cy="995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Title 1">
            <a:extLst>
              <a:ext uri="{FF2B5EF4-FFF2-40B4-BE49-F238E27FC236}">
                <a16:creationId xmlns:a16="http://schemas.microsoft.com/office/drawing/2014/main" id="{578CB53E-7360-4E14-A61E-BF685AECA33F}"/>
              </a:ext>
            </a:extLst>
          </p:cNvPr>
          <p:cNvSpPr>
            <a:spLocks noGrp="1"/>
          </p:cNvSpPr>
          <p:nvPr>
            <p:ph type="title"/>
          </p:nvPr>
        </p:nvSpPr>
        <p:spPr>
          <a:xfrm>
            <a:off x="1905000" y="0"/>
            <a:ext cx="8229600" cy="1143000"/>
          </a:xfrm>
        </p:spPr>
        <p:txBody>
          <a:bodyPr/>
          <a:lstStyle/>
          <a:p>
            <a:r>
              <a:rPr lang="en-US" altLang="en-US" sz="3200"/>
              <a:t>Comparing </a:t>
            </a:r>
            <a:r>
              <a:rPr lang="en-US" altLang="en-US" sz="3200">
                <a:solidFill>
                  <a:srgbClr val="FFFF00"/>
                </a:solidFill>
              </a:rPr>
              <a:t>Causes for Debarment/Exclusion</a:t>
            </a:r>
          </a:p>
        </p:txBody>
      </p:sp>
      <p:sp>
        <p:nvSpPr>
          <p:cNvPr id="29699" name="Text Placeholder 2">
            <a:extLst>
              <a:ext uri="{FF2B5EF4-FFF2-40B4-BE49-F238E27FC236}">
                <a16:creationId xmlns:a16="http://schemas.microsoft.com/office/drawing/2014/main" id="{555CC735-D11B-493B-92E3-759E7E857DBD}"/>
              </a:ext>
            </a:extLst>
          </p:cNvPr>
          <p:cNvSpPr>
            <a:spLocks noGrp="1"/>
          </p:cNvSpPr>
          <p:nvPr>
            <p:ph type="body" idx="1"/>
          </p:nvPr>
        </p:nvSpPr>
        <p:spPr>
          <a:xfrm>
            <a:off x="1905000" y="1066801"/>
            <a:ext cx="4040188" cy="639763"/>
          </a:xfrm>
        </p:spPr>
        <p:txBody>
          <a:bodyPr/>
          <a:lstStyle/>
          <a:p>
            <a:r>
              <a:rPr lang="en-US" altLang="en-US">
                <a:solidFill>
                  <a:srgbClr val="FFFF00"/>
                </a:solidFill>
              </a:rPr>
              <a:t>United States</a:t>
            </a:r>
          </a:p>
        </p:txBody>
      </p:sp>
      <p:sp>
        <p:nvSpPr>
          <p:cNvPr id="29700" name="Content Placeholder 3">
            <a:extLst>
              <a:ext uri="{FF2B5EF4-FFF2-40B4-BE49-F238E27FC236}">
                <a16:creationId xmlns:a16="http://schemas.microsoft.com/office/drawing/2014/main" id="{239F8E8C-941D-4E50-81A1-BC75487DF2D0}"/>
              </a:ext>
            </a:extLst>
          </p:cNvPr>
          <p:cNvSpPr>
            <a:spLocks noGrp="1"/>
          </p:cNvSpPr>
          <p:nvPr>
            <p:ph sz="half" idx="2"/>
          </p:nvPr>
        </p:nvSpPr>
        <p:spPr>
          <a:xfrm>
            <a:off x="1524000" y="1905001"/>
            <a:ext cx="2895600" cy="4683125"/>
          </a:xfrm>
          <a:solidFill>
            <a:srgbClr val="C00000"/>
          </a:solidFill>
        </p:spPr>
        <p:txBody>
          <a:bodyPr/>
          <a:lstStyle/>
          <a:p>
            <a:r>
              <a:rPr lang="en-US" altLang="en-US"/>
              <a:t>Conviction of a crime or civil fraud</a:t>
            </a:r>
          </a:p>
          <a:p>
            <a:r>
              <a:rPr lang="en-US" altLang="en-US"/>
              <a:t>Poor contract performance</a:t>
            </a:r>
          </a:p>
          <a:p>
            <a:r>
              <a:rPr lang="en-US" altLang="en-US"/>
              <a:t>Other serious misconduct showing the contractor is not responsible</a:t>
            </a:r>
          </a:p>
        </p:txBody>
      </p:sp>
      <p:sp>
        <p:nvSpPr>
          <p:cNvPr id="29701" name="Text Placeholder 4">
            <a:extLst>
              <a:ext uri="{FF2B5EF4-FFF2-40B4-BE49-F238E27FC236}">
                <a16:creationId xmlns:a16="http://schemas.microsoft.com/office/drawing/2014/main" id="{9DA429E4-C869-4F2D-A628-2CC25399F60D}"/>
              </a:ext>
            </a:extLst>
          </p:cNvPr>
          <p:cNvSpPr>
            <a:spLocks noGrp="1"/>
          </p:cNvSpPr>
          <p:nvPr>
            <p:ph type="body" sz="quarter" idx="3"/>
          </p:nvPr>
        </p:nvSpPr>
        <p:spPr>
          <a:xfrm>
            <a:off x="4572001" y="1066801"/>
            <a:ext cx="4041775" cy="639763"/>
          </a:xfrm>
        </p:spPr>
        <p:txBody>
          <a:bodyPr/>
          <a:lstStyle/>
          <a:p>
            <a:r>
              <a:rPr lang="en-US" altLang="en-US">
                <a:solidFill>
                  <a:srgbClr val="FFFF00"/>
                </a:solidFill>
              </a:rPr>
              <a:t>World Bank</a:t>
            </a:r>
          </a:p>
        </p:txBody>
      </p:sp>
      <p:sp>
        <p:nvSpPr>
          <p:cNvPr id="29702" name="Content Placeholder 5">
            <a:extLst>
              <a:ext uri="{FF2B5EF4-FFF2-40B4-BE49-F238E27FC236}">
                <a16:creationId xmlns:a16="http://schemas.microsoft.com/office/drawing/2014/main" id="{381EB7CB-4E27-4BD8-A5F0-08FE273E75E5}"/>
              </a:ext>
            </a:extLst>
          </p:cNvPr>
          <p:cNvSpPr>
            <a:spLocks noGrp="1"/>
          </p:cNvSpPr>
          <p:nvPr>
            <p:ph sz="quarter" idx="4"/>
          </p:nvPr>
        </p:nvSpPr>
        <p:spPr>
          <a:xfrm>
            <a:off x="4419600" y="1905000"/>
            <a:ext cx="3048000" cy="4648200"/>
          </a:xfrm>
          <a:solidFill>
            <a:srgbClr val="002060"/>
          </a:solidFill>
        </p:spPr>
        <p:txBody>
          <a:bodyPr/>
          <a:lstStyle/>
          <a:p>
            <a:r>
              <a:rPr lang="en-US" altLang="en-US"/>
              <a:t>Misconduct, as narrowly defined by Anti-Corruption, Guidelines, and Consultant and Procurement Guidelines: </a:t>
            </a:r>
            <a:r>
              <a:rPr lang="en-US" altLang="en-US" b="1"/>
              <a:t>fraud, corruption, collusion, coercion and obstruction</a:t>
            </a:r>
          </a:p>
        </p:txBody>
      </p:sp>
      <p:sp>
        <p:nvSpPr>
          <p:cNvPr id="7" name="Text Placeholder 4">
            <a:extLst>
              <a:ext uri="{FF2B5EF4-FFF2-40B4-BE49-F238E27FC236}">
                <a16:creationId xmlns:a16="http://schemas.microsoft.com/office/drawing/2014/main" id="{961D97F6-525C-4FC5-83E0-B4AD609BF061}"/>
              </a:ext>
            </a:extLst>
          </p:cNvPr>
          <p:cNvSpPr txBox="1">
            <a:spLocks/>
          </p:cNvSpPr>
          <p:nvPr/>
        </p:nvSpPr>
        <p:spPr bwMode="auto">
          <a:xfrm>
            <a:off x="7848601" y="1066801"/>
            <a:ext cx="4041775" cy="639763"/>
          </a:xfrm>
          <a:prstGeom prst="rect">
            <a:avLst/>
          </a:prstGeom>
          <a:noFill/>
          <a:ln w="9525">
            <a:noFill/>
            <a:miter lim="800000"/>
            <a:headEnd/>
            <a:tailEnd/>
          </a:ln>
          <a:effectLst/>
        </p:spPr>
        <p:txBody>
          <a:bodyPr anchor="b"/>
          <a:lstStyle/>
          <a:p>
            <a:pPr>
              <a:spcBef>
                <a:spcPct val="20000"/>
              </a:spcBef>
              <a:buClr>
                <a:srgbClr val="0000FF"/>
              </a:buClr>
              <a:buSzPct val="70000"/>
              <a:defRPr/>
            </a:pPr>
            <a:r>
              <a:rPr lang="en-US" sz="2400" b="1" kern="0" dirty="0">
                <a:solidFill>
                  <a:srgbClr val="FFFF00"/>
                </a:solidFill>
                <a:effectLst>
                  <a:outerShdw blurRad="38100" dist="38100" dir="2700000" algn="tl">
                    <a:srgbClr val="000000"/>
                  </a:outerShdw>
                </a:effectLst>
                <a:latin typeface="Calibri"/>
                <a:cs typeface="Arial" panose="020B0604020202020204" pitchFamily="34" charset="0"/>
              </a:rPr>
              <a:t>European Union</a:t>
            </a:r>
          </a:p>
        </p:txBody>
      </p:sp>
      <p:sp>
        <p:nvSpPr>
          <p:cNvPr id="8" name="Content Placeholder 5">
            <a:extLst>
              <a:ext uri="{FF2B5EF4-FFF2-40B4-BE49-F238E27FC236}">
                <a16:creationId xmlns:a16="http://schemas.microsoft.com/office/drawing/2014/main" id="{2C166F8D-7BF7-4C72-A074-524064FEA5EA}"/>
              </a:ext>
            </a:extLst>
          </p:cNvPr>
          <p:cNvSpPr txBox="1">
            <a:spLocks/>
          </p:cNvSpPr>
          <p:nvPr/>
        </p:nvSpPr>
        <p:spPr bwMode="auto">
          <a:xfrm>
            <a:off x="7772400" y="2209800"/>
            <a:ext cx="2895600" cy="3951288"/>
          </a:xfrm>
          <a:prstGeom prst="rect">
            <a:avLst/>
          </a:prstGeom>
          <a:noFill/>
          <a:ln w="9525">
            <a:noFill/>
            <a:miter lim="800000"/>
            <a:headEnd/>
            <a:tailEnd/>
          </a:ln>
          <a:effectLst/>
        </p:spPr>
        <p:txBody>
          <a:bodyPr/>
          <a:lstStyle/>
          <a:p>
            <a:pPr marL="342900" indent="-342900">
              <a:spcBef>
                <a:spcPct val="20000"/>
              </a:spcBef>
              <a:buClr>
                <a:srgbClr val="0000FF"/>
              </a:buClr>
              <a:buSzPct val="70000"/>
              <a:buFont typeface="Wingdings" pitchFamily="2" charset="2"/>
              <a:buChar char="n"/>
              <a:defRPr/>
            </a:pPr>
            <a:endParaRPr lang="en-US" sz="2400" kern="0" dirty="0">
              <a:solidFill>
                <a:prstClr val="white"/>
              </a:solidFill>
              <a:effectLst>
                <a:outerShdw blurRad="38100" dist="38100" dir="2700000" algn="tl">
                  <a:srgbClr val="000000"/>
                </a:outerShdw>
              </a:effectLst>
              <a:latin typeface="Calibri"/>
              <a:cs typeface="Arial" panose="020B0604020202020204" pitchFamily="34" charset="0"/>
            </a:endParaRPr>
          </a:p>
        </p:txBody>
      </p:sp>
      <p:sp>
        <p:nvSpPr>
          <p:cNvPr id="9" name="Content Placeholder 5">
            <a:extLst>
              <a:ext uri="{FF2B5EF4-FFF2-40B4-BE49-F238E27FC236}">
                <a16:creationId xmlns:a16="http://schemas.microsoft.com/office/drawing/2014/main" id="{9F6DA24F-B628-4139-8CD1-46441BBE3E82}"/>
              </a:ext>
            </a:extLst>
          </p:cNvPr>
          <p:cNvSpPr txBox="1">
            <a:spLocks/>
          </p:cNvSpPr>
          <p:nvPr/>
        </p:nvSpPr>
        <p:spPr bwMode="auto">
          <a:xfrm>
            <a:off x="7467600" y="1905000"/>
            <a:ext cx="3200400" cy="4648200"/>
          </a:xfrm>
          <a:prstGeom prst="rect">
            <a:avLst/>
          </a:prstGeom>
          <a:solidFill>
            <a:srgbClr val="000000"/>
          </a:solidFill>
          <a:ln w="9525">
            <a:noFill/>
            <a:miter lim="800000"/>
            <a:headEnd/>
            <a:tailEnd/>
          </a:ln>
          <a:effectLst/>
        </p:spPr>
        <p:txBody>
          <a:bodyPr/>
          <a:lstStyle/>
          <a:p>
            <a:pPr marL="342900" indent="-342900">
              <a:spcBef>
                <a:spcPct val="20000"/>
              </a:spcBef>
              <a:buClr>
                <a:srgbClr val="0000FF"/>
              </a:buClr>
              <a:buSzPct val="70000"/>
              <a:defRPr/>
            </a:pPr>
            <a:r>
              <a:rPr lang="en-US" sz="2400" b="1" kern="0" dirty="0">
                <a:solidFill>
                  <a:srgbClr val="FFFF00"/>
                </a:solidFill>
                <a:effectLst>
                  <a:outerShdw blurRad="38100" dist="38100" dir="2700000" algn="tl">
                    <a:srgbClr val="000000"/>
                  </a:outerShdw>
                </a:effectLst>
                <a:latin typeface="Calibri"/>
                <a:cs typeface="Arial" panose="020B0604020202020204" pitchFamily="34" charset="0"/>
              </a:rPr>
              <a:t>Mandatory</a:t>
            </a:r>
            <a:r>
              <a:rPr lang="en-US" sz="2400" kern="0" dirty="0">
                <a:solidFill>
                  <a:srgbClr val="FFC000"/>
                </a:solidFill>
                <a:effectLst>
                  <a:outerShdw blurRad="38100" dist="38100" dir="2700000" algn="tl">
                    <a:srgbClr val="000000"/>
                  </a:outerShdw>
                </a:effectLst>
                <a:latin typeface="Calibri"/>
                <a:cs typeface="Arial" panose="020B0604020202020204" pitchFamily="34" charset="0"/>
              </a:rPr>
              <a:t>:  </a:t>
            </a:r>
          </a:p>
          <a:p>
            <a:pPr marL="342900" indent="-342900">
              <a:spcBef>
                <a:spcPct val="20000"/>
              </a:spcBef>
              <a:buClr>
                <a:srgbClr val="0000FF"/>
              </a:buClr>
              <a:buSzPct val="70000"/>
              <a:defRPr/>
            </a:pPr>
            <a:r>
              <a:rPr lang="en-US" sz="2400" kern="0" dirty="0">
                <a:solidFill>
                  <a:srgbClr val="FFC000"/>
                </a:solidFill>
                <a:effectLst>
                  <a:outerShdw blurRad="38100" dist="38100" dir="2700000" algn="tl">
                    <a:srgbClr val="000000"/>
                  </a:outerShdw>
                </a:effectLst>
                <a:latin typeface="Calibri"/>
                <a:cs typeface="Arial" panose="020B0604020202020204" pitchFamily="34" charset="0"/>
              </a:rPr>
              <a:t>	</a:t>
            </a:r>
            <a:r>
              <a:rPr lang="en-US" sz="2400" kern="0" dirty="0" err="1">
                <a:solidFill>
                  <a:prstClr val="white"/>
                </a:solidFill>
                <a:effectLst>
                  <a:outerShdw blurRad="38100" dist="38100" dir="2700000" algn="tl">
                    <a:srgbClr val="000000"/>
                  </a:outerShdw>
                </a:effectLst>
                <a:latin typeface="Calibri"/>
                <a:cs typeface="Arial" panose="020B0604020202020204" pitchFamily="34" charset="0"/>
              </a:rPr>
              <a:t>Corruption</a:t>
            </a:r>
            <a:r>
              <a:rPr lang="en-US" sz="2400" kern="0" dirty="0">
                <a:solidFill>
                  <a:prstClr val="white"/>
                </a:solidFill>
                <a:effectLst>
                  <a:outerShdw blurRad="38100" dist="38100" dir="2700000" algn="tl">
                    <a:srgbClr val="000000"/>
                  </a:outerShdw>
                </a:effectLst>
                <a:latin typeface="Calibri"/>
                <a:cs typeface="Arial" panose="020B0604020202020204" pitchFamily="34" charset="0"/>
              </a:rPr>
              <a:t>, fraud, money laundering</a:t>
            </a:r>
          </a:p>
          <a:p>
            <a:pPr marL="342900" indent="-342900">
              <a:spcBef>
                <a:spcPct val="20000"/>
              </a:spcBef>
              <a:buClr>
                <a:srgbClr val="0000FF"/>
              </a:buClr>
              <a:buSzPct val="70000"/>
              <a:defRPr/>
            </a:pPr>
            <a:r>
              <a:rPr lang="en-US" sz="2400" b="1" kern="0" dirty="0">
                <a:solidFill>
                  <a:srgbClr val="FFFF00"/>
                </a:solidFill>
                <a:effectLst>
                  <a:outerShdw blurRad="38100" dist="38100" dir="2700000" algn="tl">
                    <a:srgbClr val="000000"/>
                  </a:outerShdw>
                </a:effectLst>
                <a:latin typeface="Calibri"/>
                <a:cs typeface="Arial" panose="020B0604020202020204" pitchFamily="34" charset="0"/>
              </a:rPr>
              <a:t>Non-Mandatory: </a:t>
            </a:r>
          </a:p>
          <a:p>
            <a:pPr marL="342900" indent="-342900">
              <a:spcBef>
                <a:spcPct val="20000"/>
              </a:spcBef>
              <a:buClr>
                <a:srgbClr val="0000FF"/>
              </a:buClr>
              <a:buSzPct val="70000"/>
              <a:buFont typeface="Wingdings" pitchFamily="2" charset="2"/>
              <a:buChar char="n"/>
              <a:defRPr/>
            </a:pPr>
            <a:r>
              <a:rPr lang="en-US" sz="2400" kern="0" dirty="0">
                <a:solidFill>
                  <a:prstClr val="white"/>
                </a:solidFill>
                <a:effectLst>
                  <a:outerShdw blurRad="38100" dist="38100" dir="2700000" algn="tl">
                    <a:srgbClr val="000000"/>
                  </a:outerShdw>
                </a:effectLst>
                <a:latin typeface="Calibri"/>
                <a:cs typeface="Arial" panose="020B0604020202020204" pitchFamily="34" charset="0"/>
              </a:rPr>
              <a:t>Bankruptcy</a:t>
            </a:r>
          </a:p>
          <a:p>
            <a:pPr marL="342900" indent="-342900">
              <a:spcBef>
                <a:spcPct val="20000"/>
              </a:spcBef>
              <a:buClr>
                <a:srgbClr val="0000FF"/>
              </a:buClr>
              <a:buSzPct val="70000"/>
              <a:buFont typeface="Wingdings" pitchFamily="2" charset="2"/>
              <a:buChar char="n"/>
              <a:defRPr/>
            </a:pPr>
            <a:r>
              <a:rPr lang="en-US" sz="2400" kern="0" dirty="0">
                <a:solidFill>
                  <a:prstClr val="white"/>
                </a:solidFill>
                <a:effectLst>
                  <a:outerShdw blurRad="38100" dist="38100" dir="2700000" algn="tl">
                    <a:srgbClr val="000000"/>
                  </a:outerShdw>
                </a:effectLst>
                <a:latin typeface="Calibri"/>
                <a:cs typeface="Arial" panose="020B0604020202020204" pitchFamily="34" charset="0"/>
              </a:rPr>
              <a:t>Convicted re: professional conduct</a:t>
            </a:r>
          </a:p>
          <a:p>
            <a:pPr marL="342900" indent="-342900">
              <a:spcBef>
                <a:spcPct val="20000"/>
              </a:spcBef>
              <a:buClr>
                <a:srgbClr val="0000FF"/>
              </a:buClr>
              <a:buSzPct val="70000"/>
              <a:buFont typeface="Wingdings" pitchFamily="2" charset="2"/>
              <a:buChar char="n"/>
              <a:defRPr/>
            </a:pPr>
            <a:r>
              <a:rPr lang="en-US" sz="2400" kern="0" dirty="0">
                <a:solidFill>
                  <a:prstClr val="white"/>
                </a:solidFill>
                <a:effectLst>
                  <a:outerShdw blurRad="38100" dist="38100" dir="2700000" algn="tl">
                    <a:srgbClr val="000000"/>
                  </a:outerShdw>
                </a:effectLst>
                <a:latin typeface="Calibri"/>
                <a:cs typeface="Arial" panose="020B0604020202020204" pitchFamily="34" charset="0"/>
              </a:rPr>
              <a:t>Grave professional misconduct</a:t>
            </a:r>
          </a:p>
          <a:p>
            <a:pPr marL="342900" indent="-342900">
              <a:spcBef>
                <a:spcPct val="20000"/>
              </a:spcBef>
              <a:buClr>
                <a:srgbClr val="0000FF"/>
              </a:buClr>
              <a:buSzPct val="70000"/>
              <a:buFont typeface="Wingdings" pitchFamily="2" charset="2"/>
              <a:buChar char="n"/>
              <a:defRPr/>
            </a:pPr>
            <a:r>
              <a:rPr lang="en-US" sz="2400" kern="0" dirty="0">
                <a:solidFill>
                  <a:prstClr val="white"/>
                </a:solidFill>
                <a:effectLst>
                  <a:outerShdw blurRad="38100" dist="38100" dir="2700000" algn="tl">
                    <a:srgbClr val="000000"/>
                  </a:outerShdw>
                </a:effectLst>
                <a:latin typeface="Calibri"/>
                <a:cs typeface="Arial" panose="020B0604020202020204" pitchFamily="34" charset="0"/>
              </a:rPr>
              <a:t>Social security / taxes</a:t>
            </a:r>
          </a:p>
        </p:txBody>
      </p:sp>
      <p:pic>
        <p:nvPicPr>
          <p:cNvPr id="29706" name="Picture 7">
            <a:hlinkClick r:id="rId3"/>
            <a:extLst>
              <a:ext uri="{FF2B5EF4-FFF2-40B4-BE49-F238E27FC236}">
                <a16:creationId xmlns:a16="http://schemas.microsoft.com/office/drawing/2014/main" id="{71B1F799-C074-4829-AF0C-27CFDC8D9A5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553200" y="6081714"/>
            <a:ext cx="762000" cy="776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9707" name="Picture 2">
            <a:extLst>
              <a:ext uri="{FF2B5EF4-FFF2-40B4-BE49-F238E27FC236}">
                <a16:creationId xmlns:a16="http://schemas.microsoft.com/office/drawing/2014/main" id="{9AE104B0-B46E-4995-8BE2-003014535C2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637714" y="6172200"/>
            <a:ext cx="1030287" cy="685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9709" name="Picture 8">
            <a:extLst>
              <a:ext uri="{FF2B5EF4-FFF2-40B4-BE49-F238E27FC236}">
                <a16:creationId xmlns:a16="http://schemas.microsoft.com/office/drawing/2014/main" id="{E977BE2E-03E5-4454-BF75-72F8AC1F5CC5}"/>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200401" y="6172200"/>
            <a:ext cx="1052513" cy="685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AEED02E-5541-4A00-A9D9-B4DD274C2E5D}"/>
              </a:ext>
            </a:extLst>
          </p:cNvPr>
          <p:cNvSpPr/>
          <p:nvPr/>
        </p:nvSpPr>
        <p:spPr>
          <a:xfrm>
            <a:off x="2133600" y="3551238"/>
            <a:ext cx="8229600" cy="1554162"/>
          </a:xfrm>
          <a:prstGeom prst="rect">
            <a:avLst/>
          </a:prstGeom>
          <a:ln w="12700"/>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prstClr val="white"/>
              </a:solidFill>
              <a:latin typeface="Franklin Gothic Book"/>
            </a:endParaRPr>
          </a:p>
        </p:txBody>
      </p:sp>
      <p:sp>
        <p:nvSpPr>
          <p:cNvPr id="30723" name="Rectangle 2">
            <a:extLst>
              <a:ext uri="{FF2B5EF4-FFF2-40B4-BE49-F238E27FC236}">
                <a16:creationId xmlns:a16="http://schemas.microsoft.com/office/drawing/2014/main" id="{8FDFE35A-ADD6-4ACD-9A7B-2D373400294A}"/>
              </a:ext>
            </a:extLst>
          </p:cNvPr>
          <p:cNvSpPr>
            <a:spLocks noGrp="1" noChangeArrowheads="1"/>
          </p:cNvSpPr>
          <p:nvPr>
            <p:ph type="title"/>
          </p:nvPr>
        </p:nvSpPr>
        <p:spPr>
          <a:xfrm>
            <a:off x="1981200" y="-228600"/>
            <a:ext cx="8229600" cy="990600"/>
          </a:xfrm>
        </p:spPr>
        <p:txBody>
          <a:bodyPr/>
          <a:lstStyle/>
          <a:p>
            <a:r>
              <a:rPr lang="en-US" altLang="en-US"/>
              <a:t>World Bank Sanctions System</a:t>
            </a:r>
          </a:p>
        </p:txBody>
      </p:sp>
      <p:sp>
        <p:nvSpPr>
          <p:cNvPr id="14340" name="Slide Number Placeholder 12">
            <a:extLst>
              <a:ext uri="{FF2B5EF4-FFF2-40B4-BE49-F238E27FC236}">
                <a16:creationId xmlns:a16="http://schemas.microsoft.com/office/drawing/2014/main" id="{39E92E36-7CD6-4A70-82E9-26397DD72EC5}"/>
              </a:ext>
            </a:extLst>
          </p:cNvPr>
          <p:cNvSpPr>
            <a:spLocks noGrp="1"/>
          </p:cNvSpPr>
          <p:nvPr>
            <p:ph type="sldNum" sz="quarter" idx="12"/>
          </p:nvPr>
        </p:nvSpPr>
        <p:spPr>
          <a:xfrm>
            <a:off x="4648200" y="6248400"/>
            <a:ext cx="2895600" cy="476250"/>
          </a:xfrm>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algn="ctr" fontAlgn="base">
              <a:spcBef>
                <a:spcPct val="0"/>
              </a:spcBef>
              <a:spcAft>
                <a:spcPct val="0"/>
              </a:spcAft>
            </a:pPr>
            <a:fld id="{8092A0E8-0843-4C81-9267-696B56407318}" type="slidenum">
              <a:rPr lang="en-US" altLang="en-US" b="1" i="1">
                <a:solidFill>
                  <a:srgbClr val="FFFFFF"/>
                </a:solidFill>
                <a:latin typeface="Arial" panose="020B0604020202020204" pitchFamily="34" charset="0"/>
                <a:ea typeface="Verdana" panose="020B0604030504040204" pitchFamily="34" charset="0"/>
                <a:cs typeface="Verdana" panose="020B0604030504040204" pitchFamily="34" charset="0"/>
              </a:rPr>
              <a:pPr algn="ctr" fontAlgn="base">
                <a:spcBef>
                  <a:spcPct val="0"/>
                </a:spcBef>
                <a:spcAft>
                  <a:spcPct val="0"/>
                </a:spcAft>
              </a:pPr>
              <a:t>59</a:t>
            </a:fld>
            <a:endParaRPr lang="en-US" altLang="en-US" b="1" i="1">
              <a:solidFill>
                <a:srgbClr val="FFFFFF"/>
              </a:solidFill>
              <a:latin typeface="Arial" panose="020B0604020202020204" pitchFamily="34" charset="0"/>
              <a:ea typeface="Verdana" panose="020B0604030504040204" pitchFamily="34" charset="0"/>
              <a:cs typeface="Verdana" panose="020B0604030504040204" pitchFamily="34" charset="0"/>
            </a:endParaRPr>
          </a:p>
        </p:txBody>
      </p:sp>
      <p:sp>
        <p:nvSpPr>
          <p:cNvPr id="30725" name="Text Box 9">
            <a:extLst>
              <a:ext uri="{FF2B5EF4-FFF2-40B4-BE49-F238E27FC236}">
                <a16:creationId xmlns:a16="http://schemas.microsoft.com/office/drawing/2014/main" id="{2AF00D0E-168B-4E3C-B46C-9635E4687FD0}"/>
              </a:ext>
            </a:extLst>
          </p:cNvPr>
          <p:cNvSpPr txBox="1">
            <a:spLocks noChangeArrowheads="1"/>
          </p:cNvSpPr>
          <p:nvPr/>
        </p:nvSpPr>
        <p:spPr bwMode="auto">
          <a:xfrm>
            <a:off x="5410200" y="5410200"/>
            <a:ext cx="4343400" cy="1246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buFont typeface="Wingdings" panose="05000000000000000000" pitchFamily="2" charset="2"/>
              <a:buChar char="§"/>
            </a:pPr>
            <a:r>
              <a:rPr lang="en-US" altLang="en-US" sz="1500">
                <a:solidFill>
                  <a:prstClr val="white"/>
                </a:solidFill>
                <a:latin typeface="Franklin Gothic Book" panose="020B0503020102020204" pitchFamily="34" charset="0"/>
                <a:cs typeface="Arial" panose="020B0604020202020204" pitchFamily="34" charset="0"/>
              </a:rPr>
              <a:t>Investigates allegations of fraud, corruption, collusion, coercion and obstruction</a:t>
            </a:r>
          </a:p>
          <a:p>
            <a:pPr fontAlgn="base">
              <a:spcBef>
                <a:spcPct val="0"/>
              </a:spcBef>
              <a:spcAft>
                <a:spcPct val="0"/>
              </a:spcAft>
              <a:buFont typeface="Wingdings" panose="05000000000000000000" pitchFamily="2" charset="2"/>
              <a:buChar char="§"/>
            </a:pPr>
            <a:r>
              <a:rPr lang="en-US" altLang="en-US" sz="1500">
                <a:solidFill>
                  <a:prstClr val="white"/>
                </a:solidFill>
                <a:latin typeface="Franklin Gothic Book" panose="020B0503020102020204" pitchFamily="34" charset="0"/>
                <a:cs typeface="Arial" panose="020B0604020202020204" pitchFamily="34" charset="0"/>
              </a:rPr>
              <a:t> Prepares and submits a Statement of Accusations and Evidence (SAE) to the Office of Suspension and Debarment</a:t>
            </a:r>
          </a:p>
        </p:txBody>
      </p:sp>
      <p:sp>
        <p:nvSpPr>
          <p:cNvPr id="30726" name="Text Box 12">
            <a:extLst>
              <a:ext uri="{FF2B5EF4-FFF2-40B4-BE49-F238E27FC236}">
                <a16:creationId xmlns:a16="http://schemas.microsoft.com/office/drawing/2014/main" id="{37996241-7001-4014-A81C-B7772E6CF1F6}"/>
              </a:ext>
            </a:extLst>
          </p:cNvPr>
          <p:cNvSpPr txBox="1">
            <a:spLocks noChangeArrowheads="1"/>
          </p:cNvSpPr>
          <p:nvPr/>
        </p:nvSpPr>
        <p:spPr bwMode="auto">
          <a:xfrm>
            <a:off x="5791200" y="3627438"/>
            <a:ext cx="4876800" cy="14773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buFont typeface="Wingdings" panose="05000000000000000000" pitchFamily="2" charset="2"/>
              <a:buChar char="§"/>
            </a:pPr>
            <a:r>
              <a:rPr lang="en-US" altLang="en-US" sz="1500">
                <a:solidFill>
                  <a:srgbClr val="FFFFFF"/>
                </a:solidFill>
                <a:latin typeface="Franklin Gothic Book" panose="020B0503020102020204" pitchFamily="34" charset="0"/>
                <a:cs typeface="Arial" panose="020B0604020202020204" pitchFamily="34" charset="0"/>
              </a:rPr>
              <a:t> Evaluates evidence presented by INT</a:t>
            </a:r>
          </a:p>
          <a:p>
            <a:pPr fontAlgn="base">
              <a:spcBef>
                <a:spcPct val="0"/>
              </a:spcBef>
              <a:spcAft>
                <a:spcPct val="0"/>
              </a:spcAft>
              <a:buFont typeface="Wingdings" panose="05000000000000000000" pitchFamily="2" charset="2"/>
              <a:buChar char="§"/>
            </a:pPr>
            <a:r>
              <a:rPr lang="en-US" altLang="en-US" sz="1500">
                <a:solidFill>
                  <a:srgbClr val="FFFFFF"/>
                </a:solidFill>
                <a:latin typeface="Franklin Gothic Book" panose="020B0503020102020204" pitchFamily="34" charset="0"/>
                <a:cs typeface="Arial" panose="020B0604020202020204" pitchFamily="34" charset="0"/>
              </a:rPr>
              <a:t> Issues Notice of Sanctions Proceedings to respondent</a:t>
            </a:r>
          </a:p>
          <a:p>
            <a:pPr fontAlgn="base">
              <a:spcBef>
                <a:spcPct val="0"/>
              </a:spcBef>
              <a:spcAft>
                <a:spcPct val="0"/>
              </a:spcAft>
              <a:buFont typeface="Wingdings" panose="05000000000000000000" pitchFamily="2" charset="2"/>
              <a:buChar char="§"/>
            </a:pPr>
            <a:r>
              <a:rPr lang="en-US" altLang="en-US" sz="1500">
                <a:solidFill>
                  <a:srgbClr val="FFFFFF"/>
                </a:solidFill>
                <a:latin typeface="Franklin Gothic Book" panose="020B0503020102020204" pitchFamily="34" charset="0"/>
                <a:cs typeface="Arial" panose="020B0604020202020204" pitchFamily="34" charset="0"/>
              </a:rPr>
              <a:t> Temporarily suspends respondent</a:t>
            </a:r>
          </a:p>
          <a:p>
            <a:pPr fontAlgn="base">
              <a:spcBef>
                <a:spcPct val="0"/>
              </a:spcBef>
              <a:spcAft>
                <a:spcPct val="0"/>
              </a:spcAft>
              <a:buFont typeface="Wingdings" panose="05000000000000000000" pitchFamily="2" charset="2"/>
              <a:buChar char="§"/>
            </a:pPr>
            <a:r>
              <a:rPr lang="en-US" altLang="en-US" sz="1500">
                <a:solidFill>
                  <a:srgbClr val="FFFFFF"/>
                </a:solidFill>
                <a:latin typeface="Franklin Gothic Book" panose="020B0503020102020204" pitchFamily="34" charset="0"/>
                <a:cs typeface="Arial" panose="020B0604020202020204" pitchFamily="34" charset="0"/>
              </a:rPr>
              <a:t> Recommends a sanction (becomes effective if respondent does not contest)</a:t>
            </a:r>
          </a:p>
          <a:p>
            <a:pPr fontAlgn="base">
              <a:spcBef>
                <a:spcPct val="0"/>
              </a:spcBef>
              <a:spcAft>
                <a:spcPct val="0"/>
              </a:spcAft>
              <a:buFont typeface="Wingdings" panose="05000000000000000000" pitchFamily="2" charset="2"/>
              <a:buChar char="§"/>
            </a:pPr>
            <a:r>
              <a:rPr lang="en-US" altLang="en-US" sz="1500" b="1">
                <a:solidFill>
                  <a:srgbClr val="FFFFFF"/>
                </a:solidFill>
                <a:latin typeface="Franklin Gothic Book" panose="020B0503020102020204" pitchFamily="34" charset="0"/>
                <a:cs typeface="Arial" panose="020B0604020202020204" pitchFamily="34" charset="0"/>
              </a:rPr>
              <a:t> 61% of cases resolved at this level</a:t>
            </a:r>
          </a:p>
        </p:txBody>
      </p:sp>
      <p:sp>
        <p:nvSpPr>
          <p:cNvPr id="30727" name="Rectangle 16">
            <a:extLst>
              <a:ext uri="{FF2B5EF4-FFF2-40B4-BE49-F238E27FC236}">
                <a16:creationId xmlns:a16="http://schemas.microsoft.com/office/drawing/2014/main" id="{0FFC3DB5-16EC-4E05-AED1-AC77D4C4DF55}"/>
              </a:ext>
            </a:extLst>
          </p:cNvPr>
          <p:cNvSpPr>
            <a:spLocks noChangeArrowheads="1"/>
          </p:cNvSpPr>
          <p:nvPr/>
        </p:nvSpPr>
        <p:spPr bwMode="auto">
          <a:xfrm>
            <a:off x="5791200" y="1908175"/>
            <a:ext cx="4953000" cy="1708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buFont typeface="Wingdings" panose="05000000000000000000" pitchFamily="2" charset="2"/>
              <a:buChar char="§"/>
            </a:pPr>
            <a:r>
              <a:rPr lang="en-US" altLang="en-US" sz="1500">
                <a:solidFill>
                  <a:prstClr val="white"/>
                </a:solidFill>
                <a:latin typeface="Franklin Gothic Book" panose="020B0503020102020204" pitchFamily="34" charset="0"/>
                <a:cs typeface="Arial" panose="020B0604020202020204" pitchFamily="34" charset="0"/>
              </a:rPr>
              <a:t> Comprised of 4 external members and 3 Bank staff </a:t>
            </a:r>
          </a:p>
          <a:p>
            <a:pPr fontAlgn="base">
              <a:spcBef>
                <a:spcPct val="0"/>
              </a:spcBef>
              <a:spcAft>
                <a:spcPct val="0"/>
              </a:spcAft>
              <a:buFont typeface="Wingdings" panose="05000000000000000000" pitchFamily="2" charset="2"/>
              <a:buChar char="§"/>
            </a:pPr>
            <a:r>
              <a:rPr lang="en-US" altLang="en-US" sz="1500">
                <a:solidFill>
                  <a:prstClr val="white"/>
                </a:solidFill>
                <a:latin typeface="Franklin Gothic Book" panose="020B0503020102020204" pitchFamily="34" charset="0"/>
                <a:cs typeface="Arial" panose="020B0604020202020204" pitchFamily="34" charset="0"/>
              </a:rPr>
              <a:t> Reviews case ‘de novo’</a:t>
            </a:r>
          </a:p>
          <a:p>
            <a:pPr fontAlgn="base">
              <a:spcBef>
                <a:spcPct val="0"/>
              </a:spcBef>
              <a:spcAft>
                <a:spcPct val="0"/>
              </a:spcAft>
              <a:buFont typeface="Wingdings" panose="05000000000000000000" pitchFamily="2" charset="2"/>
              <a:buChar char="§"/>
            </a:pPr>
            <a:r>
              <a:rPr lang="en-US" altLang="en-US" sz="1500">
                <a:solidFill>
                  <a:prstClr val="white"/>
                </a:solidFill>
                <a:latin typeface="Franklin Gothic Book" panose="020B0503020102020204" pitchFamily="34" charset="0"/>
                <a:cs typeface="Arial" panose="020B0604020202020204" pitchFamily="34" charset="0"/>
              </a:rPr>
              <a:t> May hold a hearing with parties and witnesses</a:t>
            </a:r>
          </a:p>
          <a:p>
            <a:pPr fontAlgn="base">
              <a:spcBef>
                <a:spcPct val="0"/>
              </a:spcBef>
              <a:spcAft>
                <a:spcPct val="0"/>
              </a:spcAft>
              <a:buFont typeface="Wingdings" panose="05000000000000000000" pitchFamily="2" charset="2"/>
              <a:buChar char="§"/>
            </a:pPr>
            <a:r>
              <a:rPr lang="en-US" altLang="en-US" sz="1500">
                <a:solidFill>
                  <a:prstClr val="white"/>
                </a:solidFill>
                <a:latin typeface="Franklin Gothic Book" panose="020B0503020102020204" pitchFamily="34" charset="0"/>
                <a:cs typeface="Arial" panose="020B0604020202020204" pitchFamily="34" charset="0"/>
              </a:rPr>
              <a:t> Imposes sanctions (not bound by SDO’s recommendation)</a:t>
            </a:r>
          </a:p>
          <a:p>
            <a:pPr fontAlgn="base">
              <a:spcBef>
                <a:spcPct val="0"/>
              </a:spcBef>
              <a:spcAft>
                <a:spcPct val="0"/>
              </a:spcAft>
              <a:buFont typeface="Wingdings" panose="05000000000000000000" pitchFamily="2" charset="2"/>
              <a:buChar char="§"/>
            </a:pPr>
            <a:r>
              <a:rPr lang="en-US" altLang="en-US" sz="1500">
                <a:solidFill>
                  <a:prstClr val="white"/>
                </a:solidFill>
                <a:latin typeface="Franklin Gothic Book" panose="020B0503020102020204" pitchFamily="34" charset="0"/>
                <a:cs typeface="Arial" panose="020B0604020202020204" pitchFamily="34" charset="0"/>
              </a:rPr>
              <a:t> Decisions are final and not appealable</a:t>
            </a:r>
          </a:p>
          <a:p>
            <a:pPr fontAlgn="base">
              <a:spcBef>
                <a:spcPct val="0"/>
              </a:spcBef>
              <a:spcAft>
                <a:spcPct val="0"/>
              </a:spcAft>
              <a:buFont typeface="Wingdings" panose="05000000000000000000" pitchFamily="2" charset="2"/>
              <a:buChar char="§"/>
            </a:pPr>
            <a:r>
              <a:rPr lang="en-US" altLang="en-US" sz="1500" b="1">
                <a:solidFill>
                  <a:prstClr val="white"/>
                </a:solidFill>
                <a:latin typeface="Franklin Gothic Book" panose="020B0503020102020204" pitchFamily="34" charset="0"/>
                <a:cs typeface="Arial" panose="020B0604020202020204" pitchFamily="34" charset="0"/>
              </a:rPr>
              <a:t> 39% of cases resolved at this level</a:t>
            </a:r>
          </a:p>
        </p:txBody>
      </p:sp>
      <p:graphicFrame>
        <p:nvGraphicFramePr>
          <p:cNvPr id="18" name="Diagram 17">
            <a:extLst>
              <a:ext uri="{FF2B5EF4-FFF2-40B4-BE49-F238E27FC236}">
                <a16:creationId xmlns:a16="http://schemas.microsoft.com/office/drawing/2014/main" id="{89BB1C2E-1EF0-4C67-8DF1-77934FC51302}"/>
              </a:ext>
            </a:extLst>
          </p:cNvPr>
          <p:cNvGraphicFramePr/>
          <p:nvPr/>
        </p:nvGraphicFramePr>
        <p:xfrm>
          <a:off x="914400" y="762000"/>
          <a:ext cx="6324600" cy="42672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30729" name="Group 7">
            <a:extLst>
              <a:ext uri="{FF2B5EF4-FFF2-40B4-BE49-F238E27FC236}">
                <a16:creationId xmlns:a16="http://schemas.microsoft.com/office/drawing/2014/main" id="{3DFB775F-2D12-4E78-BDCC-E391E922AABD}"/>
              </a:ext>
            </a:extLst>
          </p:cNvPr>
          <p:cNvGrpSpPr>
            <a:grpSpLocks/>
          </p:cNvGrpSpPr>
          <p:nvPr/>
        </p:nvGrpSpPr>
        <p:grpSpPr bwMode="auto">
          <a:xfrm>
            <a:off x="2438400" y="5486400"/>
            <a:ext cx="2057400" cy="914400"/>
            <a:chOff x="2328612" y="3499989"/>
            <a:chExt cx="2630826" cy="1006334"/>
          </a:xfrm>
        </p:grpSpPr>
        <p:sp>
          <p:nvSpPr>
            <p:cNvPr id="9" name="Rounded Rectangle 8">
              <a:extLst>
                <a:ext uri="{FF2B5EF4-FFF2-40B4-BE49-F238E27FC236}">
                  <a16:creationId xmlns:a16="http://schemas.microsoft.com/office/drawing/2014/main" id="{1928AE9B-56D6-4415-8920-1C5188493C6E}"/>
                </a:ext>
              </a:extLst>
            </p:cNvPr>
            <p:cNvSpPr/>
            <p:nvPr/>
          </p:nvSpPr>
          <p:spPr>
            <a:xfrm>
              <a:off x="2328612" y="3499989"/>
              <a:ext cx="2630826" cy="1006334"/>
            </a:xfrm>
            <a:prstGeom prst="roundRect">
              <a:avLst/>
            </a:prstGeom>
            <a:ln w="9525"/>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sp>
        <p:sp>
          <p:nvSpPr>
            <p:cNvPr id="10" name="Rounded Rectangle 4">
              <a:extLst>
                <a:ext uri="{FF2B5EF4-FFF2-40B4-BE49-F238E27FC236}">
                  <a16:creationId xmlns:a16="http://schemas.microsoft.com/office/drawing/2014/main" id="{45276831-03D8-43DE-BA23-0576C2E64C36}"/>
                </a:ext>
              </a:extLst>
            </p:cNvPr>
            <p:cNvSpPr/>
            <p:nvPr/>
          </p:nvSpPr>
          <p:spPr>
            <a:xfrm>
              <a:off x="2377331" y="3597827"/>
              <a:ext cx="2533388" cy="908496"/>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tIns="91440" bIns="91440" spcCol="1270" anchor="ctr"/>
            <a:lstStyle/>
            <a:p>
              <a:pPr algn="ctr" defTabSz="1066800">
                <a:lnSpc>
                  <a:spcPct val="90000"/>
                </a:lnSpc>
                <a:spcAft>
                  <a:spcPct val="35000"/>
                </a:spcAft>
                <a:defRPr/>
              </a:pPr>
              <a:r>
                <a:rPr lang="en-US" sz="2000" b="1" dirty="0">
                  <a:solidFill>
                    <a:prstClr val="black">
                      <a:hueOff val="0"/>
                      <a:satOff val="0"/>
                      <a:lumOff val="0"/>
                      <a:alphaOff val="0"/>
                    </a:prstClr>
                  </a:solidFill>
                  <a:latin typeface="Franklin Gothic Book"/>
                </a:rPr>
                <a:t>Integrity Vice Presidency</a:t>
              </a:r>
            </a:p>
          </p:txBody>
        </p:sp>
      </p:grpSp>
      <p:cxnSp>
        <p:nvCxnSpPr>
          <p:cNvPr id="12" name="Straight Connector 11">
            <a:extLst>
              <a:ext uri="{FF2B5EF4-FFF2-40B4-BE49-F238E27FC236}">
                <a16:creationId xmlns:a16="http://schemas.microsoft.com/office/drawing/2014/main" id="{D7C303FB-CA40-4DAE-ABBC-055A13CAEF59}"/>
              </a:ext>
            </a:extLst>
          </p:cNvPr>
          <p:cNvCxnSpPr/>
          <p:nvPr/>
        </p:nvCxnSpPr>
        <p:spPr>
          <a:xfrm>
            <a:off x="2097088" y="5256214"/>
            <a:ext cx="8266112" cy="1587"/>
          </a:xfrm>
          <a:prstGeom prst="line">
            <a:avLst/>
          </a:prstGeom>
          <a:ln w="127000"/>
        </p:spPr>
        <p:style>
          <a:lnRef idx="1">
            <a:schemeClr val="accent1"/>
          </a:lnRef>
          <a:fillRef idx="0">
            <a:schemeClr val="accent1"/>
          </a:fillRef>
          <a:effectRef idx="0">
            <a:schemeClr val="accent1"/>
          </a:effectRef>
          <a:fontRef idx="minor">
            <a:schemeClr val="tx1"/>
          </a:fontRef>
        </p:style>
      </p:cxnSp>
      <p:sp>
        <p:nvSpPr>
          <p:cNvPr id="30731" name="TextBox 13">
            <a:extLst>
              <a:ext uri="{FF2B5EF4-FFF2-40B4-BE49-F238E27FC236}">
                <a16:creationId xmlns:a16="http://schemas.microsoft.com/office/drawing/2014/main" id="{1E087B7A-840E-4724-A006-028213EBE21B}"/>
              </a:ext>
            </a:extLst>
          </p:cNvPr>
          <p:cNvSpPr txBox="1">
            <a:spLocks noChangeArrowheads="1"/>
          </p:cNvSpPr>
          <p:nvPr/>
        </p:nvSpPr>
        <p:spPr bwMode="auto">
          <a:xfrm rot="16200000">
            <a:off x="680244" y="3221832"/>
            <a:ext cx="2239963"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algn="ctr" fontAlgn="base">
              <a:spcBef>
                <a:spcPct val="0"/>
              </a:spcBef>
              <a:spcAft>
                <a:spcPct val="0"/>
              </a:spcAft>
            </a:pPr>
            <a:r>
              <a:rPr lang="en-US" altLang="en-US" b="1">
                <a:solidFill>
                  <a:srgbClr val="FFFF00"/>
                </a:solidFill>
                <a:latin typeface="Franklin Gothic Book" panose="020B0503020102020204" pitchFamily="34" charset="0"/>
                <a:cs typeface="Arial" panose="020B0604020202020204" pitchFamily="34" charset="0"/>
              </a:rPr>
              <a:t>Adjudicative</a:t>
            </a:r>
          </a:p>
        </p:txBody>
      </p:sp>
      <p:sp>
        <p:nvSpPr>
          <p:cNvPr id="30732" name="TextBox 14">
            <a:extLst>
              <a:ext uri="{FF2B5EF4-FFF2-40B4-BE49-F238E27FC236}">
                <a16:creationId xmlns:a16="http://schemas.microsoft.com/office/drawing/2014/main" id="{C51C9BD4-A5B8-4A82-8A04-F2F78D0354C3}"/>
              </a:ext>
            </a:extLst>
          </p:cNvPr>
          <p:cNvSpPr txBox="1">
            <a:spLocks noChangeArrowheads="1"/>
          </p:cNvSpPr>
          <p:nvPr/>
        </p:nvSpPr>
        <p:spPr bwMode="auto">
          <a:xfrm rot="16200000">
            <a:off x="756444" y="5720556"/>
            <a:ext cx="190500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algn="ctr" fontAlgn="base">
              <a:spcBef>
                <a:spcPct val="0"/>
              </a:spcBef>
              <a:spcAft>
                <a:spcPct val="0"/>
              </a:spcAft>
            </a:pPr>
            <a:r>
              <a:rPr lang="en-US" altLang="en-US" b="1">
                <a:solidFill>
                  <a:srgbClr val="FFFF00"/>
                </a:solidFill>
                <a:latin typeface="Franklin Gothic Book" panose="020B0503020102020204" pitchFamily="34" charset="0"/>
                <a:cs typeface="Arial" panose="020B0604020202020204" pitchFamily="34" charset="0"/>
              </a:rPr>
              <a:t>Investigative</a:t>
            </a:r>
          </a:p>
        </p:txBody>
      </p:sp>
      <p:cxnSp>
        <p:nvCxnSpPr>
          <p:cNvPr id="16" name="Straight Connector 15">
            <a:extLst>
              <a:ext uri="{FF2B5EF4-FFF2-40B4-BE49-F238E27FC236}">
                <a16:creationId xmlns:a16="http://schemas.microsoft.com/office/drawing/2014/main" id="{F7A0BF7A-E7AE-4866-A642-E987E0BCB89D}"/>
              </a:ext>
            </a:extLst>
          </p:cNvPr>
          <p:cNvCxnSpPr/>
          <p:nvPr/>
        </p:nvCxnSpPr>
        <p:spPr>
          <a:xfrm>
            <a:off x="2139950" y="1905000"/>
            <a:ext cx="8223250" cy="1588"/>
          </a:xfrm>
          <a:prstGeom prst="line">
            <a:avLst/>
          </a:prstGeom>
          <a:ln w="127000"/>
        </p:spPr>
        <p:style>
          <a:lnRef idx="1">
            <a:schemeClr val="accent1"/>
          </a:lnRef>
          <a:fillRef idx="0">
            <a:schemeClr val="accent1"/>
          </a:fillRef>
          <a:effectRef idx="0">
            <a:schemeClr val="accent1"/>
          </a:effectRef>
          <a:fontRef idx="minor">
            <a:schemeClr val="tx1"/>
          </a:fontRef>
        </p:style>
      </p:cxnSp>
      <p:sp>
        <p:nvSpPr>
          <p:cNvPr id="30734" name="TextBox 16">
            <a:extLst>
              <a:ext uri="{FF2B5EF4-FFF2-40B4-BE49-F238E27FC236}">
                <a16:creationId xmlns:a16="http://schemas.microsoft.com/office/drawing/2014/main" id="{55DDFA2E-D770-4F9A-ABD5-9D8CF6C73344}"/>
              </a:ext>
            </a:extLst>
          </p:cNvPr>
          <p:cNvSpPr txBox="1">
            <a:spLocks noChangeArrowheads="1"/>
          </p:cNvSpPr>
          <p:nvPr/>
        </p:nvSpPr>
        <p:spPr bwMode="auto">
          <a:xfrm rot="16200000">
            <a:off x="862013" y="1073150"/>
            <a:ext cx="1905000"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algn="ctr" fontAlgn="base">
              <a:spcBef>
                <a:spcPct val="0"/>
              </a:spcBef>
              <a:spcAft>
                <a:spcPct val="0"/>
              </a:spcAft>
            </a:pPr>
            <a:r>
              <a:rPr lang="en-US" altLang="en-US" b="1">
                <a:solidFill>
                  <a:srgbClr val="FFFF00"/>
                </a:solidFill>
                <a:latin typeface="Franklin Gothic Book" panose="020B0503020102020204" pitchFamily="34" charset="0"/>
                <a:cs typeface="Arial" panose="020B0604020202020204" pitchFamily="34" charset="0"/>
              </a:rPr>
              <a:t>Compliance</a:t>
            </a:r>
          </a:p>
        </p:txBody>
      </p:sp>
      <p:sp>
        <p:nvSpPr>
          <p:cNvPr id="30735" name="Text Box 9">
            <a:extLst>
              <a:ext uri="{FF2B5EF4-FFF2-40B4-BE49-F238E27FC236}">
                <a16:creationId xmlns:a16="http://schemas.microsoft.com/office/drawing/2014/main" id="{5E9E0513-51F7-4E6A-8CE2-49B2C66EEECF}"/>
              </a:ext>
            </a:extLst>
          </p:cNvPr>
          <p:cNvSpPr txBox="1">
            <a:spLocks noChangeArrowheads="1"/>
          </p:cNvSpPr>
          <p:nvPr/>
        </p:nvSpPr>
        <p:spPr bwMode="auto">
          <a:xfrm>
            <a:off x="5791200" y="633414"/>
            <a:ext cx="4343400" cy="1246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buFont typeface="Wingdings" panose="05000000000000000000" pitchFamily="2" charset="2"/>
              <a:buChar char="§"/>
            </a:pPr>
            <a:r>
              <a:rPr lang="en-US" altLang="en-US" sz="1500">
                <a:solidFill>
                  <a:prstClr val="white"/>
                </a:solidFill>
                <a:latin typeface="Franklin Gothic Book" panose="020B0503020102020204" pitchFamily="34" charset="0"/>
                <a:cs typeface="Arial" panose="020B0604020202020204" pitchFamily="34" charset="0"/>
              </a:rPr>
              <a:t> Monitors integrity compliance by sanctioned companies (or codes of conduct for individuals)</a:t>
            </a:r>
          </a:p>
          <a:p>
            <a:pPr fontAlgn="base">
              <a:spcBef>
                <a:spcPct val="0"/>
              </a:spcBef>
              <a:spcAft>
                <a:spcPct val="0"/>
              </a:spcAft>
              <a:buFont typeface="Wingdings" panose="05000000000000000000" pitchFamily="2" charset="2"/>
              <a:buChar char="§"/>
            </a:pPr>
            <a:r>
              <a:rPr lang="en-US" altLang="en-US" sz="1500">
                <a:solidFill>
                  <a:prstClr val="white"/>
                </a:solidFill>
                <a:latin typeface="Franklin Gothic Book" panose="020B0503020102020204" pitchFamily="34" charset="0"/>
                <a:cs typeface="Arial" panose="020B0604020202020204" pitchFamily="34" charset="0"/>
              </a:rPr>
              <a:t> Decides whether the compliance condition established by the SDO or Sanctions Board as part of a debarment has been satisfied.</a:t>
            </a:r>
          </a:p>
        </p:txBody>
      </p:sp>
      <p:pic>
        <p:nvPicPr>
          <p:cNvPr id="30736" name="Picture 7">
            <a:hlinkClick r:id="rId8"/>
            <a:extLst>
              <a:ext uri="{FF2B5EF4-FFF2-40B4-BE49-F238E27FC236}">
                <a16:creationId xmlns:a16="http://schemas.microsoft.com/office/drawing/2014/main" id="{1DA04B40-8F4E-4E1A-B117-0FD6ED095898}"/>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9753600" y="6000750"/>
            <a:ext cx="762000" cy="776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p:sld>
</file>

<file path=ppt/slides/slide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54274" name="Title 1">
            <a:extLst>
              <a:ext uri="{FF2B5EF4-FFF2-40B4-BE49-F238E27FC236}">
                <a16:creationId xmlns:a16="http://schemas.microsoft.com/office/drawing/2014/main" id="{220EA86F-9D36-44B5-BB68-03653875F29B}"/>
              </a:ext>
            </a:extLst>
          </p:cNvPr>
          <p:cNvSpPr>
            <a:spLocks noGrp="1"/>
          </p:cNvSpPr>
          <p:nvPr>
            <p:ph type="title"/>
          </p:nvPr>
        </p:nvSpPr>
        <p:spPr>
          <a:xfrm>
            <a:off x="1524000" y="533400"/>
            <a:ext cx="8763000" cy="1143000"/>
          </a:xfrm>
        </p:spPr>
        <p:txBody>
          <a:bodyPr>
            <a:normAutofit/>
          </a:bodyPr>
          <a:lstStyle/>
          <a:p>
            <a:pPr fontAlgn="auto">
              <a:spcAft>
                <a:spcPts val="0"/>
              </a:spcAft>
              <a:defRPr/>
            </a:pPr>
            <a:r>
              <a:rPr lang="en-US" altLang="en-US" sz="2800" b="1"/>
              <a:t>Administrative Cooperation:  U.S. Defense Department</a:t>
            </a:r>
            <a:br>
              <a:rPr lang="en-US" altLang="en-US" sz="2800" b="1"/>
            </a:br>
            <a:r>
              <a:rPr lang="en-US" altLang="en-US" sz="2800" b="1"/>
              <a:t>Cybersecurity for Unclassified Information Technology</a:t>
            </a:r>
          </a:p>
        </p:txBody>
      </p:sp>
      <p:graphicFrame>
        <p:nvGraphicFramePr>
          <p:cNvPr id="4" name="Diagram 3">
            <a:extLst>
              <a:ext uri="{FF2B5EF4-FFF2-40B4-BE49-F238E27FC236}">
                <a16:creationId xmlns:a16="http://schemas.microsoft.com/office/drawing/2014/main" id="{F97DC10E-976F-4876-A31D-F100BCAC012E}"/>
              </a:ext>
            </a:extLst>
          </p:cNvPr>
          <p:cNvGraphicFramePr/>
          <p:nvPr/>
        </p:nvGraphicFramePr>
        <p:xfrm>
          <a:off x="1676400" y="1606550"/>
          <a:ext cx="8763000" cy="52324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 name="Slide Number Placeholder 1">
            <a:extLst>
              <a:ext uri="{FF2B5EF4-FFF2-40B4-BE49-F238E27FC236}">
                <a16:creationId xmlns:a16="http://schemas.microsoft.com/office/drawing/2014/main" id="{5F59B861-9D15-4D91-AB9A-3BC78508B365}"/>
              </a:ext>
            </a:extLst>
          </p:cNvPr>
          <p:cNvSpPr>
            <a:spLocks noGrp="1"/>
          </p:cNvSpPr>
          <p:nvPr>
            <p:ph type="sldNum" sz="quarter" idx="4294967295"/>
          </p:nvPr>
        </p:nvSpPr>
        <p:spPr>
          <a:xfrm>
            <a:off x="1626394" y="6231082"/>
            <a:ext cx="457200" cy="457200"/>
          </a:xfrm>
        </p:spPr>
        <p:txBody>
          <a:bodyPr/>
          <a:lstStyle>
            <a:lvl1pPr>
              <a:defRPr>
                <a:solidFill>
                  <a:schemeClr val="tx1"/>
                </a:solidFill>
                <a:latin typeface="Perpetua" panose="02020502060401020303" pitchFamily="18" charset="0"/>
              </a:defRPr>
            </a:lvl1pPr>
            <a:lvl2pPr marL="742950" indent="-285750">
              <a:defRPr>
                <a:solidFill>
                  <a:schemeClr val="tx1"/>
                </a:solidFill>
                <a:latin typeface="Perpetua" panose="02020502060401020303" pitchFamily="18" charset="0"/>
              </a:defRPr>
            </a:lvl2pPr>
            <a:lvl3pPr marL="1143000" indent="-228600">
              <a:defRPr>
                <a:solidFill>
                  <a:schemeClr val="tx1"/>
                </a:solidFill>
                <a:latin typeface="Perpetua" panose="02020502060401020303" pitchFamily="18" charset="0"/>
              </a:defRPr>
            </a:lvl3pPr>
            <a:lvl4pPr marL="1600200" indent="-228600">
              <a:defRPr>
                <a:solidFill>
                  <a:schemeClr val="tx1"/>
                </a:solidFill>
                <a:latin typeface="Perpetua" panose="02020502060401020303" pitchFamily="18" charset="0"/>
              </a:defRPr>
            </a:lvl4pPr>
            <a:lvl5pPr marL="2057400" indent="-228600">
              <a:defRPr>
                <a:solidFill>
                  <a:schemeClr val="tx1"/>
                </a:solidFill>
                <a:latin typeface="Perpetua" panose="02020502060401020303" pitchFamily="18" charset="0"/>
              </a:defRPr>
            </a:lvl5pPr>
            <a:lvl6pPr marL="2514600" indent="-228600" fontAlgn="base">
              <a:spcBef>
                <a:spcPct val="0"/>
              </a:spcBef>
              <a:spcAft>
                <a:spcPct val="0"/>
              </a:spcAft>
              <a:defRPr>
                <a:solidFill>
                  <a:schemeClr val="tx1"/>
                </a:solidFill>
                <a:latin typeface="Perpetua" panose="02020502060401020303" pitchFamily="18" charset="0"/>
              </a:defRPr>
            </a:lvl6pPr>
            <a:lvl7pPr marL="2971800" indent="-228600" fontAlgn="base">
              <a:spcBef>
                <a:spcPct val="0"/>
              </a:spcBef>
              <a:spcAft>
                <a:spcPct val="0"/>
              </a:spcAft>
              <a:defRPr>
                <a:solidFill>
                  <a:schemeClr val="tx1"/>
                </a:solidFill>
                <a:latin typeface="Perpetua" panose="02020502060401020303" pitchFamily="18" charset="0"/>
              </a:defRPr>
            </a:lvl7pPr>
            <a:lvl8pPr marL="3429000" indent="-228600" fontAlgn="base">
              <a:spcBef>
                <a:spcPct val="0"/>
              </a:spcBef>
              <a:spcAft>
                <a:spcPct val="0"/>
              </a:spcAft>
              <a:defRPr>
                <a:solidFill>
                  <a:schemeClr val="tx1"/>
                </a:solidFill>
                <a:latin typeface="Perpetua" panose="02020502060401020303" pitchFamily="18" charset="0"/>
              </a:defRPr>
            </a:lvl8pPr>
            <a:lvl9pPr marL="3886200" indent="-228600" fontAlgn="base">
              <a:spcBef>
                <a:spcPct val="0"/>
              </a:spcBef>
              <a:spcAft>
                <a:spcPct val="0"/>
              </a:spcAft>
              <a:defRPr>
                <a:solidFill>
                  <a:schemeClr val="tx1"/>
                </a:solidFill>
                <a:latin typeface="Perpetua" panose="02020502060401020303" pitchFamily="18" charset="0"/>
              </a:defRPr>
            </a:lvl9pPr>
          </a:lstStyle>
          <a:p>
            <a:pPr fontAlgn="base">
              <a:spcBef>
                <a:spcPct val="0"/>
              </a:spcBef>
              <a:spcAft>
                <a:spcPct val="0"/>
              </a:spcAft>
            </a:pPr>
            <a:fld id="{B50AB8CE-A9FB-403B-A1AA-479A2A9C28BB}" type="slidenum">
              <a:rPr lang="en-US" altLang="en-US">
                <a:solidFill>
                  <a:srgbClr val="FFFFFF"/>
                </a:solidFill>
                <a:latin typeface="Franklin Gothic Book" panose="020B0503020102020204" pitchFamily="34" charset="0"/>
                <a:cs typeface="Arial" panose="020B0604020202020204" pitchFamily="34" charset="0"/>
              </a:rPr>
              <a:pPr fontAlgn="base">
                <a:spcBef>
                  <a:spcPct val="0"/>
                </a:spcBef>
                <a:spcAft>
                  <a:spcPct val="0"/>
                </a:spcAft>
              </a:pPr>
              <a:t>6</a:t>
            </a:fld>
            <a:endParaRPr lang="en-US" altLang="en-US">
              <a:solidFill>
                <a:srgbClr val="FFFFFF"/>
              </a:solidFill>
              <a:latin typeface="Franklin Gothic Book" panose="020B0503020102020204" pitchFamily="34" charset="0"/>
              <a:cs typeface="Arial" panose="020B0604020202020204" pitchFamily="34" charset="0"/>
            </a:endParaRPr>
          </a:p>
        </p:txBody>
      </p:sp>
    </p:spTree>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Title 1">
            <a:extLst>
              <a:ext uri="{FF2B5EF4-FFF2-40B4-BE49-F238E27FC236}">
                <a16:creationId xmlns:a16="http://schemas.microsoft.com/office/drawing/2014/main" id="{8708FCE9-C522-45E1-A8A7-90E4CD17023A}"/>
              </a:ext>
            </a:extLst>
          </p:cNvPr>
          <p:cNvSpPr>
            <a:spLocks noGrp="1"/>
          </p:cNvSpPr>
          <p:nvPr>
            <p:ph type="title"/>
          </p:nvPr>
        </p:nvSpPr>
        <p:spPr>
          <a:xfrm>
            <a:off x="2057400" y="0"/>
            <a:ext cx="8229600" cy="1143000"/>
          </a:xfrm>
        </p:spPr>
        <p:txBody>
          <a:bodyPr/>
          <a:lstStyle/>
          <a:p>
            <a:r>
              <a:rPr lang="en-US" altLang="en-US"/>
              <a:t>Four Paradigms</a:t>
            </a:r>
          </a:p>
        </p:txBody>
      </p:sp>
      <p:graphicFrame>
        <p:nvGraphicFramePr>
          <p:cNvPr id="5" name="Diagram 4">
            <a:extLst>
              <a:ext uri="{FF2B5EF4-FFF2-40B4-BE49-F238E27FC236}">
                <a16:creationId xmlns:a16="http://schemas.microsoft.com/office/drawing/2014/main" id="{D5633764-6210-46E8-9BF2-D0CF71E5E046}"/>
              </a:ext>
            </a:extLst>
          </p:cNvPr>
          <p:cNvGraphicFramePr/>
          <p:nvPr/>
        </p:nvGraphicFramePr>
        <p:xfrm>
          <a:off x="2209800" y="914400"/>
          <a:ext cx="7924800" cy="46990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Oval 3">
            <a:extLst>
              <a:ext uri="{FF2B5EF4-FFF2-40B4-BE49-F238E27FC236}">
                <a16:creationId xmlns:a16="http://schemas.microsoft.com/office/drawing/2014/main" id="{3C673266-B1C7-4804-909D-FB08E0AF67FD}"/>
              </a:ext>
            </a:extLst>
          </p:cNvPr>
          <p:cNvSpPr/>
          <p:nvPr/>
        </p:nvSpPr>
        <p:spPr bwMode="auto">
          <a:xfrm>
            <a:off x="2133600" y="5867400"/>
            <a:ext cx="2438400" cy="990600"/>
          </a:xfrm>
          <a:prstGeom prst="ellipse">
            <a:avLst/>
          </a:prstGeom>
          <a:solidFill>
            <a:schemeClr val="tx2">
              <a:lumMod val="25000"/>
            </a:schemeClr>
          </a:solidFill>
          <a:ln w="9525" cap="flat" cmpd="sng" algn="ctr">
            <a:solidFill>
              <a:schemeClr val="tx1"/>
            </a:solidFill>
            <a:prstDash val="solid"/>
            <a:round/>
            <a:headEnd type="none" w="med" len="med"/>
            <a:tailEnd type="none" w="med" len="med"/>
          </a:ln>
          <a:effectLst/>
        </p:spPr>
        <p:txBody>
          <a:bodyPr/>
          <a:lstStyle/>
          <a:p>
            <a:pPr algn="ctr">
              <a:defRPr/>
            </a:pPr>
            <a:r>
              <a:rPr lang="en-US" sz="2000" b="1" dirty="0">
                <a:solidFill>
                  <a:prstClr val="white"/>
                </a:solidFill>
                <a:latin typeface="Calibri"/>
                <a:cs typeface="Arial" panose="020B0604020202020204" pitchFamily="34" charset="0"/>
              </a:rPr>
              <a:t>Performance Risk</a:t>
            </a:r>
          </a:p>
        </p:txBody>
      </p:sp>
      <p:sp>
        <p:nvSpPr>
          <p:cNvPr id="31749" name="Oval 6">
            <a:extLst>
              <a:ext uri="{FF2B5EF4-FFF2-40B4-BE49-F238E27FC236}">
                <a16:creationId xmlns:a16="http://schemas.microsoft.com/office/drawing/2014/main" id="{4BCBD93E-3E55-483E-BBE2-68249AB87BA3}"/>
              </a:ext>
            </a:extLst>
          </p:cNvPr>
          <p:cNvSpPr>
            <a:spLocks noChangeArrowheads="1"/>
          </p:cNvSpPr>
          <p:nvPr/>
        </p:nvSpPr>
        <p:spPr bwMode="auto">
          <a:xfrm>
            <a:off x="7543800" y="5867400"/>
            <a:ext cx="2514600" cy="990600"/>
          </a:xfrm>
          <a:prstGeom prst="ellipse">
            <a:avLst/>
          </a:prstGeom>
          <a:solidFill>
            <a:srgbClr val="FF0000"/>
          </a:solidFill>
          <a:ln w="9525" algn="ctr">
            <a:solidFill>
              <a:schemeClr val="tx1"/>
            </a:solidFill>
            <a:round/>
            <a:headEnd/>
            <a:tailEnd/>
          </a:ln>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algn="ctr" fontAlgn="base">
              <a:spcBef>
                <a:spcPct val="0"/>
              </a:spcBef>
              <a:spcAft>
                <a:spcPct val="0"/>
              </a:spcAft>
            </a:pPr>
            <a:r>
              <a:rPr lang="en-US" altLang="en-US" sz="2400" b="1">
                <a:solidFill>
                  <a:prstClr val="white"/>
                </a:solidFill>
                <a:cs typeface="Arial" panose="020B0604020202020204" pitchFamily="34" charset="0"/>
              </a:rPr>
              <a:t>Reputation Risk</a:t>
            </a:r>
          </a:p>
        </p:txBody>
      </p:sp>
    </p:spTree>
  </p:cSld>
  <p:clrMapOvr>
    <a:masterClrMapping/>
  </p:clrMapOvr>
  <p:transition/>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812" name="TextBox 2">
            <a:extLst>
              <a:ext uri="{FF2B5EF4-FFF2-40B4-BE49-F238E27FC236}">
                <a16:creationId xmlns:a16="http://schemas.microsoft.com/office/drawing/2014/main" id="{14D270E1-C7F0-4EAD-9EAB-0A82DD6E6C79}"/>
              </a:ext>
            </a:extLst>
          </p:cNvPr>
          <p:cNvSpPr txBox="1">
            <a:spLocks noChangeArrowheads="1"/>
          </p:cNvSpPr>
          <p:nvPr/>
        </p:nvSpPr>
        <p:spPr bwMode="auto">
          <a:xfrm>
            <a:off x="1524000" y="304800"/>
            <a:ext cx="6705600" cy="1938338"/>
          </a:xfrm>
          <a:prstGeom prst="rect">
            <a:avLst/>
          </a:prstGeom>
          <a:solidFill>
            <a:srgbClr val="7030A0"/>
          </a:solidFill>
          <a:ln w="9525">
            <a:solidFill>
              <a:schemeClr val="tx1"/>
            </a:solidFill>
            <a:miter lim="800000"/>
            <a:headEnd/>
            <a:tailEnd/>
          </a:ln>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r>
              <a:rPr lang="en-US" altLang="en-US" sz="6000" b="1">
                <a:solidFill>
                  <a:srgbClr val="FFFF00"/>
                </a:solidFill>
                <a:cs typeface="Arial" panose="020B0604020202020204" pitchFamily="34" charset="0"/>
              </a:rPr>
              <a:t>Looming Issue:</a:t>
            </a:r>
          </a:p>
          <a:p>
            <a:pPr fontAlgn="base">
              <a:spcBef>
                <a:spcPct val="0"/>
              </a:spcBef>
              <a:spcAft>
                <a:spcPct val="0"/>
              </a:spcAft>
            </a:pPr>
            <a:r>
              <a:rPr lang="en-US" altLang="en-US" sz="6000" b="1">
                <a:solidFill>
                  <a:srgbClr val="FFFF00"/>
                </a:solidFill>
                <a:cs typeface="Arial" panose="020B0604020202020204" pitchFamily="34" charset="0"/>
              </a:rPr>
              <a:t>Cross-Debarment</a:t>
            </a:r>
          </a:p>
        </p:txBody>
      </p:sp>
      <p:sp>
        <p:nvSpPr>
          <p:cNvPr id="32813" name="TextBox 3">
            <a:extLst>
              <a:ext uri="{FF2B5EF4-FFF2-40B4-BE49-F238E27FC236}">
                <a16:creationId xmlns:a16="http://schemas.microsoft.com/office/drawing/2014/main" id="{AE10DF24-B941-48C8-9363-030443420642}"/>
              </a:ext>
            </a:extLst>
          </p:cNvPr>
          <p:cNvSpPr txBox="1">
            <a:spLocks noChangeArrowheads="1"/>
          </p:cNvSpPr>
          <p:nvPr/>
        </p:nvSpPr>
        <p:spPr bwMode="auto">
          <a:xfrm>
            <a:off x="1752600" y="2057400"/>
            <a:ext cx="8915400" cy="4400550"/>
          </a:xfrm>
          <a:prstGeom prst="rect">
            <a:avLst/>
          </a:prstGeom>
          <a:solidFill>
            <a:srgbClr val="C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r>
              <a:rPr lang="en-US" altLang="en-US" sz="4000" b="1">
                <a:solidFill>
                  <a:prstClr val="white"/>
                </a:solidFill>
                <a:cs typeface="Arial" panose="020B0604020202020204" pitchFamily="34" charset="0"/>
              </a:rPr>
              <a:t>Options:</a:t>
            </a:r>
          </a:p>
          <a:p>
            <a:pPr fontAlgn="base">
              <a:spcBef>
                <a:spcPct val="0"/>
              </a:spcBef>
              <a:spcAft>
                <a:spcPct val="0"/>
              </a:spcAft>
              <a:buFont typeface="Arial" panose="020B0604020202020204" pitchFamily="34" charset="0"/>
              <a:buChar char="•"/>
            </a:pPr>
            <a:r>
              <a:rPr lang="en-US" altLang="en-US" sz="4000" b="1">
                <a:solidFill>
                  <a:prstClr val="white"/>
                </a:solidFill>
                <a:cs typeface="Arial" panose="020B0604020202020204" pitchFamily="34" charset="0"/>
              </a:rPr>
              <a:t> Automatic cross-debarment</a:t>
            </a:r>
          </a:p>
          <a:p>
            <a:pPr fontAlgn="base">
              <a:spcBef>
                <a:spcPct val="0"/>
              </a:spcBef>
              <a:spcAft>
                <a:spcPct val="0"/>
              </a:spcAft>
              <a:buFont typeface="Arial" panose="020B0604020202020204" pitchFamily="34" charset="0"/>
              <a:buChar char="•"/>
            </a:pPr>
            <a:r>
              <a:rPr lang="en-US" altLang="en-US" sz="4000" b="1">
                <a:solidFill>
                  <a:prstClr val="white"/>
                </a:solidFill>
                <a:cs typeface="Arial" panose="020B0604020202020204" pitchFamily="34" charset="0"/>
              </a:rPr>
              <a:t> Debarments to be considered in other systems</a:t>
            </a:r>
          </a:p>
          <a:p>
            <a:pPr fontAlgn="base">
              <a:spcBef>
                <a:spcPct val="0"/>
              </a:spcBef>
              <a:spcAft>
                <a:spcPct val="0"/>
              </a:spcAft>
              <a:buFont typeface="Arial" panose="020B0604020202020204" pitchFamily="34" charset="0"/>
              <a:buChar char="•"/>
            </a:pPr>
            <a:r>
              <a:rPr lang="en-US" altLang="en-US" sz="4000" b="1">
                <a:solidFill>
                  <a:prstClr val="white"/>
                </a:solidFill>
                <a:cs typeface="Arial" panose="020B0604020202020204" pitchFamily="34" charset="0"/>
              </a:rPr>
              <a:t> Adverse performance information to be considered</a:t>
            </a:r>
          </a:p>
          <a:p>
            <a:pPr fontAlgn="base">
              <a:spcBef>
                <a:spcPct val="0"/>
              </a:spcBef>
              <a:spcAft>
                <a:spcPct val="0"/>
              </a:spcAft>
              <a:buFont typeface="Arial" panose="020B0604020202020204" pitchFamily="34" charset="0"/>
              <a:buChar char="•"/>
            </a:pPr>
            <a:r>
              <a:rPr lang="en-US" altLang="en-US" sz="4000" b="1">
                <a:solidFill>
                  <a:prstClr val="white"/>
                </a:solidFill>
                <a:cs typeface="Arial" panose="020B0604020202020204" pitchFamily="34" charset="0"/>
              </a:rPr>
              <a:t> Do nothing</a:t>
            </a:r>
            <a:endParaRPr lang="en-US" altLang="en-US" sz="2400" b="1">
              <a:solidFill>
                <a:prstClr val="white"/>
              </a:solidFill>
              <a:cs typeface="Arial" panose="020B0604020202020204" pitchFamily="34" charset="0"/>
            </a:endParaRPr>
          </a:p>
        </p:txBody>
      </p:sp>
    </p:spTree>
  </p:cSld>
  <p:clrMapOvr>
    <a:masterClrMapping/>
  </p:clrMapOvr>
  <p:transition/>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74C233C4-D102-4464-98FD-007A94B7CE1C}"/>
              </a:ext>
            </a:extLst>
          </p:cNvPr>
          <p:cNvSpPr>
            <a:spLocks noGrp="1"/>
          </p:cNvSpPr>
          <p:nvPr>
            <p:ph type="title"/>
          </p:nvPr>
        </p:nvSpPr>
        <p:spPr/>
        <p:txBody>
          <a:bodyPr rtlCol="0">
            <a:normAutofit/>
          </a:bodyPr>
          <a:lstStyle/>
          <a:p>
            <a:pPr fontAlgn="auto">
              <a:spcAft>
                <a:spcPts val="0"/>
              </a:spcAft>
              <a:defRPr/>
            </a:pPr>
            <a:r>
              <a:rPr lang="en-US" dirty="0"/>
              <a:t>Voluntary versus mandatory Disclosure</a:t>
            </a:r>
          </a:p>
        </p:txBody>
      </p:sp>
      <p:sp>
        <p:nvSpPr>
          <p:cNvPr id="9" name="Text Placeholder 8">
            <a:extLst>
              <a:ext uri="{FF2B5EF4-FFF2-40B4-BE49-F238E27FC236}">
                <a16:creationId xmlns:a16="http://schemas.microsoft.com/office/drawing/2014/main" id="{3B385E8F-A828-461C-A0AA-9B82B73B7C16}"/>
              </a:ext>
            </a:extLst>
          </p:cNvPr>
          <p:cNvSpPr>
            <a:spLocks noGrp="1"/>
          </p:cNvSpPr>
          <p:nvPr>
            <p:ph type="body" idx="1"/>
          </p:nvPr>
        </p:nvSpPr>
        <p:spPr/>
        <p:txBody>
          <a:bodyPr rtlCol="0">
            <a:normAutofit/>
          </a:bodyPr>
          <a:lstStyle/>
          <a:p>
            <a:pPr fontAlgn="auto">
              <a:spcAft>
                <a:spcPts val="0"/>
              </a:spcAft>
              <a:defRPr/>
            </a:pPr>
            <a:endParaRPr lang="en-US"/>
          </a:p>
        </p:txBody>
      </p:sp>
      <p:sp>
        <p:nvSpPr>
          <p:cNvPr id="7" name="Footer Placeholder 6">
            <a:extLst>
              <a:ext uri="{FF2B5EF4-FFF2-40B4-BE49-F238E27FC236}">
                <a16:creationId xmlns:a16="http://schemas.microsoft.com/office/drawing/2014/main" id="{A9ADC293-893C-4643-B9CB-CAE285EA0A07}"/>
              </a:ext>
            </a:extLst>
          </p:cNvPr>
          <p:cNvSpPr>
            <a:spLocks noGrp="1"/>
          </p:cNvSpPr>
          <p:nvPr>
            <p:ph type="ftr" sz="quarter" idx="11"/>
          </p:nvPr>
        </p:nvSpPr>
        <p:spPr/>
        <p:txBody>
          <a:bodyPr/>
          <a:lstStyle/>
          <a:p>
            <a:pPr>
              <a:defRPr/>
            </a:pPr>
            <a:endParaRPr lang="en-US">
              <a:solidFill>
                <a:prstClr val="white">
                  <a:tint val="75000"/>
                </a:prstClr>
              </a:solidFill>
              <a:latin typeface="Calibri"/>
            </a:endParaRPr>
          </a:p>
        </p:txBody>
      </p:sp>
    </p:spTree>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1D735A8-AF00-498C-8198-15FB95044B18}"/>
              </a:ext>
            </a:extLst>
          </p:cNvPr>
          <p:cNvSpPr>
            <a:spLocks noGrp="1"/>
          </p:cNvSpPr>
          <p:nvPr>
            <p:ph type="title"/>
          </p:nvPr>
        </p:nvSpPr>
        <p:spPr/>
        <p:txBody>
          <a:bodyPr rtlCol="0">
            <a:normAutofit fontScale="90000"/>
          </a:bodyPr>
          <a:lstStyle/>
          <a:p>
            <a:pPr fontAlgn="auto">
              <a:spcAft>
                <a:spcPts val="0"/>
              </a:spcAft>
              <a:defRPr/>
            </a:pPr>
            <a:r>
              <a:rPr lang="en-US" dirty="0"/>
              <a:t>U.S. Federal Mandatory Disclosure:</a:t>
            </a:r>
            <a:br>
              <a:rPr lang="en-US" dirty="0"/>
            </a:br>
            <a:r>
              <a:rPr lang="en-US" dirty="0"/>
              <a:t>FAR 52.203-13</a:t>
            </a:r>
          </a:p>
        </p:txBody>
      </p:sp>
      <p:graphicFrame>
        <p:nvGraphicFramePr>
          <p:cNvPr id="7" name="Content Placeholder 6">
            <a:extLst>
              <a:ext uri="{FF2B5EF4-FFF2-40B4-BE49-F238E27FC236}">
                <a16:creationId xmlns:a16="http://schemas.microsoft.com/office/drawing/2014/main" id="{54D3C32A-7B14-401C-ACCE-548EFE110A1C}"/>
              </a:ext>
            </a:extLst>
          </p:cNvPr>
          <p:cNvGraphicFramePr>
            <a:graphicFrameLocks noGrp="1"/>
          </p:cNvGraphicFramePr>
          <p:nvPr>
            <p:ph idx="1"/>
          </p:nvPr>
        </p:nvGraphicFramePr>
        <p:xfrm>
          <a:off x="1981200" y="1600201"/>
          <a:ext cx="8229600" cy="452596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Footer Placeholder 3">
            <a:extLst>
              <a:ext uri="{FF2B5EF4-FFF2-40B4-BE49-F238E27FC236}">
                <a16:creationId xmlns:a16="http://schemas.microsoft.com/office/drawing/2014/main" id="{45FF6282-3061-4F46-B071-264C562983F7}"/>
              </a:ext>
            </a:extLst>
          </p:cNvPr>
          <p:cNvSpPr>
            <a:spLocks noGrp="1"/>
          </p:cNvSpPr>
          <p:nvPr>
            <p:ph type="ftr" sz="quarter" idx="11"/>
          </p:nvPr>
        </p:nvSpPr>
        <p:spPr/>
        <p:txBody>
          <a:bodyPr/>
          <a:lstStyle/>
          <a:p>
            <a:pPr>
              <a:defRPr/>
            </a:pPr>
            <a:endParaRPr lang="en-US">
              <a:solidFill>
                <a:prstClr val="white">
                  <a:tint val="75000"/>
                </a:prstClr>
              </a:solidFill>
              <a:latin typeface="Calibri"/>
            </a:endParaRPr>
          </a:p>
        </p:txBody>
      </p:sp>
      <p:sp>
        <p:nvSpPr>
          <p:cNvPr id="8" name="Right Arrow Callout 7">
            <a:extLst>
              <a:ext uri="{FF2B5EF4-FFF2-40B4-BE49-F238E27FC236}">
                <a16:creationId xmlns:a16="http://schemas.microsoft.com/office/drawing/2014/main" id="{02BC1C63-50F7-47FD-AAC9-2D34BC2055D9}"/>
              </a:ext>
            </a:extLst>
          </p:cNvPr>
          <p:cNvSpPr/>
          <p:nvPr/>
        </p:nvSpPr>
        <p:spPr>
          <a:xfrm>
            <a:off x="1981200" y="1905000"/>
            <a:ext cx="3505200" cy="4038600"/>
          </a:xfrm>
          <a:prstGeom prst="rightArrowCallou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buFont typeface="Arial" pitchFamily="34" charset="0"/>
              <a:buChar char="•"/>
              <a:defRPr/>
            </a:pPr>
            <a:r>
              <a:rPr lang="en-US" dirty="0">
                <a:solidFill>
                  <a:prstClr val="white"/>
                </a:solidFill>
                <a:latin typeface="Calibri"/>
              </a:rPr>
              <a:t> </a:t>
            </a:r>
            <a:r>
              <a:rPr lang="en-US" sz="2400" b="1" dirty="0">
                <a:solidFill>
                  <a:prstClr val="white"/>
                </a:solidFill>
                <a:latin typeface="Calibri"/>
              </a:rPr>
              <a:t>Report to Contracting Officer and Inspector General</a:t>
            </a:r>
          </a:p>
          <a:p>
            <a:pPr algn="ctr">
              <a:buFont typeface="Arial" pitchFamily="34" charset="0"/>
              <a:buChar char="•"/>
              <a:defRPr/>
            </a:pPr>
            <a:r>
              <a:rPr lang="en-US" sz="2400" b="1" dirty="0">
                <a:solidFill>
                  <a:prstClr val="white"/>
                </a:solidFill>
                <a:latin typeface="Calibri"/>
              </a:rPr>
              <a:t>  Failure to report: grounds for suspension or debarment</a:t>
            </a:r>
          </a:p>
        </p:txBody>
      </p:sp>
    </p:spTree>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TextBox 4">
            <a:extLst>
              <a:ext uri="{FF2B5EF4-FFF2-40B4-BE49-F238E27FC236}">
                <a16:creationId xmlns:a16="http://schemas.microsoft.com/office/drawing/2014/main" id="{35D06157-A09E-49DA-BB36-96B06EB659CB}"/>
              </a:ext>
            </a:extLst>
          </p:cNvPr>
          <p:cNvSpPr txBox="1">
            <a:spLocks noChangeArrowheads="1"/>
          </p:cNvSpPr>
          <p:nvPr/>
        </p:nvSpPr>
        <p:spPr bwMode="auto">
          <a:xfrm>
            <a:off x="6705600" y="304800"/>
            <a:ext cx="3733800" cy="2554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algn="r" fontAlgn="base">
              <a:spcBef>
                <a:spcPct val="0"/>
              </a:spcBef>
              <a:spcAft>
                <a:spcPct val="0"/>
              </a:spcAft>
            </a:pPr>
            <a:r>
              <a:rPr lang="en-US" altLang="en-US" sz="4000">
                <a:solidFill>
                  <a:srgbClr val="FFFF00"/>
                </a:solidFill>
                <a:cs typeface="Arial" panose="020B0604020202020204" pitchFamily="34" charset="0"/>
              </a:rPr>
              <a:t>World Bank Voluntary Disclosure Program</a:t>
            </a:r>
          </a:p>
        </p:txBody>
      </p:sp>
      <p:pic>
        <p:nvPicPr>
          <p:cNvPr id="35843" name="Picture 4">
            <a:extLst>
              <a:ext uri="{FF2B5EF4-FFF2-40B4-BE49-F238E27FC236}">
                <a16:creationId xmlns:a16="http://schemas.microsoft.com/office/drawing/2014/main" id="{AB683881-B7DA-4037-877E-A4D48DC46B1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828801" y="304801"/>
            <a:ext cx="4600575" cy="6315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5" name="Diagram 4">
            <a:extLst>
              <a:ext uri="{FF2B5EF4-FFF2-40B4-BE49-F238E27FC236}">
                <a16:creationId xmlns:a16="http://schemas.microsoft.com/office/drawing/2014/main" id="{E47BB0E1-1C47-4844-8900-8CCE76F551A9}"/>
              </a:ext>
            </a:extLst>
          </p:cNvPr>
          <p:cNvGraphicFramePr/>
          <p:nvPr/>
        </p:nvGraphicFramePr>
        <p:xfrm>
          <a:off x="4876800" y="2794000"/>
          <a:ext cx="6096000" cy="40640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6866" name="Picture 2">
            <a:extLst>
              <a:ext uri="{FF2B5EF4-FFF2-40B4-BE49-F238E27FC236}">
                <a16:creationId xmlns:a16="http://schemas.microsoft.com/office/drawing/2014/main" id="{6C556399-DF49-4A98-99F6-06B0E1B8170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752600" y="31750"/>
            <a:ext cx="5181600" cy="6705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867" name="TextBox 4">
            <a:extLst>
              <a:ext uri="{FF2B5EF4-FFF2-40B4-BE49-F238E27FC236}">
                <a16:creationId xmlns:a16="http://schemas.microsoft.com/office/drawing/2014/main" id="{BAEA91EC-E332-426F-956C-62A93092B50C}"/>
              </a:ext>
            </a:extLst>
          </p:cNvPr>
          <p:cNvSpPr txBox="1">
            <a:spLocks noChangeArrowheads="1"/>
          </p:cNvSpPr>
          <p:nvPr/>
        </p:nvSpPr>
        <p:spPr bwMode="auto">
          <a:xfrm>
            <a:off x="7620000" y="1600200"/>
            <a:ext cx="3048000" cy="2554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r>
              <a:rPr lang="en-US" altLang="en-US" sz="4000">
                <a:solidFill>
                  <a:srgbClr val="FFFF00"/>
                </a:solidFill>
                <a:cs typeface="Arial" panose="020B0604020202020204" pitchFamily="34" charset="0"/>
              </a:rPr>
              <a:t>World Bank Voluntary Disclosure Program</a:t>
            </a:r>
          </a:p>
        </p:txBody>
      </p:sp>
    </p:spTree>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Title 2">
            <a:extLst>
              <a:ext uri="{FF2B5EF4-FFF2-40B4-BE49-F238E27FC236}">
                <a16:creationId xmlns:a16="http://schemas.microsoft.com/office/drawing/2014/main" id="{B6650129-7C29-433F-BB5A-3700E0844309}"/>
              </a:ext>
            </a:extLst>
          </p:cNvPr>
          <p:cNvSpPr>
            <a:spLocks noGrp="1"/>
          </p:cNvSpPr>
          <p:nvPr>
            <p:ph type="title"/>
          </p:nvPr>
        </p:nvSpPr>
        <p:spPr/>
        <p:txBody>
          <a:bodyPr/>
          <a:lstStyle/>
          <a:p>
            <a:r>
              <a:rPr lang="en-US" altLang="en-US"/>
              <a:t>Combine?</a:t>
            </a:r>
          </a:p>
        </p:txBody>
      </p:sp>
      <p:sp>
        <p:nvSpPr>
          <p:cNvPr id="2" name="Footer Placeholder 1">
            <a:extLst>
              <a:ext uri="{FF2B5EF4-FFF2-40B4-BE49-F238E27FC236}">
                <a16:creationId xmlns:a16="http://schemas.microsoft.com/office/drawing/2014/main" id="{C96197EB-6EA4-4711-BCFB-8DBE283AB58B}"/>
              </a:ext>
            </a:extLst>
          </p:cNvPr>
          <p:cNvSpPr>
            <a:spLocks noGrp="1"/>
          </p:cNvSpPr>
          <p:nvPr>
            <p:ph type="ftr" sz="quarter" idx="11"/>
          </p:nvPr>
        </p:nvSpPr>
        <p:spPr/>
        <p:txBody>
          <a:bodyPr/>
          <a:lstStyle/>
          <a:p>
            <a:pPr>
              <a:defRPr/>
            </a:pPr>
            <a:endParaRPr lang="en-US">
              <a:solidFill>
                <a:prstClr val="white">
                  <a:tint val="75000"/>
                </a:prstClr>
              </a:solidFill>
              <a:latin typeface="Calibri"/>
            </a:endParaRPr>
          </a:p>
        </p:txBody>
      </p:sp>
      <p:graphicFrame>
        <p:nvGraphicFramePr>
          <p:cNvPr id="4" name="Diagram 3">
            <a:extLst>
              <a:ext uri="{FF2B5EF4-FFF2-40B4-BE49-F238E27FC236}">
                <a16:creationId xmlns:a16="http://schemas.microsoft.com/office/drawing/2014/main" id="{A0CE5315-71D8-4DCF-850D-9361610FC528}"/>
              </a:ext>
            </a:extLst>
          </p:cNvPr>
          <p:cNvGraphicFramePr/>
          <p:nvPr/>
        </p:nvGraphicFramePr>
        <p:xfrm>
          <a:off x="2971800" y="1371600"/>
          <a:ext cx="6172200" cy="49530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Title 2">
            <a:extLst>
              <a:ext uri="{FF2B5EF4-FFF2-40B4-BE49-F238E27FC236}">
                <a16:creationId xmlns:a16="http://schemas.microsoft.com/office/drawing/2014/main" id="{2FBB47A0-BCD5-477A-8717-CFD8D7243C3A}"/>
              </a:ext>
            </a:extLst>
          </p:cNvPr>
          <p:cNvSpPr>
            <a:spLocks noGrp="1"/>
          </p:cNvSpPr>
          <p:nvPr>
            <p:ph type="title"/>
          </p:nvPr>
        </p:nvSpPr>
        <p:spPr/>
        <p:txBody>
          <a:bodyPr/>
          <a:lstStyle/>
          <a:p>
            <a:r>
              <a:rPr lang="en-US" altLang="en-US"/>
              <a:t>Combine?</a:t>
            </a:r>
          </a:p>
        </p:txBody>
      </p:sp>
      <p:sp>
        <p:nvSpPr>
          <p:cNvPr id="2" name="Footer Placeholder 1">
            <a:extLst>
              <a:ext uri="{FF2B5EF4-FFF2-40B4-BE49-F238E27FC236}">
                <a16:creationId xmlns:a16="http://schemas.microsoft.com/office/drawing/2014/main" id="{59E7BE1D-0996-4667-BDB2-9166F2985B9D}"/>
              </a:ext>
            </a:extLst>
          </p:cNvPr>
          <p:cNvSpPr>
            <a:spLocks noGrp="1"/>
          </p:cNvSpPr>
          <p:nvPr>
            <p:ph type="ftr" sz="quarter" idx="11"/>
          </p:nvPr>
        </p:nvSpPr>
        <p:spPr/>
        <p:txBody>
          <a:bodyPr/>
          <a:lstStyle/>
          <a:p>
            <a:pPr>
              <a:defRPr/>
            </a:pPr>
            <a:endParaRPr lang="en-US">
              <a:solidFill>
                <a:prstClr val="white">
                  <a:tint val="75000"/>
                </a:prstClr>
              </a:solidFill>
              <a:latin typeface="Calibri"/>
            </a:endParaRPr>
          </a:p>
        </p:txBody>
      </p:sp>
      <p:graphicFrame>
        <p:nvGraphicFramePr>
          <p:cNvPr id="4" name="Diagram 3">
            <a:extLst>
              <a:ext uri="{FF2B5EF4-FFF2-40B4-BE49-F238E27FC236}">
                <a16:creationId xmlns:a16="http://schemas.microsoft.com/office/drawing/2014/main" id="{B54400E5-B730-4C84-B69A-6987E664A301}"/>
              </a:ext>
            </a:extLst>
          </p:cNvPr>
          <p:cNvGraphicFramePr/>
          <p:nvPr/>
        </p:nvGraphicFramePr>
        <p:xfrm>
          <a:off x="2971800" y="1371600"/>
          <a:ext cx="6172200" cy="49530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 name="Right Arrow Callout 4">
            <a:extLst>
              <a:ext uri="{FF2B5EF4-FFF2-40B4-BE49-F238E27FC236}">
                <a16:creationId xmlns:a16="http://schemas.microsoft.com/office/drawing/2014/main" id="{C78763AD-29D9-48E6-80D1-DF290C359852}"/>
              </a:ext>
            </a:extLst>
          </p:cNvPr>
          <p:cNvSpPr/>
          <p:nvPr/>
        </p:nvSpPr>
        <p:spPr>
          <a:xfrm>
            <a:off x="1524000" y="990600"/>
            <a:ext cx="2971800" cy="4419600"/>
          </a:xfrm>
          <a:prstGeom prst="rightArrowCallou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2400" b="1" dirty="0">
                <a:solidFill>
                  <a:prstClr val="white"/>
                </a:solidFill>
                <a:latin typeface="Calibri"/>
              </a:rPr>
              <a:t>Goal:</a:t>
            </a:r>
          </a:p>
          <a:p>
            <a:pPr algn="ctr">
              <a:defRPr/>
            </a:pPr>
            <a:endParaRPr lang="en-US" sz="2400" b="1" dirty="0">
              <a:solidFill>
                <a:prstClr val="white"/>
              </a:solidFill>
              <a:latin typeface="Calibri"/>
            </a:endParaRPr>
          </a:p>
          <a:p>
            <a:pPr algn="ctr">
              <a:defRPr/>
            </a:pPr>
            <a:r>
              <a:rPr lang="en-US" sz="2400" b="1" dirty="0">
                <a:solidFill>
                  <a:prstClr val="white"/>
                </a:solidFill>
                <a:latin typeface="Calibri"/>
              </a:rPr>
              <a:t>Reputation Risk?</a:t>
            </a:r>
          </a:p>
          <a:p>
            <a:pPr algn="ctr">
              <a:defRPr/>
            </a:pPr>
            <a:endParaRPr lang="en-US" sz="2400" b="1" dirty="0">
              <a:solidFill>
                <a:prstClr val="white"/>
              </a:solidFill>
              <a:latin typeface="Calibri"/>
            </a:endParaRPr>
          </a:p>
          <a:p>
            <a:pPr algn="ctr">
              <a:defRPr/>
            </a:pPr>
            <a:r>
              <a:rPr lang="en-US" sz="2400" b="1" dirty="0">
                <a:solidFill>
                  <a:prstClr val="white"/>
                </a:solidFill>
                <a:latin typeface="Calibri"/>
              </a:rPr>
              <a:t>Performance Risk?</a:t>
            </a:r>
          </a:p>
          <a:p>
            <a:pPr algn="ctr">
              <a:defRPr/>
            </a:pPr>
            <a:endParaRPr lang="en-US" sz="2400" b="1" dirty="0">
              <a:solidFill>
                <a:prstClr val="white"/>
              </a:solidFill>
              <a:latin typeface="Calibri"/>
            </a:endParaRPr>
          </a:p>
        </p:txBody>
      </p:sp>
    </p:spTree>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0546" name="Rectangle 2">
            <a:extLst>
              <a:ext uri="{FF2B5EF4-FFF2-40B4-BE49-F238E27FC236}">
                <a16:creationId xmlns:a16="http://schemas.microsoft.com/office/drawing/2014/main" id="{06D1772B-A6C6-447D-AE8D-A9E91AD72FF4}"/>
              </a:ext>
            </a:extLst>
          </p:cNvPr>
          <p:cNvSpPr>
            <a:spLocks noGrp="1" noChangeArrowheads="1"/>
          </p:cNvSpPr>
          <p:nvPr>
            <p:ph type="ctrTitle"/>
          </p:nvPr>
        </p:nvSpPr>
        <p:spPr>
          <a:solidFill>
            <a:schemeClr val="hlink"/>
          </a:solidFill>
        </p:spPr>
        <p:txBody>
          <a:bodyPr/>
          <a:lstStyle/>
          <a:p>
            <a:pPr eaLnBrk="1" hangingPunct="1">
              <a:defRPr/>
            </a:pPr>
            <a:r>
              <a:rPr lang="en-US" sz="3600" dirty="0">
                <a:solidFill>
                  <a:schemeClr val="bg1"/>
                </a:solidFill>
              </a:rPr>
              <a:t>Reverse Auctions</a:t>
            </a:r>
          </a:p>
        </p:txBody>
      </p:sp>
    </p:spTree>
  </p:cSld>
  <p:clrMapOvr>
    <a:masterClrMapping/>
  </p:clrMapOvr>
  <p:transition>
    <p:random/>
  </p:transition>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0114" name="Rectangle 2">
            <a:extLst>
              <a:ext uri="{FF2B5EF4-FFF2-40B4-BE49-F238E27FC236}">
                <a16:creationId xmlns:a16="http://schemas.microsoft.com/office/drawing/2014/main" id="{DE4C2031-91F1-4569-8681-D4C8FA8B1FD6}"/>
              </a:ext>
            </a:extLst>
          </p:cNvPr>
          <p:cNvSpPr>
            <a:spLocks noGrp="1" noRot="1" noChangeArrowheads="1"/>
          </p:cNvSpPr>
          <p:nvPr>
            <p:ph type="title"/>
          </p:nvPr>
        </p:nvSpPr>
        <p:spPr/>
        <p:txBody>
          <a:bodyPr/>
          <a:lstStyle/>
          <a:p>
            <a:pPr eaLnBrk="1" hangingPunct="1">
              <a:defRPr/>
            </a:pPr>
            <a:r>
              <a:rPr lang="en-US" sz="4000"/>
              <a:t>Assessing Electronic Procurement</a:t>
            </a:r>
          </a:p>
        </p:txBody>
      </p:sp>
      <p:sp>
        <p:nvSpPr>
          <p:cNvPr id="730115" name="Rectangle 3">
            <a:extLst>
              <a:ext uri="{FF2B5EF4-FFF2-40B4-BE49-F238E27FC236}">
                <a16:creationId xmlns:a16="http://schemas.microsoft.com/office/drawing/2014/main" id="{6E52E950-259E-4AB1-B178-C8C0831BBDBB}"/>
              </a:ext>
            </a:extLst>
          </p:cNvPr>
          <p:cNvSpPr>
            <a:spLocks noGrp="1" noChangeArrowheads="1"/>
          </p:cNvSpPr>
          <p:nvPr>
            <p:ph type="body" idx="1"/>
          </p:nvPr>
        </p:nvSpPr>
        <p:spPr/>
        <p:txBody>
          <a:bodyPr/>
          <a:lstStyle/>
          <a:p>
            <a:pPr eaLnBrk="1" hangingPunct="1">
              <a:defRPr/>
            </a:pPr>
            <a:r>
              <a:rPr lang="en-US" b="1"/>
              <a:t>More efficient?</a:t>
            </a:r>
          </a:p>
          <a:p>
            <a:pPr eaLnBrk="1" hangingPunct="1">
              <a:defRPr/>
            </a:pPr>
            <a:r>
              <a:rPr lang="en-US" b="1"/>
              <a:t>More transparent?</a:t>
            </a:r>
          </a:p>
          <a:p>
            <a:pPr eaLnBrk="1" hangingPunct="1">
              <a:defRPr/>
            </a:pPr>
            <a:r>
              <a:rPr lang="en-US" b="1"/>
              <a:t>Discriminatory?</a:t>
            </a:r>
          </a:p>
          <a:p>
            <a:pPr eaLnBrk="1" hangingPunct="1">
              <a:defRPr/>
            </a:pPr>
            <a:r>
              <a:rPr lang="en-US" b="1"/>
              <a:t>Ready source of comparative lessons?</a:t>
            </a:r>
          </a:p>
        </p:txBody>
      </p:sp>
    </p:spTree>
  </p:cSld>
  <p:clrMapOvr>
    <a:masterClrMapping/>
  </p:clrMapOvr>
  <p:transition>
    <p:random/>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42" name="Title 1">
            <a:extLst>
              <a:ext uri="{FF2B5EF4-FFF2-40B4-BE49-F238E27FC236}">
                <a16:creationId xmlns:a16="http://schemas.microsoft.com/office/drawing/2014/main" id="{4727CFCF-B40A-4908-85FE-70305919A894}"/>
              </a:ext>
            </a:extLst>
          </p:cNvPr>
          <p:cNvSpPr>
            <a:spLocks noGrp="1"/>
          </p:cNvSpPr>
          <p:nvPr>
            <p:ph type="title"/>
          </p:nvPr>
        </p:nvSpPr>
        <p:spPr>
          <a:xfrm>
            <a:off x="2246313" y="952501"/>
            <a:ext cx="7772400" cy="1362075"/>
          </a:xfrm>
        </p:spPr>
        <p:txBody>
          <a:bodyPr/>
          <a:lstStyle/>
          <a:p>
            <a:r>
              <a:rPr lang="en-US" altLang="en-US"/>
              <a:t>Reciprocal Defense Procurement Agreements</a:t>
            </a:r>
          </a:p>
        </p:txBody>
      </p:sp>
      <p:sp>
        <p:nvSpPr>
          <p:cNvPr id="3" name="Slide Number Placeholder 2">
            <a:extLst>
              <a:ext uri="{FF2B5EF4-FFF2-40B4-BE49-F238E27FC236}">
                <a16:creationId xmlns:a16="http://schemas.microsoft.com/office/drawing/2014/main" id="{A37D5EB0-600B-4887-96F6-4A64EB992AF4}"/>
              </a:ext>
            </a:extLst>
          </p:cNvPr>
          <p:cNvSpPr>
            <a:spLocks noGrp="1"/>
          </p:cNvSpPr>
          <p:nvPr>
            <p:ph type="sldNum" sz="quarter" idx="12"/>
          </p:nvPr>
        </p:nvSpPr>
        <p:spPr/>
        <p:txBody>
          <a:bodyPr/>
          <a:lstStyle>
            <a:lvl1pPr>
              <a:defRPr>
                <a:solidFill>
                  <a:schemeClr val="tx1"/>
                </a:solidFill>
                <a:latin typeface="Perpetua" panose="02020502060401020303" pitchFamily="18" charset="0"/>
              </a:defRPr>
            </a:lvl1pPr>
            <a:lvl2pPr marL="742950" indent="-285750">
              <a:defRPr>
                <a:solidFill>
                  <a:schemeClr val="tx1"/>
                </a:solidFill>
                <a:latin typeface="Perpetua" panose="02020502060401020303" pitchFamily="18" charset="0"/>
              </a:defRPr>
            </a:lvl2pPr>
            <a:lvl3pPr marL="1143000" indent="-228600">
              <a:defRPr>
                <a:solidFill>
                  <a:schemeClr val="tx1"/>
                </a:solidFill>
                <a:latin typeface="Perpetua" panose="02020502060401020303" pitchFamily="18" charset="0"/>
              </a:defRPr>
            </a:lvl3pPr>
            <a:lvl4pPr marL="1600200" indent="-228600">
              <a:defRPr>
                <a:solidFill>
                  <a:schemeClr val="tx1"/>
                </a:solidFill>
                <a:latin typeface="Perpetua" panose="02020502060401020303" pitchFamily="18" charset="0"/>
              </a:defRPr>
            </a:lvl4pPr>
            <a:lvl5pPr marL="2057400" indent="-228600">
              <a:defRPr>
                <a:solidFill>
                  <a:schemeClr val="tx1"/>
                </a:solidFill>
                <a:latin typeface="Perpetua" panose="02020502060401020303" pitchFamily="18" charset="0"/>
              </a:defRPr>
            </a:lvl5pPr>
            <a:lvl6pPr marL="2514600" indent="-228600" fontAlgn="base">
              <a:spcBef>
                <a:spcPct val="0"/>
              </a:spcBef>
              <a:spcAft>
                <a:spcPct val="0"/>
              </a:spcAft>
              <a:defRPr>
                <a:solidFill>
                  <a:schemeClr val="tx1"/>
                </a:solidFill>
                <a:latin typeface="Perpetua" panose="02020502060401020303" pitchFamily="18" charset="0"/>
              </a:defRPr>
            </a:lvl6pPr>
            <a:lvl7pPr marL="2971800" indent="-228600" fontAlgn="base">
              <a:spcBef>
                <a:spcPct val="0"/>
              </a:spcBef>
              <a:spcAft>
                <a:spcPct val="0"/>
              </a:spcAft>
              <a:defRPr>
                <a:solidFill>
                  <a:schemeClr val="tx1"/>
                </a:solidFill>
                <a:latin typeface="Perpetua" panose="02020502060401020303" pitchFamily="18" charset="0"/>
              </a:defRPr>
            </a:lvl7pPr>
            <a:lvl8pPr marL="3429000" indent="-228600" fontAlgn="base">
              <a:spcBef>
                <a:spcPct val="0"/>
              </a:spcBef>
              <a:spcAft>
                <a:spcPct val="0"/>
              </a:spcAft>
              <a:defRPr>
                <a:solidFill>
                  <a:schemeClr val="tx1"/>
                </a:solidFill>
                <a:latin typeface="Perpetua" panose="02020502060401020303" pitchFamily="18" charset="0"/>
              </a:defRPr>
            </a:lvl8pPr>
            <a:lvl9pPr marL="3886200" indent="-228600" fontAlgn="base">
              <a:spcBef>
                <a:spcPct val="0"/>
              </a:spcBef>
              <a:spcAft>
                <a:spcPct val="0"/>
              </a:spcAft>
              <a:defRPr>
                <a:solidFill>
                  <a:schemeClr val="tx1"/>
                </a:solidFill>
                <a:latin typeface="Perpetua" panose="02020502060401020303" pitchFamily="18" charset="0"/>
              </a:defRPr>
            </a:lvl9pPr>
          </a:lstStyle>
          <a:p>
            <a:pPr fontAlgn="base">
              <a:spcBef>
                <a:spcPct val="0"/>
              </a:spcBef>
              <a:spcAft>
                <a:spcPct val="0"/>
              </a:spcAft>
            </a:pPr>
            <a:fld id="{5E5724F8-12EB-4BF5-B6E1-416D730B29F6}" type="slidenum">
              <a:rPr lang="en-US" altLang="en-US">
                <a:solidFill>
                  <a:srgbClr val="FFFFFF"/>
                </a:solidFill>
                <a:latin typeface="Franklin Gothic Book" panose="020B0503020102020204" pitchFamily="34" charset="0"/>
                <a:cs typeface="Arial" panose="020B0604020202020204" pitchFamily="34" charset="0"/>
              </a:rPr>
              <a:pPr fontAlgn="base">
                <a:spcBef>
                  <a:spcPct val="0"/>
                </a:spcBef>
                <a:spcAft>
                  <a:spcPct val="0"/>
                </a:spcAft>
              </a:pPr>
              <a:t>7</a:t>
            </a:fld>
            <a:endParaRPr lang="en-US" altLang="en-US">
              <a:solidFill>
                <a:srgbClr val="FFFFFF"/>
              </a:solidFill>
              <a:latin typeface="Franklin Gothic Book" panose="020B0503020102020204" pitchFamily="34" charset="0"/>
              <a:cs typeface="Arial" panose="020B0604020202020204" pitchFamily="34" charset="0"/>
            </a:endParaRPr>
          </a:p>
        </p:txBody>
      </p:sp>
    </p:spTree>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6020" name="Rectangle 4">
            <a:extLst>
              <a:ext uri="{FF2B5EF4-FFF2-40B4-BE49-F238E27FC236}">
                <a16:creationId xmlns:a16="http://schemas.microsoft.com/office/drawing/2014/main" id="{9379A740-B80D-42B1-8378-E9CE216A6EB4}"/>
              </a:ext>
            </a:extLst>
          </p:cNvPr>
          <p:cNvSpPr>
            <a:spLocks noGrp="1" noRot="1" noChangeArrowheads="1"/>
          </p:cNvSpPr>
          <p:nvPr>
            <p:ph type="title"/>
          </p:nvPr>
        </p:nvSpPr>
        <p:spPr/>
        <p:txBody>
          <a:bodyPr/>
          <a:lstStyle/>
          <a:p>
            <a:pPr eaLnBrk="1" hangingPunct="1">
              <a:defRPr/>
            </a:pPr>
            <a:r>
              <a:rPr lang="en-US"/>
              <a:t>What Is a Reverse Auction?</a:t>
            </a:r>
          </a:p>
        </p:txBody>
      </p:sp>
      <p:pic>
        <p:nvPicPr>
          <p:cNvPr id="25603" name="Picture 6" descr="i">
            <a:extLst>
              <a:ext uri="{FF2B5EF4-FFF2-40B4-BE49-F238E27FC236}">
                <a16:creationId xmlns:a16="http://schemas.microsoft.com/office/drawing/2014/main" id="{505B73FF-DE1C-48A7-A8E2-47B3221C1F2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429000" y="1447801"/>
            <a:ext cx="5410200" cy="4803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p:random/>
  </p:transition>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Title 1">
            <a:extLst>
              <a:ext uri="{FF2B5EF4-FFF2-40B4-BE49-F238E27FC236}">
                <a16:creationId xmlns:a16="http://schemas.microsoft.com/office/drawing/2014/main" id="{231151B8-03B4-46E3-A5E7-9D5C141EBC6A}"/>
              </a:ext>
            </a:extLst>
          </p:cNvPr>
          <p:cNvSpPr>
            <a:spLocks noGrp="1"/>
          </p:cNvSpPr>
          <p:nvPr>
            <p:ph type="title"/>
          </p:nvPr>
        </p:nvSpPr>
        <p:spPr>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t"/>
          <a:lstStyle/>
          <a:p>
            <a:pPr eaLnBrk="1" hangingPunct="1">
              <a:defRPr/>
            </a:pPr>
            <a:endParaRPr lang="en-US" altLang="en-US"/>
          </a:p>
        </p:txBody>
      </p:sp>
      <p:pic>
        <p:nvPicPr>
          <p:cNvPr id="26627" name="Picture 2">
            <a:extLst>
              <a:ext uri="{FF2B5EF4-FFF2-40B4-BE49-F238E27FC236}">
                <a16:creationId xmlns:a16="http://schemas.microsoft.com/office/drawing/2014/main" id="{A6CF0226-30B7-466F-AC76-59CF559D504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24001" y="0"/>
            <a:ext cx="9193213"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p:random/>
  </p:transition>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A314D54-1B0F-464C-9186-3D2FBD0506EA}"/>
              </a:ext>
            </a:extLst>
          </p:cNvPr>
          <p:cNvSpPr>
            <a:spLocks noGrp="1"/>
          </p:cNvSpPr>
          <p:nvPr>
            <p:ph type="title"/>
          </p:nvPr>
        </p:nvSpPr>
        <p:spPr>
          <a:xfrm>
            <a:off x="1981200" y="228600"/>
            <a:ext cx="7924800" cy="1143000"/>
          </a:xfrm>
        </p:spPr>
        <p:txBody>
          <a:bodyPr/>
          <a:lstStyle/>
          <a:p>
            <a:pPr algn="l" eaLnBrk="1" hangingPunct="1">
              <a:defRPr/>
            </a:pPr>
            <a:r>
              <a:rPr lang="en-US" sz="2800" dirty="0"/>
              <a:t>Case study:  Georgia – </a:t>
            </a:r>
            <a:br>
              <a:rPr lang="en-US" sz="2800" dirty="0"/>
            </a:br>
            <a:r>
              <a:rPr lang="en-US" sz="2800" dirty="0"/>
              <a:t>Using E-Procurement To Combat Corruption</a:t>
            </a:r>
          </a:p>
        </p:txBody>
      </p:sp>
      <p:sp>
        <p:nvSpPr>
          <p:cNvPr id="26627" name="Content Placeholder 3">
            <a:extLst>
              <a:ext uri="{FF2B5EF4-FFF2-40B4-BE49-F238E27FC236}">
                <a16:creationId xmlns:a16="http://schemas.microsoft.com/office/drawing/2014/main" id="{DCAD79D8-72C0-4D84-ADC7-F889B1BF6BFC}"/>
              </a:ext>
            </a:extLst>
          </p:cNvPr>
          <p:cNvSpPr>
            <a:spLocks noGrp="1"/>
          </p:cNvSpPr>
          <p:nvPr>
            <p:ph idx="1"/>
          </p:nvPr>
        </p:nvSpPr>
        <p:spPr>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defRPr/>
            </a:pPr>
            <a:r>
              <a:rPr lang="en-US" altLang="en-US" sz="2800" b="1" dirty="0"/>
              <a:t>Link to presentation on Georgian e-procurement system:</a:t>
            </a:r>
          </a:p>
          <a:p>
            <a:pPr lvl="1" eaLnBrk="1" hangingPunct="1">
              <a:defRPr/>
            </a:pPr>
            <a:r>
              <a:rPr lang="en-US" altLang="en-US" sz="2400" b="1" dirty="0">
                <a:solidFill>
                  <a:srgbClr val="000000"/>
                </a:solidFill>
                <a:hlinkClick r:id="rId2"/>
              </a:rPr>
              <a:t>https://prezi.com/1yugudjld6rw/e-procurement-reform-in-georgia-everyone-sees-everything/</a:t>
            </a:r>
            <a:endParaRPr lang="en-US" altLang="en-US" sz="2400" b="1" dirty="0">
              <a:solidFill>
                <a:srgbClr val="000000"/>
              </a:solidFill>
            </a:endParaRPr>
          </a:p>
          <a:p>
            <a:pPr eaLnBrk="1" hangingPunct="1">
              <a:defRPr/>
            </a:pPr>
            <a:r>
              <a:rPr lang="en-US" altLang="en-US" sz="2800" b="1" dirty="0"/>
              <a:t>Transparency International – Georgia report on e-procurement system:</a:t>
            </a:r>
          </a:p>
          <a:p>
            <a:pPr lvl="1" eaLnBrk="1" hangingPunct="1">
              <a:defRPr/>
            </a:pPr>
            <a:r>
              <a:rPr lang="en-US" altLang="en-US" sz="2400" b="1" dirty="0">
                <a:solidFill>
                  <a:srgbClr val="000000"/>
                </a:solidFill>
                <a:hlinkClick r:id="rId3"/>
              </a:rPr>
              <a:t>http://www.transparency.ge/en/node/3117</a:t>
            </a:r>
            <a:endParaRPr lang="en-US" altLang="en-US" sz="2400" b="1" dirty="0">
              <a:solidFill>
                <a:srgbClr val="000000"/>
              </a:solidFill>
            </a:endParaRPr>
          </a:p>
          <a:p>
            <a:pPr eaLnBrk="1" hangingPunct="1">
              <a:defRPr/>
            </a:pPr>
            <a:endParaRPr lang="en-US" altLang="en-US" dirty="0"/>
          </a:p>
        </p:txBody>
      </p:sp>
      <p:pic>
        <p:nvPicPr>
          <p:cNvPr id="27652" name="Picture 5" descr="Flag of Georgia">
            <a:extLst>
              <a:ext uri="{FF2B5EF4-FFF2-40B4-BE49-F238E27FC236}">
                <a16:creationId xmlns:a16="http://schemas.microsoft.com/office/drawing/2014/main" id="{18060AE7-34A8-450A-97C1-0EB9A064EF1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447213" y="5029200"/>
            <a:ext cx="2744787" cy="1828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653" name="Picture 2">
            <a:extLst>
              <a:ext uri="{FF2B5EF4-FFF2-40B4-BE49-F238E27FC236}">
                <a16:creationId xmlns:a16="http://schemas.microsoft.com/office/drawing/2014/main" id="{0F762D3B-2D7A-4B4C-82ED-465240A1F23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438400" y="4800601"/>
            <a:ext cx="4191000" cy="1389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p:random/>
  </p:transition>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B2C3B3-E9A2-4372-BF9A-20BD77413903}"/>
              </a:ext>
            </a:extLst>
          </p:cNvPr>
          <p:cNvSpPr>
            <a:spLocks noGrp="1"/>
          </p:cNvSpPr>
          <p:nvPr>
            <p:ph type="title"/>
          </p:nvPr>
        </p:nvSpPr>
        <p:spPr/>
        <p:txBody>
          <a:bodyPr/>
          <a:lstStyle/>
          <a:p>
            <a:pPr eaLnBrk="1" hangingPunct="1">
              <a:defRPr/>
            </a:pPr>
            <a:r>
              <a:rPr lang="en-US" dirty="0"/>
              <a:t>Georgia E-Procurement</a:t>
            </a:r>
          </a:p>
        </p:txBody>
      </p:sp>
      <p:sp>
        <p:nvSpPr>
          <p:cNvPr id="3" name="Content Placeholder 2">
            <a:extLst>
              <a:ext uri="{FF2B5EF4-FFF2-40B4-BE49-F238E27FC236}">
                <a16:creationId xmlns:a16="http://schemas.microsoft.com/office/drawing/2014/main" id="{975713B0-84BD-4327-B5FE-213956BB2608}"/>
              </a:ext>
            </a:extLst>
          </p:cNvPr>
          <p:cNvSpPr>
            <a:spLocks noGrp="1"/>
          </p:cNvSpPr>
          <p:nvPr>
            <p:ph idx="1"/>
          </p:nvPr>
        </p:nvSpPr>
        <p:spPr/>
        <p:txBody>
          <a:bodyPr/>
          <a:lstStyle/>
          <a:p>
            <a:pPr eaLnBrk="1" hangingPunct="1">
              <a:defRPr/>
            </a:pPr>
            <a:endParaRPr lang="en-US"/>
          </a:p>
        </p:txBody>
      </p:sp>
      <p:pic>
        <p:nvPicPr>
          <p:cNvPr id="28676" name="Picture 2">
            <a:extLst>
              <a:ext uri="{FF2B5EF4-FFF2-40B4-BE49-F238E27FC236}">
                <a16:creationId xmlns:a16="http://schemas.microsoft.com/office/drawing/2014/main" id="{62911845-D55D-4AA1-B356-3CA3780535A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24001" y="1371600"/>
            <a:ext cx="8963025" cy="54864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cSld>
  <p:clrMapOvr>
    <a:masterClrMapping/>
  </p:clrMapOvr>
  <p:transition>
    <p:random/>
  </p:transition>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023BD7-0F63-451B-8C15-34B05CF270B8}"/>
              </a:ext>
            </a:extLst>
          </p:cNvPr>
          <p:cNvSpPr>
            <a:spLocks noGrp="1"/>
          </p:cNvSpPr>
          <p:nvPr>
            <p:ph type="title"/>
          </p:nvPr>
        </p:nvSpPr>
        <p:spPr>
          <a:xfrm>
            <a:off x="1943100" y="152400"/>
            <a:ext cx="8229600" cy="1143000"/>
          </a:xfrm>
        </p:spPr>
        <p:txBody>
          <a:bodyPr/>
          <a:lstStyle/>
          <a:p>
            <a:pPr eaLnBrk="1" hangingPunct="1">
              <a:defRPr/>
            </a:pPr>
            <a:r>
              <a:rPr lang="en-US" dirty="0"/>
              <a:t>Sample Georgian Auction</a:t>
            </a:r>
          </a:p>
        </p:txBody>
      </p:sp>
      <p:sp>
        <p:nvSpPr>
          <p:cNvPr id="3" name="Content Placeholder 2">
            <a:extLst>
              <a:ext uri="{FF2B5EF4-FFF2-40B4-BE49-F238E27FC236}">
                <a16:creationId xmlns:a16="http://schemas.microsoft.com/office/drawing/2014/main" id="{3CB08208-F8B7-4C98-AA92-C5628EA27621}"/>
              </a:ext>
            </a:extLst>
          </p:cNvPr>
          <p:cNvSpPr>
            <a:spLocks noGrp="1"/>
          </p:cNvSpPr>
          <p:nvPr>
            <p:ph idx="1"/>
          </p:nvPr>
        </p:nvSpPr>
        <p:spPr/>
        <p:txBody>
          <a:bodyPr/>
          <a:lstStyle/>
          <a:p>
            <a:pPr eaLnBrk="1" hangingPunct="1">
              <a:defRPr/>
            </a:pPr>
            <a:endParaRPr lang="en-US"/>
          </a:p>
        </p:txBody>
      </p:sp>
      <p:pic>
        <p:nvPicPr>
          <p:cNvPr id="29700" name="Picture 2">
            <a:extLst>
              <a:ext uri="{FF2B5EF4-FFF2-40B4-BE49-F238E27FC236}">
                <a16:creationId xmlns:a16="http://schemas.microsoft.com/office/drawing/2014/main" id="{0B7274B6-C2DB-4970-973C-51E17CD86BA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24000" y="1143000"/>
            <a:ext cx="9067800" cy="56784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cSld>
  <p:clrMapOvr>
    <a:masterClrMapping/>
  </p:clrMapOvr>
  <p:transition>
    <p:random/>
  </p:transition>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3602" name="Rectangle 2">
            <a:extLst>
              <a:ext uri="{FF2B5EF4-FFF2-40B4-BE49-F238E27FC236}">
                <a16:creationId xmlns:a16="http://schemas.microsoft.com/office/drawing/2014/main" id="{9B78ABE7-4BFE-4CCC-AC00-CBA851A0549F}"/>
              </a:ext>
            </a:extLst>
          </p:cNvPr>
          <p:cNvSpPr>
            <a:spLocks noGrp="1" noRot="1" noChangeArrowheads="1"/>
          </p:cNvSpPr>
          <p:nvPr>
            <p:ph type="title"/>
          </p:nvPr>
        </p:nvSpPr>
        <p:spPr/>
        <p:txBody>
          <a:bodyPr/>
          <a:lstStyle/>
          <a:p>
            <a:pPr eaLnBrk="1" hangingPunct="1">
              <a:defRPr/>
            </a:pPr>
            <a:r>
              <a:rPr lang="en-US" sz="4000"/>
              <a:t>The U.S. Rule on Reverse Auctions</a:t>
            </a:r>
          </a:p>
        </p:txBody>
      </p:sp>
    </p:spTree>
  </p:cSld>
  <p:clrMapOvr>
    <a:masterClrMapping/>
  </p:clrMapOvr>
  <p:transition>
    <p:random/>
  </p:transition>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762" name="Rectangle 2">
            <a:extLst>
              <a:ext uri="{FF2B5EF4-FFF2-40B4-BE49-F238E27FC236}">
                <a16:creationId xmlns:a16="http://schemas.microsoft.com/office/drawing/2014/main" id="{2F339E20-336C-46FE-B6F6-0F3D9018AE26}"/>
              </a:ext>
            </a:extLst>
          </p:cNvPr>
          <p:cNvSpPr>
            <a:spLocks noGrp="1" noRot="1" noChangeArrowheads="1"/>
          </p:cNvSpPr>
          <p:nvPr>
            <p:ph type="title"/>
          </p:nvPr>
        </p:nvSpPr>
        <p:spPr/>
        <p:txBody>
          <a:bodyPr/>
          <a:lstStyle/>
          <a:p>
            <a:pPr eaLnBrk="1" hangingPunct="1">
              <a:defRPr/>
            </a:pPr>
            <a:r>
              <a:rPr lang="en-GB"/>
              <a:t>Which types of auction can be used? </a:t>
            </a:r>
            <a:endParaRPr lang="en-US"/>
          </a:p>
        </p:txBody>
      </p:sp>
      <p:sp>
        <p:nvSpPr>
          <p:cNvPr id="757763" name="Rectangle 3">
            <a:extLst>
              <a:ext uri="{FF2B5EF4-FFF2-40B4-BE49-F238E27FC236}">
                <a16:creationId xmlns:a16="http://schemas.microsoft.com/office/drawing/2014/main" id="{A02D9F99-B5E5-4609-A7AD-EE965706E2A4}"/>
              </a:ext>
            </a:extLst>
          </p:cNvPr>
          <p:cNvSpPr>
            <a:spLocks noGrp="1" noChangeArrowheads="1"/>
          </p:cNvSpPr>
          <p:nvPr>
            <p:ph type="body" idx="1"/>
          </p:nvPr>
        </p:nvSpPr>
        <p:spPr/>
        <p:txBody>
          <a:bodyPr/>
          <a:lstStyle/>
          <a:p>
            <a:pPr eaLnBrk="1" hangingPunct="1">
              <a:defRPr/>
            </a:pPr>
            <a:r>
              <a:rPr lang="en-GB"/>
              <a:t>Type 1 – allowed; is the most common in UK</a:t>
            </a:r>
          </a:p>
          <a:p>
            <a:pPr lvl="1" eaLnBrk="1" hangingPunct="1">
              <a:defRPr/>
            </a:pPr>
            <a:r>
              <a:rPr lang="en-GB"/>
              <a:t>winning tender is chosen based solely on the auction phase (usually price only)</a:t>
            </a:r>
          </a:p>
          <a:p>
            <a:pPr lvl="1" eaLnBrk="1" hangingPunct="1">
              <a:defRPr/>
            </a:pPr>
            <a:r>
              <a:rPr lang="en-GB"/>
              <a:t> winner (usually lowest price) is apparent to participants during the auction process  </a:t>
            </a:r>
          </a:p>
          <a:p>
            <a:pPr eaLnBrk="1" hangingPunct="1">
              <a:defRPr/>
            </a:pPr>
            <a:endParaRPr lang="en-US"/>
          </a:p>
        </p:txBody>
      </p:sp>
      <p:sp>
        <p:nvSpPr>
          <p:cNvPr id="31748" name="Oval 4">
            <a:extLst>
              <a:ext uri="{FF2B5EF4-FFF2-40B4-BE49-F238E27FC236}">
                <a16:creationId xmlns:a16="http://schemas.microsoft.com/office/drawing/2014/main" id="{19D10398-9D36-4CF7-A9B0-50793731481F}"/>
              </a:ext>
            </a:extLst>
          </p:cNvPr>
          <p:cNvSpPr>
            <a:spLocks noChangeArrowheads="1"/>
          </p:cNvSpPr>
          <p:nvPr/>
        </p:nvSpPr>
        <p:spPr bwMode="auto">
          <a:xfrm>
            <a:off x="1905000" y="5105400"/>
            <a:ext cx="4343400" cy="1752600"/>
          </a:xfrm>
          <a:prstGeom prst="ellipse">
            <a:avLst/>
          </a:prstGeom>
          <a:solidFill>
            <a:schemeClr val="accent1"/>
          </a:solidFill>
          <a:ln w="9525">
            <a:solidFill>
              <a:schemeClr val="tx1"/>
            </a:solidFill>
            <a:round/>
            <a:headEnd/>
            <a:tailEnd/>
          </a:ln>
        </p:spPr>
        <p:txBody>
          <a:bodyPr wrap="none" anchor="ctr"/>
          <a:lstStyle>
            <a:lvl1pPr eaLnBrk="0" hangingPunct="0">
              <a:spcBef>
                <a:spcPct val="20000"/>
              </a:spcBef>
              <a:buClr>
                <a:schemeClr val="hlink"/>
              </a:buClr>
              <a:buSzPct val="70000"/>
              <a:buFont typeface="Wingdings" panose="05000000000000000000" pitchFamily="2" charset="2"/>
              <a:buChar char="n"/>
              <a:defRPr sz="3200">
                <a:solidFill>
                  <a:schemeClr val="tx1"/>
                </a:solidFill>
                <a:latin typeface="Garamond" panose="02020404030301010803" pitchFamily="18" charset="0"/>
              </a:defRPr>
            </a:lvl1pPr>
            <a:lvl2pPr marL="742950" indent="-285750" eaLnBrk="0" hangingPunct="0">
              <a:spcBef>
                <a:spcPct val="20000"/>
              </a:spcBef>
              <a:buClr>
                <a:schemeClr val="accent2"/>
              </a:buClr>
              <a:buSzPct val="70000"/>
              <a:buFont typeface="Wingdings" panose="05000000000000000000" pitchFamily="2" charset="2"/>
              <a:buChar char="n"/>
              <a:defRPr sz="2800">
                <a:solidFill>
                  <a:schemeClr val="tx1"/>
                </a:solidFill>
                <a:latin typeface="Garamond" panose="02020404030301010803" pitchFamily="18" charset="0"/>
              </a:defRPr>
            </a:lvl2pPr>
            <a:lvl3pPr marL="1143000" indent="-228600" eaLnBrk="0" hangingPunct="0">
              <a:spcBef>
                <a:spcPct val="20000"/>
              </a:spcBef>
              <a:buClr>
                <a:schemeClr val="tx2"/>
              </a:buClr>
              <a:buSzPct val="70000"/>
              <a:buFont typeface="Wingdings" panose="05000000000000000000" pitchFamily="2" charset="2"/>
              <a:buChar char="n"/>
              <a:defRPr sz="2400">
                <a:solidFill>
                  <a:schemeClr val="tx1"/>
                </a:solidFill>
                <a:latin typeface="Garamond" panose="02020404030301010803" pitchFamily="18" charset="0"/>
              </a:defRPr>
            </a:lvl3pPr>
            <a:lvl4pPr marL="1600200" indent="-228600" eaLnBrk="0" hangingPunct="0">
              <a:spcBef>
                <a:spcPct val="20000"/>
              </a:spcBef>
              <a:buClr>
                <a:schemeClr val="accent2"/>
              </a:buClr>
              <a:buSzPct val="70000"/>
              <a:buFont typeface="Wingdings" panose="05000000000000000000" pitchFamily="2" charset="2"/>
              <a:buChar char="n"/>
              <a:defRPr sz="2000">
                <a:solidFill>
                  <a:schemeClr val="tx1"/>
                </a:solidFill>
                <a:latin typeface="Garamond" panose="02020404030301010803" pitchFamily="18" charset="0"/>
              </a:defRPr>
            </a:lvl4pPr>
            <a:lvl5pPr marL="2057400" indent="-228600" eaLnBrk="0" hangingPunct="0">
              <a:spcBef>
                <a:spcPct val="20000"/>
              </a:spcBef>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5pPr>
            <a:lvl6pPr marL="25146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6pPr>
            <a:lvl7pPr marL="29718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7pPr>
            <a:lvl8pPr marL="34290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8pPr>
            <a:lvl9pPr marL="38862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9pPr>
          </a:lstStyle>
          <a:p>
            <a:pPr algn="ctr" eaLnBrk="1" fontAlgn="base" hangingPunct="1">
              <a:spcBef>
                <a:spcPct val="0"/>
              </a:spcBef>
              <a:spcAft>
                <a:spcPct val="0"/>
              </a:spcAft>
              <a:buClrTx/>
              <a:buSzTx/>
              <a:buNone/>
            </a:pPr>
            <a:r>
              <a:rPr lang="en-US" altLang="en-US" b="1">
                <a:solidFill>
                  <a:srgbClr val="FFFFFF"/>
                </a:solidFill>
                <a:cs typeface="Arial" panose="020B0604020202020204" pitchFamily="34" charset="0"/>
              </a:rPr>
              <a:t>European Perspective</a:t>
            </a:r>
          </a:p>
          <a:p>
            <a:pPr algn="ctr" eaLnBrk="1" fontAlgn="base" hangingPunct="1">
              <a:spcBef>
                <a:spcPct val="0"/>
              </a:spcBef>
              <a:spcAft>
                <a:spcPct val="0"/>
              </a:spcAft>
              <a:buClrTx/>
              <a:buSzTx/>
              <a:buNone/>
            </a:pPr>
            <a:r>
              <a:rPr lang="en-US" altLang="en-US" b="1">
                <a:solidFill>
                  <a:srgbClr val="FFFFFF"/>
                </a:solidFill>
                <a:cs typeface="Arial" panose="020B0604020202020204" pitchFamily="34" charset="0"/>
              </a:rPr>
              <a:t>- Sue Arrowsmith</a:t>
            </a:r>
          </a:p>
        </p:txBody>
      </p:sp>
    </p:spTree>
  </p:cSld>
  <p:clrMapOvr>
    <a:masterClrMapping/>
  </p:clrMapOvr>
  <p:transition>
    <p:random/>
  </p:transition>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8786" name="Rectangle 2">
            <a:extLst>
              <a:ext uri="{FF2B5EF4-FFF2-40B4-BE49-F238E27FC236}">
                <a16:creationId xmlns:a16="http://schemas.microsoft.com/office/drawing/2014/main" id="{57432F2B-FE9D-473E-B6D9-46216A9E0D12}"/>
              </a:ext>
            </a:extLst>
          </p:cNvPr>
          <p:cNvSpPr>
            <a:spLocks noGrp="1" noRot="1" noChangeArrowheads="1"/>
          </p:cNvSpPr>
          <p:nvPr>
            <p:ph type="title"/>
          </p:nvPr>
        </p:nvSpPr>
        <p:spPr/>
        <p:txBody>
          <a:bodyPr/>
          <a:lstStyle/>
          <a:p>
            <a:pPr eaLnBrk="1" hangingPunct="1">
              <a:defRPr/>
            </a:pPr>
            <a:r>
              <a:rPr lang="en-GB"/>
              <a:t>Which types of auction can be used?</a:t>
            </a:r>
            <a:endParaRPr lang="en-US"/>
          </a:p>
        </p:txBody>
      </p:sp>
      <p:sp>
        <p:nvSpPr>
          <p:cNvPr id="758787" name="Rectangle 3">
            <a:extLst>
              <a:ext uri="{FF2B5EF4-FFF2-40B4-BE49-F238E27FC236}">
                <a16:creationId xmlns:a16="http://schemas.microsoft.com/office/drawing/2014/main" id="{9CD5B8E5-3965-4F6A-A90F-083720896456}"/>
              </a:ext>
            </a:extLst>
          </p:cNvPr>
          <p:cNvSpPr>
            <a:spLocks noGrp="1" noChangeArrowheads="1"/>
          </p:cNvSpPr>
          <p:nvPr>
            <p:ph type="body" idx="1"/>
          </p:nvPr>
        </p:nvSpPr>
        <p:spPr/>
        <p:txBody>
          <a:bodyPr/>
          <a:lstStyle/>
          <a:p>
            <a:pPr eaLnBrk="1" hangingPunct="1">
              <a:defRPr/>
            </a:pPr>
            <a:r>
              <a:rPr lang="en-GB"/>
              <a:t>Type 2 – allowed</a:t>
            </a:r>
          </a:p>
          <a:p>
            <a:pPr eaLnBrk="1" hangingPunct="1">
              <a:buFont typeface="Wingdings" panose="05000000000000000000" pitchFamily="2" charset="2"/>
              <a:buNone/>
              <a:defRPr/>
            </a:pPr>
            <a:endParaRPr lang="en-GB"/>
          </a:p>
          <a:p>
            <a:pPr lvl="1" eaLnBrk="1" hangingPunct="1">
              <a:defRPr/>
            </a:pPr>
            <a:r>
              <a:rPr lang="en-GB"/>
              <a:t>award is based on aspects of tenders assessed before the auction (e.g.quality) </a:t>
            </a:r>
            <a:r>
              <a:rPr lang="en-GB" i="1"/>
              <a:t>and </a:t>
            </a:r>
            <a:r>
              <a:rPr lang="en-GB"/>
              <a:t>on the auction (where usually only price only is subject to change)</a:t>
            </a:r>
          </a:p>
          <a:p>
            <a:pPr lvl="1" eaLnBrk="1" hangingPunct="1">
              <a:defRPr/>
            </a:pPr>
            <a:r>
              <a:rPr lang="en-GB"/>
              <a:t>winner is apparent during the auction process</a:t>
            </a:r>
          </a:p>
          <a:p>
            <a:pPr eaLnBrk="1" hangingPunct="1">
              <a:defRPr/>
            </a:pPr>
            <a:endParaRPr lang="en-US"/>
          </a:p>
        </p:txBody>
      </p:sp>
      <p:sp>
        <p:nvSpPr>
          <p:cNvPr id="32772" name="Oval 4">
            <a:extLst>
              <a:ext uri="{FF2B5EF4-FFF2-40B4-BE49-F238E27FC236}">
                <a16:creationId xmlns:a16="http://schemas.microsoft.com/office/drawing/2014/main" id="{611CA784-7384-4B2D-9965-3B4D8297A2B7}"/>
              </a:ext>
            </a:extLst>
          </p:cNvPr>
          <p:cNvSpPr>
            <a:spLocks noChangeArrowheads="1"/>
          </p:cNvSpPr>
          <p:nvPr/>
        </p:nvSpPr>
        <p:spPr bwMode="auto">
          <a:xfrm>
            <a:off x="1905000" y="5105400"/>
            <a:ext cx="4343400" cy="1752600"/>
          </a:xfrm>
          <a:prstGeom prst="ellipse">
            <a:avLst/>
          </a:prstGeom>
          <a:solidFill>
            <a:schemeClr val="accent1"/>
          </a:solidFill>
          <a:ln w="9525">
            <a:solidFill>
              <a:schemeClr val="tx1"/>
            </a:solidFill>
            <a:round/>
            <a:headEnd/>
            <a:tailEnd/>
          </a:ln>
        </p:spPr>
        <p:txBody>
          <a:bodyPr wrap="none" anchor="ctr"/>
          <a:lstStyle>
            <a:lvl1pPr eaLnBrk="0" hangingPunct="0">
              <a:spcBef>
                <a:spcPct val="20000"/>
              </a:spcBef>
              <a:buClr>
                <a:schemeClr val="hlink"/>
              </a:buClr>
              <a:buSzPct val="70000"/>
              <a:buFont typeface="Wingdings" panose="05000000000000000000" pitchFamily="2" charset="2"/>
              <a:buChar char="n"/>
              <a:defRPr sz="3200">
                <a:solidFill>
                  <a:schemeClr val="tx1"/>
                </a:solidFill>
                <a:latin typeface="Garamond" panose="02020404030301010803" pitchFamily="18" charset="0"/>
              </a:defRPr>
            </a:lvl1pPr>
            <a:lvl2pPr marL="742950" indent="-285750" eaLnBrk="0" hangingPunct="0">
              <a:spcBef>
                <a:spcPct val="20000"/>
              </a:spcBef>
              <a:buClr>
                <a:schemeClr val="accent2"/>
              </a:buClr>
              <a:buSzPct val="70000"/>
              <a:buFont typeface="Wingdings" panose="05000000000000000000" pitchFamily="2" charset="2"/>
              <a:buChar char="n"/>
              <a:defRPr sz="2800">
                <a:solidFill>
                  <a:schemeClr val="tx1"/>
                </a:solidFill>
                <a:latin typeface="Garamond" panose="02020404030301010803" pitchFamily="18" charset="0"/>
              </a:defRPr>
            </a:lvl2pPr>
            <a:lvl3pPr marL="1143000" indent="-228600" eaLnBrk="0" hangingPunct="0">
              <a:spcBef>
                <a:spcPct val="20000"/>
              </a:spcBef>
              <a:buClr>
                <a:schemeClr val="tx2"/>
              </a:buClr>
              <a:buSzPct val="70000"/>
              <a:buFont typeface="Wingdings" panose="05000000000000000000" pitchFamily="2" charset="2"/>
              <a:buChar char="n"/>
              <a:defRPr sz="2400">
                <a:solidFill>
                  <a:schemeClr val="tx1"/>
                </a:solidFill>
                <a:latin typeface="Garamond" panose="02020404030301010803" pitchFamily="18" charset="0"/>
              </a:defRPr>
            </a:lvl3pPr>
            <a:lvl4pPr marL="1600200" indent="-228600" eaLnBrk="0" hangingPunct="0">
              <a:spcBef>
                <a:spcPct val="20000"/>
              </a:spcBef>
              <a:buClr>
                <a:schemeClr val="accent2"/>
              </a:buClr>
              <a:buSzPct val="70000"/>
              <a:buFont typeface="Wingdings" panose="05000000000000000000" pitchFamily="2" charset="2"/>
              <a:buChar char="n"/>
              <a:defRPr sz="2000">
                <a:solidFill>
                  <a:schemeClr val="tx1"/>
                </a:solidFill>
                <a:latin typeface="Garamond" panose="02020404030301010803" pitchFamily="18" charset="0"/>
              </a:defRPr>
            </a:lvl4pPr>
            <a:lvl5pPr marL="2057400" indent="-228600" eaLnBrk="0" hangingPunct="0">
              <a:spcBef>
                <a:spcPct val="20000"/>
              </a:spcBef>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5pPr>
            <a:lvl6pPr marL="25146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6pPr>
            <a:lvl7pPr marL="29718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7pPr>
            <a:lvl8pPr marL="34290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8pPr>
            <a:lvl9pPr marL="38862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9pPr>
          </a:lstStyle>
          <a:p>
            <a:pPr algn="ctr" eaLnBrk="1" fontAlgn="base" hangingPunct="1">
              <a:spcBef>
                <a:spcPct val="0"/>
              </a:spcBef>
              <a:spcAft>
                <a:spcPct val="0"/>
              </a:spcAft>
              <a:buClrTx/>
              <a:buSzTx/>
              <a:buNone/>
            </a:pPr>
            <a:r>
              <a:rPr lang="en-US" altLang="en-US" b="1">
                <a:solidFill>
                  <a:srgbClr val="FFFFFF"/>
                </a:solidFill>
                <a:cs typeface="Arial" panose="020B0604020202020204" pitchFamily="34" charset="0"/>
              </a:rPr>
              <a:t>European Perspective</a:t>
            </a:r>
          </a:p>
          <a:p>
            <a:pPr algn="ctr" eaLnBrk="1" fontAlgn="base" hangingPunct="1">
              <a:spcBef>
                <a:spcPct val="0"/>
              </a:spcBef>
              <a:spcAft>
                <a:spcPct val="0"/>
              </a:spcAft>
              <a:buClrTx/>
              <a:buSzTx/>
              <a:buNone/>
            </a:pPr>
            <a:r>
              <a:rPr lang="en-US" altLang="en-US" b="1">
                <a:solidFill>
                  <a:srgbClr val="FFFFFF"/>
                </a:solidFill>
                <a:cs typeface="Arial" panose="020B0604020202020204" pitchFamily="34" charset="0"/>
              </a:rPr>
              <a:t>- Sue Arrowsmith</a:t>
            </a:r>
          </a:p>
        </p:txBody>
      </p:sp>
    </p:spTree>
  </p:cSld>
  <p:clrMapOvr>
    <a:masterClrMapping/>
  </p:clrMapOvr>
  <p:transition>
    <p:random/>
  </p:transition>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1858" name="Rectangle 2">
            <a:extLst>
              <a:ext uri="{FF2B5EF4-FFF2-40B4-BE49-F238E27FC236}">
                <a16:creationId xmlns:a16="http://schemas.microsoft.com/office/drawing/2014/main" id="{1575E2BE-66E4-4215-86EF-F357B8B71F64}"/>
              </a:ext>
            </a:extLst>
          </p:cNvPr>
          <p:cNvSpPr>
            <a:spLocks noGrp="1" noRot="1" noChangeArrowheads="1"/>
          </p:cNvSpPr>
          <p:nvPr>
            <p:ph type="title"/>
          </p:nvPr>
        </p:nvSpPr>
        <p:spPr/>
        <p:txBody>
          <a:bodyPr/>
          <a:lstStyle/>
          <a:p>
            <a:pPr eaLnBrk="1" hangingPunct="1">
              <a:defRPr/>
            </a:pPr>
            <a:r>
              <a:rPr lang="en-GB"/>
              <a:t>Which types of auction can be used?</a:t>
            </a:r>
            <a:endParaRPr lang="en-US"/>
          </a:p>
        </p:txBody>
      </p:sp>
      <p:sp>
        <p:nvSpPr>
          <p:cNvPr id="761859" name="Rectangle 3">
            <a:extLst>
              <a:ext uri="{FF2B5EF4-FFF2-40B4-BE49-F238E27FC236}">
                <a16:creationId xmlns:a16="http://schemas.microsoft.com/office/drawing/2014/main" id="{79964A28-2EA3-4C05-AF25-5EB7FCDF84F6}"/>
              </a:ext>
            </a:extLst>
          </p:cNvPr>
          <p:cNvSpPr>
            <a:spLocks noGrp="1" noChangeArrowheads="1"/>
          </p:cNvSpPr>
          <p:nvPr>
            <p:ph type="body" idx="1"/>
          </p:nvPr>
        </p:nvSpPr>
        <p:spPr/>
        <p:txBody>
          <a:bodyPr/>
          <a:lstStyle/>
          <a:p>
            <a:pPr eaLnBrk="1" hangingPunct="1">
              <a:defRPr/>
            </a:pPr>
            <a:r>
              <a:rPr lang="en-GB" sz="2800" dirty="0"/>
              <a:t>Type 3 – not allowed under directives at all; was rare before new directives </a:t>
            </a:r>
            <a:r>
              <a:rPr lang="en-GB" sz="2800" i="1" dirty="0"/>
              <a:t>except </a:t>
            </a:r>
            <a:r>
              <a:rPr lang="en-GB" sz="2800" dirty="0"/>
              <a:t>for utilities</a:t>
            </a:r>
          </a:p>
          <a:p>
            <a:pPr lvl="1" eaLnBrk="1" hangingPunct="1">
              <a:defRPr/>
            </a:pPr>
            <a:endParaRPr lang="en-GB" sz="2400" dirty="0"/>
          </a:p>
          <a:p>
            <a:pPr lvl="1" eaLnBrk="1" hangingPunct="1">
              <a:defRPr/>
            </a:pPr>
            <a:r>
              <a:rPr lang="en-GB" sz="2400" dirty="0"/>
              <a:t>As in type 2, award is based on aspects of tenders not changed in the auction (e.g. quality) </a:t>
            </a:r>
            <a:r>
              <a:rPr lang="en-GB" sz="2400" i="1" dirty="0"/>
              <a:t>and</a:t>
            </a:r>
            <a:r>
              <a:rPr lang="en-GB" sz="2400" dirty="0"/>
              <a:t> on the auction</a:t>
            </a:r>
          </a:p>
          <a:p>
            <a:pPr lvl="1" eaLnBrk="1" hangingPunct="1">
              <a:defRPr/>
            </a:pPr>
            <a:r>
              <a:rPr lang="en-GB" sz="2400" dirty="0"/>
              <a:t>winner is </a:t>
            </a:r>
            <a:r>
              <a:rPr lang="en-GB" sz="2400" i="1" dirty="0"/>
              <a:t>not </a:t>
            </a:r>
            <a:r>
              <a:rPr lang="en-GB" sz="2400" dirty="0"/>
              <a:t>apparent during the auction process (e.g. quality is judged </a:t>
            </a:r>
            <a:r>
              <a:rPr lang="en-GB" sz="2400" i="1" dirty="0"/>
              <a:t>after</a:t>
            </a:r>
            <a:r>
              <a:rPr lang="en-GB" sz="2400" dirty="0"/>
              <a:t> the auction and then an overall judgment made on price/quality)</a:t>
            </a:r>
          </a:p>
          <a:p>
            <a:pPr eaLnBrk="1" hangingPunct="1">
              <a:defRPr/>
            </a:pPr>
            <a:endParaRPr lang="en-US" sz="2800" dirty="0"/>
          </a:p>
        </p:txBody>
      </p:sp>
      <p:sp>
        <p:nvSpPr>
          <p:cNvPr id="33796" name="Oval 4">
            <a:extLst>
              <a:ext uri="{FF2B5EF4-FFF2-40B4-BE49-F238E27FC236}">
                <a16:creationId xmlns:a16="http://schemas.microsoft.com/office/drawing/2014/main" id="{82F37109-7639-4B4C-8526-DB8F793928E1}"/>
              </a:ext>
            </a:extLst>
          </p:cNvPr>
          <p:cNvSpPr>
            <a:spLocks noChangeArrowheads="1"/>
          </p:cNvSpPr>
          <p:nvPr/>
        </p:nvSpPr>
        <p:spPr bwMode="auto">
          <a:xfrm>
            <a:off x="5715000" y="5105400"/>
            <a:ext cx="4343400" cy="1752600"/>
          </a:xfrm>
          <a:prstGeom prst="ellipse">
            <a:avLst/>
          </a:prstGeom>
          <a:solidFill>
            <a:schemeClr val="accent1"/>
          </a:solidFill>
          <a:ln w="9525">
            <a:solidFill>
              <a:schemeClr val="tx1"/>
            </a:solidFill>
            <a:round/>
            <a:headEnd/>
            <a:tailEnd/>
          </a:ln>
        </p:spPr>
        <p:txBody>
          <a:bodyPr wrap="none" anchor="ctr"/>
          <a:lstStyle>
            <a:lvl1pPr eaLnBrk="0" hangingPunct="0">
              <a:spcBef>
                <a:spcPct val="20000"/>
              </a:spcBef>
              <a:buClr>
                <a:schemeClr val="hlink"/>
              </a:buClr>
              <a:buSzPct val="70000"/>
              <a:buFont typeface="Wingdings" panose="05000000000000000000" pitchFamily="2" charset="2"/>
              <a:buChar char="n"/>
              <a:defRPr sz="3200">
                <a:solidFill>
                  <a:schemeClr val="tx1"/>
                </a:solidFill>
                <a:latin typeface="Garamond" panose="02020404030301010803" pitchFamily="18" charset="0"/>
              </a:defRPr>
            </a:lvl1pPr>
            <a:lvl2pPr marL="742950" indent="-285750" eaLnBrk="0" hangingPunct="0">
              <a:spcBef>
                <a:spcPct val="20000"/>
              </a:spcBef>
              <a:buClr>
                <a:schemeClr val="accent2"/>
              </a:buClr>
              <a:buSzPct val="70000"/>
              <a:buFont typeface="Wingdings" panose="05000000000000000000" pitchFamily="2" charset="2"/>
              <a:buChar char="n"/>
              <a:defRPr sz="2800">
                <a:solidFill>
                  <a:schemeClr val="tx1"/>
                </a:solidFill>
                <a:latin typeface="Garamond" panose="02020404030301010803" pitchFamily="18" charset="0"/>
              </a:defRPr>
            </a:lvl2pPr>
            <a:lvl3pPr marL="1143000" indent="-228600" eaLnBrk="0" hangingPunct="0">
              <a:spcBef>
                <a:spcPct val="20000"/>
              </a:spcBef>
              <a:buClr>
                <a:schemeClr val="tx2"/>
              </a:buClr>
              <a:buSzPct val="70000"/>
              <a:buFont typeface="Wingdings" panose="05000000000000000000" pitchFamily="2" charset="2"/>
              <a:buChar char="n"/>
              <a:defRPr sz="2400">
                <a:solidFill>
                  <a:schemeClr val="tx1"/>
                </a:solidFill>
                <a:latin typeface="Garamond" panose="02020404030301010803" pitchFamily="18" charset="0"/>
              </a:defRPr>
            </a:lvl3pPr>
            <a:lvl4pPr marL="1600200" indent="-228600" eaLnBrk="0" hangingPunct="0">
              <a:spcBef>
                <a:spcPct val="20000"/>
              </a:spcBef>
              <a:buClr>
                <a:schemeClr val="accent2"/>
              </a:buClr>
              <a:buSzPct val="70000"/>
              <a:buFont typeface="Wingdings" panose="05000000000000000000" pitchFamily="2" charset="2"/>
              <a:buChar char="n"/>
              <a:defRPr sz="2000">
                <a:solidFill>
                  <a:schemeClr val="tx1"/>
                </a:solidFill>
                <a:latin typeface="Garamond" panose="02020404030301010803" pitchFamily="18" charset="0"/>
              </a:defRPr>
            </a:lvl4pPr>
            <a:lvl5pPr marL="2057400" indent="-228600" eaLnBrk="0" hangingPunct="0">
              <a:spcBef>
                <a:spcPct val="20000"/>
              </a:spcBef>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5pPr>
            <a:lvl6pPr marL="25146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6pPr>
            <a:lvl7pPr marL="29718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7pPr>
            <a:lvl8pPr marL="34290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8pPr>
            <a:lvl9pPr marL="38862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9pPr>
          </a:lstStyle>
          <a:p>
            <a:pPr algn="ctr" eaLnBrk="1" fontAlgn="base" hangingPunct="1">
              <a:spcBef>
                <a:spcPct val="0"/>
              </a:spcBef>
              <a:spcAft>
                <a:spcPct val="0"/>
              </a:spcAft>
              <a:buClrTx/>
              <a:buSzTx/>
              <a:buNone/>
            </a:pPr>
            <a:r>
              <a:rPr lang="en-US" altLang="en-US" b="1">
                <a:solidFill>
                  <a:srgbClr val="FFFFFF"/>
                </a:solidFill>
                <a:cs typeface="Arial" panose="020B0604020202020204" pitchFamily="34" charset="0"/>
              </a:rPr>
              <a:t>European Perspective</a:t>
            </a:r>
          </a:p>
          <a:p>
            <a:pPr algn="ctr" eaLnBrk="1" fontAlgn="base" hangingPunct="1">
              <a:spcBef>
                <a:spcPct val="0"/>
              </a:spcBef>
              <a:spcAft>
                <a:spcPct val="0"/>
              </a:spcAft>
              <a:buClrTx/>
              <a:buSzTx/>
              <a:buNone/>
            </a:pPr>
            <a:r>
              <a:rPr lang="en-US" altLang="en-US" b="1">
                <a:solidFill>
                  <a:srgbClr val="FFFFFF"/>
                </a:solidFill>
                <a:cs typeface="Arial" panose="020B0604020202020204" pitchFamily="34" charset="0"/>
              </a:rPr>
              <a:t>- Sue Arrowsmith</a:t>
            </a:r>
          </a:p>
        </p:txBody>
      </p:sp>
    </p:spTree>
  </p:cSld>
  <p:clrMapOvr>
    <a:masterClrMapping/>
  </p:clrMapOvr>
  <p:transition>
    <p:random/>
  </p:transition>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4386" name="Rectangle 2">
            <a:extLst>
              <a:ext uri="{FF2B5EF4-FFF2-40B4-BE49-F238E27FC236}">
                <a16:creationId xmlns:a16="http://schemas.microsoft.com/office/drawing/2014/main" id="{D5D09777-590F-406E-B94F-E86B19304A88}"/>
              </a:ext>
            </a:extLst>
          </p:cNvPr>
          <p:cNvSpPr>
            <a:spLocks noGrp="1" noRot="1" noChangeArrowheads="1"/>
          </p:cNvSpPr>
          <p:nvPr>
            <p:ph type="title"/>
          </p:nvPr>
        </p:nvSpPr>
        <p:spPr/>
        <p:txBody>
          <a:bodyPr/>
          <a:lstStyle/>
          <a:p>
            <a:pPr eaLnBrk="1" hangingPunct="1">
              <a:defRPr/>
            </a:pPr>
            <a:r>
              <a:rPr lang="en-US" sz="4000"/>
              <a:t>European Union Directive – Cont’d</a:t>
            </a:r>
          </a:p>
        </p:txBody>
      </p:sp>
      <p:sp>
        <p:nvSpPr>
          <p:cNvPr id="784387" name="Rectangle 3">
            <a:extLst>
              <a:ext uri="{FF2B5EF4-FFF2-40B4-BE49-F238E27FC236}">
                <a16:creationId xmlns:a16="http://schemas.microsoft.com/office/drawing/2014/main" id="{3923D916-7607-4ECC-85A9-57B41EF0654C}"/>
              </a:ext>
            </a:extLst>
          </p:cNvPr>
          <p:cNvSpPr>
            <a:spLocks noGrp="1" noChangeArrowheads="1"/>
          </p:cNvSpPr>
          <p:nvPr>
            <p:ph type="body" idx="1"/>
          </p:nvPr>
        </p:nvSpPr>
        <p:spPr/>
        <p:txBody>
          <a:bodyPr/>
          <a:lstStyle/>
          <a:p>
            <a:pPr eaLnBrk="1" hangingPunct="1">
              <a:lnSpc>
                <a:spcPct val="80000"/>
              </a:lnSpc>
              <a:buFont typeface="Wingdings" panose="05000000000000000000" pitchFamily="2" charset="2"/>
              <a:buNone/>
              <a:defRPr/>
            </a:pPr>
            <a:r>
              <a:rPr lang="en-US" dirty="0">
                <a:solidFill>
                  <a:schemeClr val="hlink"/>
                </a:solidFill>
              </a:rPr>
              <a:t>The electronic auction shall be based:</a:t>
            </a:r>
          </a:p>
          <a:p>
            <a:pPr eaLnBrk="1" hangingPunct="1">
              <a:lnSpc>
                <a:spcPct val="80000"/>
              </a:lnSpc>
              <a:buFont typeface="Wingdings" panose="05000000000000000000" pitchFamily="2" charset="2"/>
              <a:buNone/>
              <a:defRPr/>
            </a:pPr>
            <a:r>
              <a:rPr lang="en-US" dirty="0"/>
              <a:t>- </a:t>
            </a:r>
            <a:r>
              <a:rPr lang="en-US" u="sng" dirty="0"/>
              <a:t>either solely on prices</a:t>
            </a:r>
            <a:r>
              <a:rPr lang="en-US" dirty="0"/>
              <a:t> when the contract is awarded to the lowest price,</a:t>
            </a:r>
          </a:p>
          <a:p>
            <a:pPr eaLnBrk="1" hangingPunct="1">
              <a:lnSpc>
                <a:spcPct val="80000"/>
              </a:lnSpc>
              <a:buFont typeface="Wingdings" panose="05000000000000000000" pitchFamily="2" charset="2"/>
              <a:buNone/>
              <a:defRPr/>
            </a:pPr>
            <a:r>
              <a:rPr lang="en-US" dirty="0"/>
              <a:t>- or </a:t>
            </a:r>
            <a:r>
              <a:rPr lang="en-US" u="sng" dirty="0"/>
              <a:t>on prices and/or on the new values of the features of the tenders indicated in the specification when the contract is awarded to the most economically advantageous tender</a:t>
            </a:r>
            <a:r>
              <a:rPr lang="en-US" dirty="0"/>
              <a:t>.</a:t>
            </a:r>
          </a:p>
        </p:txBody>
      </p:sp>
    </p:spTree>
  </p:cSld>
  <p:clrMapOvr>
    <a:masterClrMapping/>
  </p:clrMapOvr>
  <p:transition>
    <p:random/>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8" name="Title 1">
            <a:extLst>
              <a:ext uri="{FF2B5EF4-FFF2-40B4-BE49-F238E27FC236}">
                <a16:creationId xmlns:a16="http://schemas.microsoft.com/office/drawing/2014/main" id="{14E2A5D8-E713-4264-ADEC-A81ACAE3A180}"/>
              </a:ext>
            </a:extLst>
          </p:cNvPr>
          <p:cNvSpPr>
            <a:spLocks noGrp="1"/>
          </p:cNvSpPr>
          <p:nvPr>
            <p:ph type="title"/>
          </p:nvPr>
        </p:nvSpPr>
        <p:spPr>
          <a:xfrm>
            <a:off x="1752600" y="152400"/>
            <a:ext cx="8229600" cy="1143000"/>
          </a:xfrm>
        </p:spPr>
        <p:txBody>
          <a:bodyPr>
            <a:normAutofit fontScale="90000"/>
          </a:bodyPr>
          <a:lstStyle/>
          <a:p>
            <a:pPr fontAlgn="auto">
              <a:spcAft>
                <a:spcPts val="0"/>
              </a:spcAft>
              <a:defRPr/>
            </a:pPr>
            <a:r>
              <a:rPr lang="en-US" altLang="en-US" sz="3600"/>
              <a:t>Defense Department Memoranda of Understanding with “Qualifying” Countries</a:t>
            </a:r>
          </a:p>
        </p:txBody>
      </p:sp>
      <p:sp>
        <p:nvSpPr>
          <p:cNvPr id="3" name="Content Placeholder 2">
            <a:extLst>
              <a:ext uri="{FF2B5EF4-FFF2-40B4-BE49-F238E27FC236}">
                <a16:creationId xmlns:a16="http://schemas.microsoft.com/office/drawing/2014/main" id="{0724887A-99A2-48C0-9D44-8FCAF989A173}"/>
              </a:ext>
            </a:extLst>
          </p:cNvPr>
          <p:cNvSpPr>
            <a:spLocks noGrp="1"/>
          </p:cNvSpPr>
          <p:nvPr>
            <p:ph idx="1"/>
          </p:nvPr>
        </p:nvSpPr>
        <p:spPr>
          <a:xfrm>
            <a:off x="1981200" y="1295400"/>
            <a:ext cx="8229600" cy="5105400"/>
          </a:xfrm>
        </p:spPr>
        <p:txBody>
          <a:bodyPr rtlCol="0">
            <a:normAutofit fontScale="32500" lnSpcReduction="20000"/>
          </a:bodyPr>
          <a:lstStyle/>
          <a:p>
            <a:pPr marL="274320" indent="-274320" fontAlgn="auto">
              <a:spcBef>
                <a:spcPts val="580"/>
              </a:spcBef>
              <a:spcAft>
                <a:spcPts val="0"/>
              </a:spcAft>
              <a:buFont typeface="Wingdings 2"/>
              <a:buChar char=""/>
              <a:defRPr/>
            </a:pPr>
            <a:r>
              <a:rPr lang="en-US" dirty="0"/>
              <a:t>             Australia</a:t>
            </a:r>
          </a:p>
          <a:p>
            <a:pPr marL="274320" indent="-274320" fontAlgn="auto">
              <a:spcBef>
                <a:spcPts val="580"/>
              </a:spcBef>
              <a:spcAft>
                <a:spcPts val="0"/>
              </a:spcAft>
              <a:buFont typeface="Wingdings 2"/>
              <a:buChar char=""/>
              <a:defRPr/>
            </a:pPr>
            <a:r>
              <a:rPr lang="en-US" dirty="0"/>
              <a:t>              Austria</a:t>
            </a:r>
          </a:p>
          <a:p>
            <a:pPr marL="274320" indent="-274320" fontAlgn="auto">
              <a:spcBef>
                <a:spcPts val="580"/>
              </a:spcBef>
              <a:spcAft>
                <a:spcPts val="0"/>
              </a:spcAft>
              <a:buFont typeface="Wingdings 2"/>
              <a:buChar char=""/>
              <a:defRPr/>
            </a:pPr>
            <a:r>
              <a:rPr lang="en-US" dirty="0"/>
              <a:t>              Belgium</a:t>
            </a:r>
          </a:p>
          <a:p>
            <a:pPr marL="274320" indent="-274320" fontAlgn="auto">
              <a:spcBef>
                <a:spcPts val="580"/>
              </a:spcBef>
              <a:spcAft>
                <a:spcPts val="0"/>
              </a:spcAft>
              <a:buFont typeface="Wingdings 2"/>
              <a:buChar char=""/>
              <a:defRPr/>
            </a:pPr>
            <a:r>
              <a:rPr lang="en-US" dirty="0"/>
              <a:t>              Canada</a:t>
            </a:r>
          </a:p>
          <a:p>
            <a:pPr marL="274320" indent="-274320" fontAlgn="auto">
              <a:spcBef>
                <a:spcPts val="580"/>
              </a:spcBef>
              <a:spcAft>
                <a:spcPts val="0"/>
              </a:spcAft>
              <a:buFont typeface="Wingdings 2"/>
              <a:buChar char=""/>
              <a:defRPr/>
            </a:pPr>
            <a:r>
              <a:rPr lang="en-US" dirty="0"/>
              <a:t>              Czech Republic</a:t>
            </a:r>
          </a:p>
          <a:p>
            <a:pPr marL="274320" indent="-274320" fontAlgn="auto">
              <a:spcBef>
                <a:spcPts val="580"/>
              </a:spcBef>
              <a:spcAft>
                <a:spcPts val="0"/>
              </a:spcAft>
              <a:buFont typeface="Wingdings 2"/>
              <a:buChar char=""/>
              <a:defRPr/>
            </a:pPr>
            <a:r>
              <a:rPr lang="en-US" dirty="0"/>
              <a:t>              Denmark</a:t>
            </a:r>
          </a:p>
          <a:p>
            <a:pPr marL="274320" indent="-274320" fontAlgn="auto">
              <a:spcBef>
                <a:spcPts val="580"/>
              </a:spcBef>
              <a:spcAft>
                <a:spcPts val="0"/>
              </a:spcAft>
              <a:buFont typeface="Wingdings 2"/>
              <a:buChar char=""/>
              <a:defRPr/>
            </a:pPr>
            <a:r>
              <a:rPr lang="en-US" dirty="0"/>
              <a:t>              Egypt</a:t>
            </a:r>
          </a:p>
          <a:p>
            <a:pPr marL="274320" indent="-274320" fontAlgn="auto">
              <a:spcBef>
                <a:spcPts val="580"/>
              </a:spcBef>
              <a:spcAft>
                <a:spcPts val="0"/>
              </a:spcAft>
              <a:buFont typeface="Wingdings 2"/>
              <a:buChar char=""/>
              <a:defRPr/>
            </a:pPr>
            <a:r>
              <a:rPr lang="en-US" dirty="0"/>
              <a:t>              Estonia</a:t>
            </a:r>
          </a:p>
          <a:p>
            <a:pPr marL="274320" indent="-274320" fontAlgn="auto">
              <a:spcBef>
                <a:spcPts val="580"/>
              </a:spcBef>
              <a:spcAft>
                <a:spcPts val="0"/>
              </a:spcAft>
              <a:buFont typeface="Wingdings 2"/>
              <a:buChar char=""/>
              <a:defRPr/>
            </a:pPr>
            <a:r>
              <a:rPr lang="en-US" dirty="0"/>
              <a:t>              Finland</a:t>
            </a:r>
          </a:p>
          <a:p>
            <a:pPr marL="274320" indent="-274320" fontAlgn="auto">
              <a:spcBef>
                <a:spcPts val="580"/>
              </a:spcBef>
              <a:spcAft>
                <a:spcPts val="0"/>
              </a:spcAft>
              <a:buFont typeface="Wingdings 2"/>
              <a:buChar char=""/>
              <a:defRPr/>
            </a:pPr>
            <a:r>
              <a:rPr lang="en-US" dirty="0"/>
              <a:t>              France</a:t>
            </a:r>
          </a:p>
          <a:p>
            <a:pPr marL="274320" indent="-274320" fontAlgn="auto">
              <a:spcBef>
                <a:spcPts val="580"/>
              </a:spcBef>
              <a:spcAft>
                <a:spcPts val="0"/>
              </a:spcAft>
              <a:buFont typeface="Wingdings 2"/>
              <a:buChar char=""/>
              <a:defRPr/>
            </a:pPr>
            <a:r>
              <a:rPr lang="en-US" dirty="0"/>
              <a:t>              Germany</a:t>
            </a:r>
          </a:p>
          <a:p>
            <a:pPr marL="274320" indent="-274320" fontAlgn="auto">
              <a:spcBef>
                <a:spcPts val="580"/>
              </a:spcBef>
              <a:spcAft>
                <a:spcPts val="0"/>
              </a:spcAft>
              <a:buFont typeface="Wingdings 2"/>
              <a:buChar char=""/>
              <a:defRPr/>
            </a:pPr>
            <a:r>
              <a:rPr lang="en-US" dirty="0"/>
              <a:t>              Greece</a:t>
            </a:r>
          </a:p>
          <a:p>
            <a:pPr marL="274320" indent="-274320" fontAlgn="auto">
              <a:spcBef>
                <a:spcPts val="580"/>
              </a:spcBef>
              <a:spcAft>
                <a:spcPts val="0"/>
              </a:spcAft>
              <a:buFont typeface="Wingdings 2"/>
              <a:buChar char=""/>
              <a:defRPr/>
            </a:pPr>
            <a:r>
              <a:rPr lang="en-US" dirty="0"/>
              <a:t>              Israel</a:t>
            </a:r>
          </a:p>
          <a:p>
            <a:pPr marL="274320" indent="-274320" fontAlgn="auto">
              <a:spcBef>
                <a:spcPts val="580"/>
              </a:spcBef>
              <a:spcAft>
                <a:spcPts val="0"/>
              </a:spcAft>
              <a:buFont typeface="Wingdings 2"/>
              <a:buChar char=""/>
              <a:defRPr/>
            </a:pPr>
            <a:r>
              <a:rPr lang="en-US" dirty="0"/>
              <a:t>              Italy</a:t>
            </a:r>
          </a:p>
          <a:p>
            <a:pPr marL="274320" indent="-274320" fontAlgn="auto">
              <a:spcBef>
                <a:spcPts val="580"/>
              </a:spcBef>
              <a:spcAft>
                <a:spcPts val="0"/>
              </a:spcAft>
              <a:buFont typeface="Wingdings 2"/>
              <a:buChar char=""/>
              <a:defRPr/>
            </a:pPr>
            <a:r>
              <a:rPr lang="en-US" dirty="0"/>
              <a:t>              Japan</a:t>
            </a:r>
          </a:p>
          <a:p>
            <a:pPr marL="274320" indent="-274320" fontAlgn="auto">
              <a:spcBef>
                <a:spcPts val="580"/>
              </a:spcBef>
              <a:spcAft>
                <a:spcPts val="0"/>
              </a:spcAft>
              <a:buFont typeface="Wingdings 2"/>
              <a:buChar char=""/>
              <a:defRPr/>
            </a:pPr>
            <a:r>
              <a:rPr lang="en-US" dirty="0"/>
              <a:t>              Latvia</a:t>
            </a:r>
          </a:p>
          <a:p>
            <a:pPr marL="274320" indent="-274320" fontAlgn="auto">
              <a:spcBef>
                <a:spcPts val="580"/>
              </a:spcBef>
              <a:spcAft>
                <a:spcPts val="0"/>
              </a:spcAft>
              <a:buFont typeface="Wingdings 2"/>
              <a:buChar char=""/>
              <a:defRPr/>
            </a:pPr>
            <a:r>
              <a:rPr lang="en-US" dirty="0"/>
              <a:t>              Luxembourg</a:t>
            </a:r>
          </a:p>
          <a:p>
            <a:pPr marL="274320" indent="-274320" fontAlgn="auto">
              <a:spcBef>
                <a:spcPts val="580"/>
              </a:spcBef>
              <a:spcAft>
                <a:spcPts val="0"/>
              </a:spcAft>
              <a:buFont typeface="Wingdings 2"/>
              <a:buChar char=""/>
              <a:defRPr/>
            </a:pPr>
            <a:r>
              <a:rPr lang="en-US" dirty="0"/>
              <a:t>              Netherlands</a:t>
            </a:r>
          </a:p>
          <a:p>
            <a:pPr marL="274320" indent="-274320" fontAlgn="auto">
              <a:spcBef>
                <a:spcPts val="580"/>
              </a:spcBef>
              <a:spcAft>
                <a:spcPts val="0"/>
              </a:spcAft>
              <a:buFont typeface="Wingdings 2"/>
              <a:buChar char=""/>
              <a:defRPr/>
            </a:pPr>
            <a:r>
              <a:rPr lang="en-US" dirty="0"/>
              <a:t>              Norway</a:t>
            </a:r>
          </a:p>
          <a:p>
            <a:pPr marL="274320" indent="-274320" fontAlgn="auto">
              <a:spcBef>
                <a:spcPts val="580"/>
              </a:spcBef>
              <a:spcAft>
                <a:spcPts val="0"/>
              </a:spcAft>
              <a:buFont typeface="Wingdings 2"/>
              <a:buChar char=""/>
              <a:defRPr/>
            </a:pPr>
            <a:r>
              <a:rPr lang="en-US" dirty="0"/>
              <a:t>              Poland</a:t>
            </a:r>
          </a:p>
          <a:p>
            <a:pPr marL="274320" indent="-274320" fontAlgn="auto">
              <a:spcBef>
                <a:spcPts val="580"/>
              </a:spcBef>
              <a:spcAft>
                <a:spcPts val="0"/>
              </a:spcAft>
              <a:buFont typeface="Wingdings 2"/>
              <a:buChar char=""/>
              <a:defRPr/>
            </a:pPr>
            <a:r>
              <a:rPr lang="en-US" dirty="0"/>
              <a:t>              Portugal</a:t>
            </a:r>
          </a:p>
          <a:p>
            <a:pPr marL="274320" indent="-274320" fontAlgn="auto">
              <a:spcBef>
                <a:spcPts val="580"/>
              </a:spcBef>
              <a:spcAft>
                <a:spcPts val="0"/>
              </a:spcAft>
              <a:buFont typeface="Wingdings 2"/>
              <a:buChar char=""/>
              <a:defRPr/>
            </a:pPr>
            <a:r>
              <a:rPr lang="en-US" dirty="0"/>
              <a:t>              Slovenia</a:t>
            </a:r>
          </a:p>
          <a:p>
            <a:pPr marL="274320" indent="-274320" fontAlgn="auto">
              <a:spcBef>
                <a:spcPts val="580"/>
              </a:spcBef>
              <a:spcAft>
                <a:spcPts val="0"/>
              </a:spcAft>
              <a:buFont typeface="Wingdings 2"/>
              <a:buChar char=""/>
              <a:defRPr/>
            </a:pPr>
            <a:r>
              <a:rPr lang="en-US" dirty="0"/>
              <a:t>              Spain</a:t>
            </a:r>
          </a:p>
          <a:p>
            <a:pPr marL="274320" indent="-274320" fontAlgn="auto">
              <a:spcBef>
                <a:spcPts val="580"/>
              </a:spcBef>
              <a:spcAft>
                <a:spcPts val="0"/>
              </a:spcAft>
              <a:buFont typeface="Wingdings 2"/>
              <a:buChar char=""/>
              <a:defRPr/>
            </a:pPr>
            <a:r>
              <a:rPr lang="en-US" dirty="0"/>
              <a:t>              Sweden</a:t>
            </a:r>
          </a:p>
          <a:p>
            <a:pPr marL="274320" indent="-274320" fontAlgn="auto">
              <a:spcBef>
                <a:spcPts val="580"/>
              </a:spcBef>
              <a:spcAft>
                <a:spcPts val="0"/>
              </a:spcAft>
              <a:buFont typeface="Wingdings 2"/>
              <a:buChar char=""/>
              <a:defRPr/>
            </a:pPr>
            <a:r>
              <a:rPr lang="en-US" dirty="0"/>
              <a:t>              Switzerland</a:t>
            </a:r>
          </a:p>
          <a:p>
            <a:pPr marL="274320" indent="-274320" fontAlgn="auto">
              <a:spcBef>
                <a:spcPts val="580"/>
              </a:spcBef>
              <a:spcAft>
                <a:spcPts val="0"/>
              </a:spcAft>
              <a:buFont typeface="Wingdings 2"/>
              <a:buChar char=""/>
              <a:defRPr/>
            </a:pPr>
            <a:r>
              <a:rPr lang="en-US" dirty="0"/>
              <a:t>              Turkey</a:t>
            </a:r>
          </a:p>
          <a:p>
            <a:pPr marL="274320" indent="-274320" fontAlgn="auto">
              <a:spcBef>
                <a:spcPts val="580"/>
              </a:spcBef>
              <a:spcAft>
                <a:spcPts val="0"/>
              </a:spcAft>
              <a:buFont typeface="Wingdings 2"/>
              <a:buChar char=""/>
              <a:defRPr/>
            </a:pPr>
            <a:r>
              <a:rPr lang="en-US" dirty="0"/>
              <a:t>              United Kingdom of Great Britain and Northern Ireland.</a:t>
            </a:r>
          </a:p>
          <a:p>
            <a:pPr marL="0" indent="0" fontAlgn="auto">
              <a:spcBef>
                <a:spcPts val="580"/>
              </a:spcBef>
              <a:spcAft>
                <a:spcPts val="0"/>
              </a:spcAft>
              <a:buNone/>
              <a:defRPr/>
            </a:pPr>
            <a:endParaRPr lang="en-US" dirty="0"/>
          </a:p>
        </p:txBody>
      </p:sp>
      <p:sp>
        <p:nvSpPr>
          <p:cNvPr id="113668" name="Rectangle 2">
            <a:extLst>
              <a:ext uri="{FF2B5EF4-FFF2-40B4-BE49-F238E27FC236}">
                <a16:creationId xmlns:a16="http://schemas.microsoft.com/office/drawing/2014/main" id="{911E9443-33CE-46E3-8D68-938381D313E7}"/>
              </a:ext>
            </a:extLst>
          </p:cNvPr>
          <p:cNvSpPr>
            <a:spLocks noChangeArrowheads="1"/>
          </p:cNvSpPr>
          <p:nvPr/>
        </p:nvSpPr>
        <p:spPr bwMode="auto">
          <a:xfrm rot="10800000" flipV="1">
            <a:off x="5486400" y="1873628"/>
            <a:ext cx="4876800" cy="3139321"/>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nchor="ctr">
            <a:spAutoFit/>
          </a:bodyPr>
          <a:lstStyle>
            <a:lvl1pPr>
              <a:spcBef>
                <a:spcPts val="575"/>
              </a:spcBef>
              <a:buClr>
                <a:schemeClr val="accent1"/>
              </a:buClr>
              <a:buSzPct val="85000"/>
              <a:buFont typeface="Wingdings 2" panose="05020102010507070707" pitchFamily="18" charset="2"/>
              <a:buChar char=""/>
              <a:defRPr sz="2600">
                <a:solidFill>
                  <a:schemeClr val="tx1"/>
                </a:solidFill>
                <a:latin typeface="Perpetua" panose="02020502060401020303" pitchFamily="18" charset="0"/>
              </a:defRPr>
            </a:lvl1pPr>
            <a:lvl2pPr marL="742950" indent="-285750">
              <a:spcBef>
                <a:spcPts val="375"/>
              </a:spcBef>
              <a:buClr>
                <a:schemeClr val="accent2"/>
              </a:buClr>
              <a:buSzPct val="85000"/>
              <a:buFont typeface="Wingdings 2" panose="05020102010507070707" pitchFamily="18" charset="2"/>
              <a:buChar char=""/>
              <a:defRPr sz="2400">
                <a:solidFill>
                  <a:schemeClr val="tx1"/>
                </a:solidFill>
                <a:latin typeface="Perpetua" panose="02020502060401020303" pitchFamily="18" charset="0"/>
              </a:defRPr>
            </a:lvl2pPr>
            <a:lvl3pPr marL="1143000" indent="-228600">
              <a:spcBef>
                <a:spcPts val="375"/>
              </a:spcBef>
              <a:buClr>
                <a:srgbClr val="E6B1AB"/>
              </a:buClr>
              <a:buSzPct val="85000"/>
              <a:buFont typeface="Wingdings 2" panose="05020102010507070707" pitchFamily="18" charset="2"/>
              <a:buChar char=""/>
              <a:defRPr sz="2000">
                <a:solidFill>
                  <a:schemeClr val="tx1"/>
                </a:solidFill>
                <a:latin typeface="Perpetua" panose="02020502060401020303" pitchFamily="18" charset="0"/>
              </a:defRPr>
            </a:lvl3pPr>
            <a:lvl4pPr marL="1600200" indent="-228600">
              <a:spcBef>
                <a:spcPts val="375"/>
              </a:spcBef>
              <a:buClr>
                <a:srgbClr val="A28E6A"/>
              </a:buClr>
              <a:buSzPct val="80000"/>
              <a:buFont typeface="Wingdings 2" panose="05020102010507070707" pitchFamily="18" charset="2"/>
              <a:buChar char=""/>
              <a:defRPr sz="2000">
                <a:solidFill>
                  <a:schemeClr val="tx1"/>
                </a:solidFill>
                <a:latin typeface="Perpetua" panose="02020502060401020303" pitchFamily="18" charset="0"/>
              </a:defRPr>
            </a:lvl4pPr>
            <a:lvl5pPr marL="2057400" indent="-228600">
              <a:spcBef>
                <a:spcPts val="375"/>
              </a:spcBef>
              <a:buClr>
                <a:srgbClr val="A28E6A"/>
              </a:buClr>
              <a:buChar char="o"/>
              <a:defRPr sz="2000">
                <a:solidFill>
                  <a:schemeClr val="tx1"/>
                </a:solidFill>
                <a:latin typeface="Perpetua" panose="02020502060401020303" pitchFamily="18" charset="0"/>
              </a:defRPr>
            </a:lvl5pPr>
            <a:lvl6pPr marL="2514600" indent="-228600" fontAlgn="base">
              <a:spcBef>
                <a:spcPts val="375"/>
              </a:spcBef>
              <a:spcAft>
                <a:spcPct val="0"/>
              </a:spcAft>
              <a:buClr>
                <a:srgbClr val="A28E6A"/>
              </a:buClr>
              <a:buChar char="o"/>
              <a:defRPr sz="2000">
                <a:solidFill>
                  <a:schemeClr val="tx1"/>
                </a:solidFill>
                <a:latin typeface="Perpetua" panose="02020502060401020303" pitchFamily="18" charset="0"/>
              </a:defRPr>
            </a:lvl6pPr>
            <a:lvl7pPr marL="2971800" indent="-228600" fontAlgn="base">
              <a:spcBef>
                <a:spcPts val="375"/>
              </a:spcBef>
              <a:spcAft>
                <a:spcPct val="0"/>
              </a:spcAft>
              <a:buClr>
                <a:srgbClr val="A28E6A"/>
              </a:buClr>
              <a:buChar char="o"/>
              <a:defRPr sz="2000">
                <a:solidFill>
                  <a:schemeClr val="tx1"/>
                </a:solidFill>
                <a:latin typeface="Perpetua" panose="02020502060401020303" pitchFamily="18" charset="0"/>
              </a:defRPr>
            </a:lvl7pPr>
            <a:lvl8pPr marL="3429000" indent="-228600" fontAlgn="base">
              <a:spcBef>
                <a:spcPts val="375"/>
              </a:spcBef>
              <a:spcAft>
                <a:spcPct val="0"/>
              </a:spcAft>
              <a:buClr>
                <a:srgbClr val="A28E6A"/>
              </a:buClr>
              <a:buChar char="o"/>
              <a:defRPr sz="2000">
                <a:solidFill>
                  <a:schemeClr val="tx1"/>
                </a:solidFill>
                <a:latin typeface="Perpetua" panose="02020502060401020303" pitchFamily="18" charset="0"/>
              </a:defRPr>
            </a:lvl8pPr>
            <a:lvl9pPr marL="3886200" indent="-228600" fontAlgn="base">
              <a:spcBef>
                <a:spcPts val="375"/>
              </a:spcBef>
              <a:spcAft>
                <a:spcPct val="0"/>
              </a:spcAft>
              <a:buClr>
                <a:srgbClr val="A28E6A"/>
              </a:buClr>
              <a:buChar char="o"/>
              <a:defRPr sz="2000">
                <a:solidFill>
                  <a:schemeClr val="tx1"/>
                </a:solidFill>
                <a:latin typeface="Perpetua" panose="02020502060401020303" pitchFamily="18" charset="0"/>
              </a:defRPr>
            </a:lvl9pPr>
          </a:lstStyle>
          <a:p>
            <a:pPr fontAlgn="base">
              <a:spcBef>
                <a:spcPct val="0"/>
              </a:spcBef>
              <a:spcAft>
                <a:spcPct val="0"/>
              </a:spcAft>
              <a:buClrTx/>
              <a:buSzTx/>
              <a:buNone/>
            </a:pPr>
            <a:r>
              <a:rPr lang="en-US" altLang="en-US" sz="1800" b="1" dirty="0">
                <a:solidFill>
                  <a:srgbClr val="FFC000"/>
                </a:solidFill>
                <a:latin typeface="Century Schoolbook" panose="02040604050505020304" pitchFamily="18" charset="0"/>
                <a:cs typeface="Arial" panose="020B0604020202020204" pitchFamily="34" charset="0"/>
              </a:rPr>
              <a:t>225.872-1  General.</a:t>
            </a:r>
            <a:endParaRPr lang="en-US" altLang="en-US" sz="1800" dirty="0">
              <a:solidFill>
                <a:srgbClr val="FFC000"/>
              </a:solidFill>
              <a:latin typeface="Arial" panose="020B0604020202020204" pitchFamily="34" charset="0"/>
              <a:cs typeface="Arial" panose="020B0604020202020204" pitchFamily="34" charset="0"/>
            </a:endParaRPr>
          </a:p>
          <a:p>
            <a:pPr eaLnBrk="0" fontAlgn="base" hangingPunct="0">
              <a:spcBef>
                <a:spcPct val="0"/>
              </a:spcBef>
              <a:spcAft>
                <a:spcPct val="0"/>
              </a:spcAft>
              <a:buClrTx/>
              <a:buSzTx/>
              <a:buNone/>
            </a:pPr>
            <a:r>
              <a:rPr lang="en-US" altLang="en-US" sz="1800" dirty="0">
                <a:solidFill>
                  <a:srgbClr val="FFC000"/>
                </a:solidFill>
                <a:latin typeface="Century Schoolbook" panose="02040604050505020304" pitchFamily="18" charset="0"/>
                <a:cs typeface="Arial" panose="020B0604020202020204" pitchFamily="34" charset="0"/>
              </a:rPr>
              <a:t> </a:t>
            </a:r>
            <a:endParaRPr lang="en-US" altLang="en-US" sz="1800" dirty="0">
              <a:solidFill>
                <a:srgbClr val="FFC000"/>
              </a:solidFill>
              <a:latin typeface="Arial" panose="020B0604020202020204" pitchFamily="34" charset="0"/>
              <a:cs typeface="Arial" panose="020B0604020202020204" pitchFamily="34" charset="0"/>
            </a:endParaRPr>
          </a:p>
          <a:p>
            <a:pPr eaLnBrk="0" fontAlgn="base" hangingPunct="0">
              <a:spcBef>
                <a:spcPct val="0"/>
              </a:spcBef>
              <a:spcAft>
                <a:spcPct val="0"/>
              </a:spcAft>
              <a:buClrTx/>
              <a:buSzTx/>
              <a:buNone/>
            </a:pPr>
            <a:r>
              <a:rPr lang="en-US" altLang="en-US" sz="1800" dirty="0">
                <a:solidFill>
                  <a:srgbClr val="FFC000"/>
                </a:solidFill>
                <a:latin typeface="Century Schoolbook" panose="02040604050505020304" pitchFamily="18" charset="0"/>
                <a:cs typeface="Arial" panose="020B0604020202020204" pitchFamily="34" charset="0"/>
              </a:rPr>
              <a:t>      (a)  As a result of memoranda of understanding and other international agreements, </a:t>
            </a:r>
            <a:r>
              <a:rPr lang="en-US" altLang="en-US" sz="1800" b="1" dirty="0">
                <a:solidFill>
                  <a:srgbClr val="FFC000"/>
                </a:solidFill>
                <a:latin typeface="Century Schoolbook" panose="02040604050505020304" pitchFamily="18" charset="0"/>
                <a:cs typeface="Arial" panose="020B0604020202020204" pitchFamily="34" charset="0"/>
              </a:rPr>
              <a:t>DoD has determined it inconsistent with the public interest to apply restrictions of the Buy American statute or the Balance of Payments Program to the acquisition of qualifying country end products from the following qualifying countries . . . </a:t>
            </a:r>
            <a:r>
              <a:rPr lang="en-US" altLang="en-US" sz="1800" dirty="0">
                <a:solidFill>
                  <a:srgbClr val="FFC000"/>
                </a:solidFill>
                <a:latin typeface="Century Schoolbook" panose="02040604050505020304" pitchFamily="18" charset="0"/>
                <a:cs typeface="Arial" panose="020B0604020202020204" pitchFamily="34" charset="0"/>
              </a:rPr>
              <a:t>.</a:t>
            </a:r>
            <a:endParaRPr lang="en-US" altLang="en-US" sz="1800" dirty="0">
              <a:solidFill>
                <a:srgbClr val="FFC000"/>
              </a:solidFill>
              <a:latin typeface="Arial" panose="020B0604020202020204" pitchFamily="34" charset="0"/>
              <a:cs typeface="Arial" panose="020B0604020202020204" pitchFamily="34" charset="0"/>
            </a:endParaRPr>
          </a:p>
        </p:txBody>
      </p:sp>
      <p:sp>
        <p:nvSpPr>
          <p:cNvPr id="5" name="Slide Number Placeholder 4">
            <a:extLst>
              <a:ext uri="{FF2B5EF4-FFF2-40B4-BE49-F238E27FC236}">
                <a16:creationId xmlns:a16="http://schemas.microsoft.com/office/drawing/2014/main" id="{DD95235B-CF48-4D1C-BE5B-B8E7A364BEF7}"/>
              </a:ext>
            </a:extLst>
          </p:cNvPr>
          <p:cNvSpPr>
            <a:spLocks noGrp="1"/>
          </p:cNvSpPr>
          <p:nvPr>
            <p:ph type="sldNum" sz="quarter" idx="4294967295"/>
          </p:nvPr>
        </p:nvSpPr>
        <p:spPr>
          <a:xfrm>
            <a:off x="1626394" y="6231082"/>
            <a:ext cx="457200" cy="457200"/>
          </a:xfrm>
        </p:spPr>
        <p:txBody>
          <a:bodyPr/>
          <a:lstStyle>
            <a:lvl1pPr>
              <a:defRPr>
                <a:solidFill>
                  <a:schemeClr val="tx1"/>
                </a:solidFill>
                <a:latin typeface="Perpetua" panose="02020502060401020303" pitchFamily="18" charset="0"/>
              </a:defRPr>
            </a:lvl1pPr>
            <a:lvl2pPr marL="742950" indent="-285750">
              <a:defRPr>
                <a:solidFill>
                  <a:schemeClr val="tx1"/>
                </a:solidFill>
                <a:latin typeface="Perpetua" panose="02020502060401020303" pitchFamily="18" charset="0"/>
              </a:defRPr>
            </a:lvl2pPr>
            <a:lvl3pPr marL="1143000" indent="-228600">
              <a:defRPr>
                <a:solidFill>
                  <a:schemeClr val="tx1"/>
                </a:solidFill>
                <a:latin typeface="Perpetua" panose="02020502060401020303" pitchFamily="18" charset="0"/>
              </a:defRPr>
            </a:lvl3pPr>
            <a:lvl4pPr marL="1600200" indent="-228600">
              <a:defRPr>
                <a:solidFill>
                  <a:schemeClr val="tx1"/>
                </a:solidFill>
                <a:latin typeface="Perpetua" panose="02020502060401020303" pitchFamily="18" charset="0"/>
              </a:defRPr>
            </a:lvl4pPr>
            <a:lvl5pPr marL="2057400" indent="-228600">
              <a:defRPr>
                <a:solidFill>
                  <a:schemeClr val="tx1"/>
                </a:solidFill>
                <a:latin typeface="Perpetua" panose="02020502060401020303" pitchFamily="18" charset="0"/>
              </a:defRPr>
            </a:lvl5pPr>
            <a:lvl6pPr marL="2514600" indent="-228600" fontAlgn="base">
              <a:spcBef>
                <a:spcPct val="0"/>
              </a:spcBef>
              <a:spcAft>
                <a:spcPct val="0"/>
              </a:spcAft>
              <a:defRPr>
                <a:solidFill>
                  <a:schemeClr val="tx1"/>
                </a:solidFill>
                <a:latin typeface="Perpetua" panose="02020502060401020303" pitchFamily="18" charset="0"/>
              </a:defRPr>
            </a:lvl6pPr>
            <a:lvl7pPr marL="2971800" indent="-228600" fontAlgn="base">
              <a:spcBef>
                <a:spcPct val="0"/>
              </a:spcBef>
              <a:spcAft>
                <a:spcPct val="0"/>
              </a:spcAft>
              <a:defRPr>
                <a:solidFill>
                  <a:schemeClr val="tx1"/>
                </a:solidFill>
                <a:latin typeface="Perpetua" panose="02020502060401020303" pitchFamily="18" charset="0"/>
              </a:defRPr>
            </a:lvl7pPr>
            <a:lvl8pPr marL="3429000" indent="-228600" fontAlgn="base">
              <a:spcBef>
                <a:spcPct val="0"/>
              </a:spcBef>
              <a:spcAft>
                <a:spcPct val="0"/>
              </a:spcAft>
              <a:defRPr>
                <a:solidFill>
                  <a:schemeClr val="tx1"/>
                </a:solidFill>
                <a:latin typeface="Perpetua" panose="02020502060401020303" pitchFamily="18" charset="0"/>
              </a:defRPr>
            </a:lvl8pPr>
            <a:lvl9pPr marL="3886200" indent="-228600" fontAlgn="base">
              <a:spcBef>
                <a:spcPct val="0"/>
              </a:spcBef>
              <a:spcAft>
                <a:spcPct val="0"/>
              </a:spcAft>
              <a:defRPr>
                <a:solidFill>
                  <a:schemeClr val="tx1"/>
                </a:solidFill>
                <a:latin typeface="Perpetua" panose="02020502060401020303" pitchFamily="18" charset="0"/>
              </a:defRPr>
            </a:lvl9pPr>
          </a:lstStyle>
          <a:p>
            <a:pPr fontAlgn="base">
              <a:spcBef>
                <a:spcPct val="0"/>
              </a:spcBef>
              <a:spcAft>
                <a:spcPct val="0"/>
              </a:spcAft>
            </a:pPr>
            <a:fld id="{54C1CC0C-8DDA-439E-B0CA-46E7B05206A8}" type="slidenum">
              <a:rPr lang="en-US" altLang="en-US">
                <a:solidFill>
                  <a:srgbClr val="FFFFFF"/>
                </a:solidFill>
                <a:latin typeface="Franklin Gothic Book" panose="020B0503020102020204" pitchFamily="34" charset="0"/>
                <a:cs typeface="Arial" panose="020B0604020202020204" pitchFamily="34" charset="0"/>
              </a:rPr>
              <a:pPr fontAlgn="base">
                <a:spcBef>
                  <a:spcPct val="0"/>
                </a:spcBef>
                <a:spcAft>
                  <a:spcPct val="0"/>
                </a:spcAft>
              </a:pPr>
              <a:t>8</a:t>
            </a:fld>
            <a:endParaRPr lang="en-US" altLang="en-US">
              <a:solidFill>
                <a:srgbClr val="FFFFFF"/>
              </a:solidFill>
              <a:latin typeface="Franklin Gothic Book" panose="020B0503020102020204" pitchFamily="34" charset="0"/>
              <a:cs typeface="Arial" panose="020B0604020202020204" pitchFamily="34" charset="0"/>
            </a:endParaRPr>
          </a:p>
        </p:txBody>
      </p:sp>
    </p:spTree>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4628" name="Rectangle 4">
            <a:extLst>
              <a:ext uri="{FF2B5EF4-FFF2-40B4-BE49-F238E27FC236}">
                <a16:creationId xmlns:a16="http://schemas.microsoft.com/office/drawing/2014/main" id="{7B9CC0DC-D9E3-4D2C-8927-37D1565CAD37}"/>
              </a:ext>
            </a:extLst>
          </p:cNvPr>
          <p:cNvSpPr>
            <a:spLocks noGrp="1" noChangeArrowheads="1"/>
          </p:cNvSpPr>
          <p:nvPr>
            <p:ph type="ctrTitle"/>
          </p:nvPr>
        </p:nvSpPr>
        <p:spPr/>
        <p:txBody>
          <a:bodyPr/>
          <a:lstStyle/>
          <a:p>
            <a:pPr eaLnBrk="1" hangingPunct="1">
              <a:defRPr/>
            </a:pPr>
            <a:r>
              <a:rPr lang="en-US"/>
              <a:t>Any Recourse in GPA?</a:t>
            </a:r>
          </a:p>
        </p:txBody>
      </p:sp>
    </p:spTree>
  </p:cSld>
  <p:clrMapOvr>
    <a:masterClrMapping/>
  </p:clrMapOvr>
  <p:transition>
    <p:random/>
  </p:transition>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6674" name="Rectangle 2">
            <a:extLst>
              <a:ext uri="{FF2B5EF4-FFF2-40B4-BE49-F238E27FC236}">
                <a16:creationId xmlns:a16="http://schemas.microsoft.com/office/drawing/2014/main" id="{44A7BC45-997A-4BF8-BD7E-04643CAD902A}"/>
              </a:ext>
            </a:extLst>
          </p:cNvPr>
          <p:cNvSpPr>
            <a:spLocks noGrp="1" noRot="1" noChangeArrowheads="1"/>
          </p:cNvSpPr>
          <p:nvPr>
            <p:ph type="title"/>
          </p:nvPr>
        </p:nvSpPr>
        <p:spPr/>
        <p:txBody>
          <a:bodyPr/>
          <a:lstStyle/>
          <a:p>
            <a:pPr eaLnBrk="1" hangingPunct="1">
              <a:defRPr/>
            </a:pPr>
            <a:r>
              <a:rPr lang="en-US" sz="4000"/>
              <a:t>Revised GPA Defines Electronic Reverse Auction</a:t>
            </a:r>
          </a:p>
        </p:txBody>
      </p:sp>
      <p:sp>
        <p:nvSpPr>
          <p:cNvPr id="796675" name="Rectangle 3">
            <a:extLst>
              <a:ext uri="{FF2B5EF4-FFF2-40B4-BE49-F238E27FC236}">
                <a16:creationId xmlns:a16="http://schemas.microsoft.com/office/drawing/2014/main" id="{DC4E409E-A23E-4298-925B-85D29898EC32}"/>
              </a:ext>
            </a:extLst>
          </p:cNvPr>
          <p:cNvSpPr>
            <a:spLocks noGrp="1" noChangeArrowheads="1"/>
          </p:cNvSpPr>
          <p:nvPr>
            <p:ph type="body" idx="1"/>
          </p:nvPr>
        </p:nvSpPr>
        <p:spPr/>
        <p:txBody>
          <a:bodyPr/>
          <a:lstStyle/>
          <a:p>
            <a:pPr eaLnBrk="1" hangingPunct="1">
              <a:buFont typeface="Wingdings" panose="05000000000000000000" pitchFamily="2" charset="2"/>
              <a:buNone/>
              <a:defRPr/>
            </a:pPr>
            <a:r>
              <a:rPr lang="en-US" b="1" dirty="0"/>
              <a:t>Article I:</a:t>
            </a:r>
          </a:p>
          <a:p>
            <a:pPr eaLnBrk="1" hangingPunct="1">
              <a:buFont typeface="Wingdings" panose="05000000000000000000" pitchFamily="2" charset="2"/>
              <a:buNone/>
              <a:defRPr/>
            </a:pPr>
            <a:r>
              <a:rPr lang="en-GB" dirty="0"/>
              <a:t>(e)	</a:t>
            </a:r>
            <a:r>
              <a:rPr lang="en-GB" b="1" dirty="0"/>
              <a:t>electronic auction</a:t>
            </a:r>
            <a:r>
              <a:rPr lang="en-GB" dirty="0"/>
              <a:t> means an iterative process that involves the use of electronic means for the </a:t>
            </a:r>
            <a:r>
              <a:rPr lang="en-GB" b="1" dirty="0">
                <a:solidFill>
                  <a:srgbClr val="FFFF00"/>
                </a:solidFill>
              </a:rPr>
              <a:t>presentation by suppliers of either new prices, or new values for quantifiable non-price elements of the tender related to the evaluation criteria, or both,</a:t>
            </a:r>
            <a:r>
              <a:rPr lang="en-GB" dirty="0"/>
              <a:t> resulting in a ranking or re‑ranking of tenders;</a:t>
            </a:r>
            <a:endParaRPr lang="en-US" dirty="0"/>
          </a:p>
        </p:txBody>
      </p:sp>
    </p:spTree>
  </p:cSld>
  <p:clrMapOvr>
    <a:masterClrMapping/>
  </p:clrMapOvr>
  <p:transition>
    <p:random/>
  </p:transition>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7698" name="Rectangle 2">
            <a:extLst>
              <a:ext uri="{FF2B5EF4-FFF2-40B4-BE49-F238E27FC236}">
                <a16:creationId xmlns:a16="http://schemas.microsoft.com/office/drawing/2014/main" id="{2BD5AD50-B89C-4246-B2FA-B5931714E6C3}"/>
              </a:ext>
            </a:extLst>
          </p:cNvPr>
          <p:cNvSpPr>
            <a:spLocks noGrp="1" noRot="1" noChangeArrowheads="1"/>
          </p:cNvSpPr>
          <p:nvPr>
            <p:ph type="title"/>
          </p:nvPr>
        </p:nvSpPr>
        <p:spPr/>
        <p:txBody>
          <a:bodyPr/>
          <a:lstStyle/>
          <a:p>
            <a:pPr algn="l" eaLnBrk="1" hangingPunct="1">
              <a:defRPr/>
            </a:pPr>
            <a:r>
              <a:rPr lang="en-US"/>
              <a:t>And GPA Regulates . . .</a:t>
            </a:r>
          </a:p>
        </p:txBody>
      </p:sp>
      <p:sp>
        <p:nvSpPr>
          <p:cNvPr id="797699" name="Rectangle 3">
            <a:extLst>
              <a:ext uri="{FF2B5EF4-FFF2-40B4-BE49-F238E27FC236}">
                <a16:creationId xmlns:a16="http://schemas.microsoft.com/office/drawing/2014/main" id="{E4E3DE74-BD9C-4F5D-89B4-7978A539E4FE}"/>
              </a:ext>
            </a:extLst>
          </p:cNvPr>
          <p:cNvSpPr>
            <a:spLocks noGrp="1" noChangeArrowheads="1"/>
          </p:cNvSpPr>
          <p:nvPr>
            <p:ph type="body" idx="1"/>
          </p:nvPr>
        </p:nvSpPr>
        <p:spPr/>
        <p:txBody>
          <a:bodyPr/>
          <a:lstStyle/>
          <a:p>
            <a:pPr eaLnBrk="1" hangingPunct="1">
              <a:lnSpc>
                <a:spcPct val="80000"/>
              </a:lnSpc>
              <a:buFont typeface="Wingdings" panose="05000000000000000000" pitchFamily="2" charset="2"/>
              <a:buNone/>
              <a:defRPr/>
            </a:pPr>
            <a:r>
              <a:rPr lang="en-GB" sz="2400" b="1" dirty="0"/>
              <a:t>Article XIV	Electronic Auctions</a:t>
            </a:r>
            <a:endParaRPr lang="en-GB" sz="2400" dirty="0"/>
          </a:p>
          <a:p>
            <a:pPr eaLnBrk="1" hangingPunct="1">
              <a:lnSpc>
                <a:spcPct val="80000"/>
              </a:lnSpc>
              <a:buFont typeface="Wingdings" panose="05000000000000000000" pitchFamily="2" charset="2"/>
              <a:buNone/>
              <a:defRPr/>
            </a:pPr>
            <a:r>
              <a:rPr lang="en-GB" sz="2400" dirty="0"/>
              <a:t>	Where a procuring entity intends to conduct a covered procurement using an electronic auction, </a:t>
            </a:r>
            <a:r>
              <a:rPr lang="en-GB" sz="2400" b="1" u="sng" dirty="0">
                <a:solidFill>
                  <a:srgbClr val="FFFF00"/>
                </a:solidFill>
              </a:rPr>
              <a:t>the entity shall provide each participant</a:t>
            </a:r>
            <a:r>
              <a:rPr lang="en-GB" sz="2400" b="1" dirty="0">
                <a:solidFill>
                  <a:srgbClr val="FFFF00"/>
                </a:solidFill>
              </a:rPr>
              <a:t>,</a:t>
            </a:r>
            <a:r>
              <a:rPr lang="en-GB" sz="2400" dirty="0"/>
              <a:t> </a:t>
            </a:r>
            <a:r>
              <a:rPr lang="en-GB" sz="2400" b="1" dirty="0">
                <a:solidFill>
                  <a:srgbClr val="FFFF00"/>
                </a:solidFill>
              </a:rPr>
              <a:t>before commencing the electronic auction</a:t>
            </a:r>
            <a:r>
              <a:rPr lang="en-GB" sz="2400" dirty="0"/>
              <a:t>, with:</a:t>
            </a:r>
          </a:p>
          <a:p>
            <a:pPr eaLnBrk="1" hangingPunct="1">
              <a:lnSpc>
                <a:spcPct val="80000"/>
              </a:lnSpc>
              <a:buFont typeface="Wingdings" panose="05000000000000000000" pitchFamily="2" charset="2"/>
              <a:buNone/>
              <a:defRPr/>
            </a:pPr>
            <a:r>
              <a:rPr lang="en-GB" sz="2400" dirty="0"/>
              <a:t>(a)	the </a:t>
            </a:r>
            <a:r>
              <a:rPr lang="en-GB" sz="2400" b="1" dirty="0">
                <a:solidFill>
                  <a:schemeClr val="hlink"/>
                </a:solidFill>
              </a:rPr>
              <a:t>automatic evaluation method</a:t>
            </a:r>
            <a:r>
              <a:rPr lang="en-GB" sz="2400" dirty="0"/>
              <a:t>, including the mathematical formula, that is based on the evaluation criteria set out in the tender documentation and that will be used in the automatic ranking or re-ranking during the auction;</a:t>
            </a:r>
          </a:p>
          <a:p>
            <a:pPr eaLnBrk="1" hangingPunct="1">
              <a:lnSpc>
                <a:spcPct val="80000"/>
              </a:lnSpc>
              <a:buFont typeface="Wingdings" panose="05000000000000000000" pitchFamily="2" charset="2"/>
              <a:buNone/>
              <a:defRPr/>
            </a:pPr>
            <a:r>
              <a:rPr lang="en-GB" sz="2400" dirty="0"/>
              <a:t>(b)	</a:t>
            </a:r>
            <a:r>
              <a:rPr lang="en-GB" sz="2400" b="1" dirty="0">
                <a:solidFill>
                  <a:schemeClr val="hlink"/>
                </a:solidFill>
              </a:rPr>
              <a:t>the results of any initial evaluation of the elements</a:t>
            </a:r>
            <a:r>
              <a:rPr lang="en-GB" sz="2400" dirty="0"/>
              <a:t> of its tender where the contract is to be awarded on the basis of the most advantageous tender;  and</a:t>
            </a:r>
          </a:p>
          <a:p>
            <a:pPr eaLnBrk="1" hangingPunct="1">
              <a:lnSpc>
                <a:spcPct val="80000"/>
              </a:lnSpc>
              <a:buFont typeface="Wingdings" panose="05000000000000000000" pitchFamily="2" charset="2"/>
              <a:buNone/>
              <a:defRPr/>
            </a:pPr>
            <a:r>
              <a:rPr lang="en-GB" sz="2400" dirty="0"/>
              <a:t>(c)	</a:t>
            </a:r>
            <a:r>
              <a:rPr lang="en-GB" sz="2400" b="1" dirty="0">
                <a:solidFill>
                  <a:schemeClr val="hlink"/>
                </a:solidFill>
              </a:rPr>
              <a:t>any other relevant information</a:t>
            </a:r>
            <a:r>
              <a:rPr lang="en-GB" sz="2400" dirty="0"/>
              <a:t> relating to the conduct of the auction.</a:t>
            </a:r>
            <a:endParaRPr lang="en-US" sz="2400" dirty="0"/>
          </a:p>
        </p:txBody>
      </p:sp>
    </p:spTree>
  </p:cSld>
  <p:clrMapOvr>
    <a:masterClrMapping/>
  </p:clrMapOvr>
  <p:transition>
    <p:random/>
  </p:transition>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9746" name="Rectangle 2">
            <a:extLst>
              <a:ext uri="{FF2B5EF4-FFF2-40B4-BE49-F238E27FC236}">
                <a16:creationId xmlns:a16="http://schemas.microsoft.com/office/drawing/2014/main" id="{22F212CC-9325-4518-8983-0B035B763922}"/>
              </a:ext>
            </a:extLst>
          </p:cNvPr>
          <p:cNvSpPr>
            <a:spLocks noGrp="1" noRot="1" noChangeArrowheads="1"/>
          </p:cNvSpPr>
          <p:nvPr>
            <p:ph type="title"/>
          </p:nvPr>
        </p:nvSpPr>
        <p:spPr/>
        <p:txBody>
          <a:bodyPr/>
          <a:lstStyle/>
          <a:p>
            <a:pPr eaLnBrk="1" hangingPunct="1">
              <a:defRPr/>
            </a:pPr>
            <a:r>
              <a:rPr lang="en-US"/>
              <a:t>Mock Auction Rules</a:t>
            </a:r>
          </a:p>
        </p:txBody>
      </p:sp>
      <p:sp>
        <p:nvSpPr>
          <p:cNvPr id="799747" name="Rectangle 3">
            <a:extLst>
              <a:ext uri="{FF2B5EF4-FFF2-40B4-BE49-F238E27FC236}">
                <a16:creationId xmlns:a16="http://schemas.microsoft.com/office/drawing/2014/main" id="{3D11E0E6-D8E1-449F-A759-42F88364122F}"/>
              </a:ext>
            </a:extLst>
          </p:cNvPr>
          <p:cNvSpPr>
            <a:spLocks noGrp="1" noChangeArrowheads="1"/>
          </p:cNvSpPr>
          <p:nvPr>
            <p:ph type="body" idx="1"/>
          </p:nvPr>
        </p:nvSpPr>
        <p:spPr/>
        <p:txBody>
          <a:bodyPr/>
          <a:lstStyle/>
          <a:p>
            <a:pPr eaLnBrk="1" hangingPunct="1">
              <a:defRPr/>
            </a:pPr>
            <a:r>
              <a:rPr lang="en-US" dirty="0"/>
              <a:t>Group descriptions drive bidding strategy</a:t>
            </a:r>
          </a:p>
          <a:p>
            <a:pPr eaLnBrk="1" hangingPunct="1">
              <a:defRPr/>
            </a:pPr>
            <a:r>
              <a:rPr lang="en-US" dirty="0"/>
              <a:t>Auction per mock solicitation</a:t>
            </a:r>
          </a:p>
          <a:p>
            <a:pPr eaLnBrk="1" hangingPunct="1">
              <a:defRPr/>
            </a:pPr>
            <a:r>
              <a:rPr lang="en-US" dirty="0"/>
              <a:t>U.S. rules regarding reverse auctions apply</a:t>
            </a:r>
          </a:p>
          <a:p>
            <a:pPr eaLnBrk="1" hangingPunct="1">
              <a:defRPr/>
            </a:pPr>
            <a:r>
              <a:rPr lang="en-US" dirty="0"/>
              <a:t>U.S. bid protest rules apply</a:t>
            </a:r>
          </a:p>
          <a:p>
            <a:pPr eaLnBrk="1" hangingPunct="1">
              <a:defRPr/>
            </a:pPr>
            <a:r>
              <a:rPr lang="en-US" dirty="0"/>
              <a:t>Bids to be submitted; low bid posted</a:t>
            </a:r>
          </a:p>
          <a:p>
            <a:pPr eaLnBrk="1" hangingPunct="1">
              <a:defRPr/>
            </a:pPr>
            <a:r>
              <a:rPr lang="en-US" dirty="0"/>
              <a:t>Professor is both auctioneer and arbiter</a:t>
            </a:r>
          </a:p>
        </p:txBody>
      </p:sp>
    </p:spTree>
  </p:cSld>
  <p:clrMapOvr>
    <a:masterClrMapping/>
  </p:clrMapOvr>
  <p:transition>
    <p:random/>
  </p:transition>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1878A7-AF8B-4613-B15B-DA900718D1F4}"/>
              </a:ext>
            </a:extLst>
          </p:cNvPr>
          <p:cNvSpPr>
            <a:spLocks noGrp="1"/>
          </p:cNvSpPr>
          <p:nvPr>
            <p:ph type="title"/>
          </p:nvPr>
        </p:nvSpPr>
        <p:spPr/>
        <p:txBody>
          <a:bodyPr/>
          <a:lstStyle/>
          <a:p>
            <a:pPr eaLnBrk="1" hangingPunct="1">
              <a:defRPr/>
            </a:pPr>
            <a:r>
              <a:rPr lang="en-US" dirty="0"/>
              <a:t>Mock Auction</a:t>
            </a:r>
          </a:p>
        </p:txBody>
      </p:sp>
      <p:sp>
        <p:nvSpPr>
          <p:cNvPr id="3" name="Content Placeholder 2">
            <a:extLst>
              <a:ext uri="{FF2B5EF4-FFF2-40B4-BE49-F238E27FC236}">
                <a16:creationId xmlns:a16="http://schemas.microsoft.com/office/drawing/2014/main" id="{70E95109-A42A-42F2-8028-69D11EC93F47}"/>
              </a:ext>
            </a:extLst>
          </p:cNvPr>
          <p:cNvSpPr>
            <a:spLocks noGrp="1"/>
          </p:cNvSpPr>
          <p:nvPr>
            <p:ph idx="1"/>
          </p:nvPr>
        </p:nvSpPr>
        <p:spPr/>
        <p:txBody>
          <a:bodyPr/>
          <a:lstStyle/>
          <a:p>
            <a:pPr eaLnBrk="1" hangingPunct="1">
              <a:defRPr/>
            </a:pPr>
            <a:r>
              <a:rPr lang="en-US" dirty="0"/>
              <a:t>General Facts:  Solicitation </a:t>
            </a:r>
          </a:p>
          <a:p>
            <a:pPr marL="0" indent="0" eaLnBrk="1" hangingPunct="1">
              <a:buNone/>
              <a:defRPr/>
            </a:pPr>
            <a:endParaRPr lang="en-US" dirty="0"/>
          </a:p>
          <a:p>
            <a:pPr marL="0" indent="0" eaLnBrk="1" hangingPunct="1">
              <a:buNone/>
              <a:defRPr/>
            </a:pPr>
            <a:endParaRPr lang="en-US" dirty="0"/>
          </a:p>
          <a:p>
            <a:pPr eaLnBrk="1" hangingPunct="1">
              <a:defRPr/>
            </a:pPr>
            <a:r>
              <a:rPr lang="en-US" dirty="0"/>
              <a:t>Team-Specific Facts (to be distributed)</a:t>
            </a:r>
          </a:p>
          <a:p>
            <a:pPr eaLnBrk="1" hangingPunct="1">
              <a:defRPr/>
            </a:pPr>
            <a:endParaRPr lang="en-US" dirty="0"/>
          </a:p>
          <a:p>
            <a:pPr marL="0" indent="0" eaLnBrk="1" hangingPunct="1">
              <a:buNone/>
              <a:defRPr/>
            </a:pPr>
            <a:endParaRPr lang="en-US" dirty="0"/>
          </a:p>
        </p:txBody>
      </p:sp>
    </p:spTree>
  </p:cSld>
  <p:clrMapOvr>
    <a:masterClrMapping/>
  </p:clrMapOvr>
  <p:transition>
    <p:random/>
  </p:transition>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8242" name="Title 1">
            <a:extLst>
              <a:ext uri="{FF2B5EF4-FFF2-40B4-BE49-F238E27FC236}">
                <a16:creationId xmlns:a16="http://schemas.microsoft.com/office/drawing/2014/main" id="{C032EF28-B7C3-40D2-ADA2-FA6BE7464CB1}"/>
              </a:ext>
            </a:extLst>
          </p:cNvPr>
          <p:cNvSpPr>
            <a:spLocks noGrp="1"/>
          </p:cNvSpPr>
          <p:nvPr>
            <p:ph type="title"/>
          </p:nvPr>
        </p:nvSpPr>
        <p:spPr>
          <a:xfrm>
            <a:off x="2246313" y="952501"/>
            <a:ext cx="7772400" cy="1362075"/>
          </a:xfrm>
        </p:spPr>
        <p:txBody>
          <a:bodyPr/>
          <a:lstStyle/>
          <a:p>
            <a:r>
              <a:rPr lang="en-US" altLang="en-US"/>
              <a:t>Conclusion</a:t>
            </a:r>
          </a:p>
        </p:txBody>
      </p:sp>
      <p:sp>
        <p:nvSpPr>
          <p:cNvPr id="3" name="Slide Number Placeholder 2">
            <a:extLst>
              <a:ext uri="{FF2B5EF4-FFF2-40B4-BE49-F238E27FC236}">
                <a16:creationId xmlns:a16="http://schemas.microsoft.com/office/drawing/2014/main" id="{3D145399-0DEE-45E1-8CFD-4F81B7E654E2}"/>
              </a:ext>
            </a:extLst>
          </p:cNvPr>
          <p:cNvSpPr>
            <a:spLocks noGrp="1"/>
          </p:cNvSpPr>
          <p:nvPr>
            <p:ph type="sldNum" sz="quarter" idx="12"/>
          </p:nvPr>
        </p:nvSpPr>
        <p:spPr/>
        <p:txBody>
          <a:bodyPr/>
          <a:lstStyle>
            <a:lvl1pPr>
              <a:defRPr>
                <a:solidFill>
                  <a:schemeClr val="tx1"/>
                </a:solidFill>
                <a:latin typeface="Perpetua" panose="02020502060401020303" pitchFamily="18" charset="0"/>
              </a:defRPr>
            </a:lvl1pPr>
            <a:lvl2pPr marL="742950" indent="-285750">
              <a:defRPr>
                <a:solidFill>
                  <a:schemeClr val="tx1"/>
                </a:solidFill>
                <a:latin typeface="Perpetua" panose="02020502060401020303" pitchFamily="18" charset="0"/>
              </a:defRPr>
            </a:lvl2pPr>
            <a:lvl3pPr marL="1143000" indent="-228600">
              <a:defRPr>
                <a:solidFill>
                  <a:schemeClr val="tx1"/>
                </a:solidFill>
                <a:latin typeface="Perpetua" panose="02020502060401020303" pitchFamily="18" charset="0"/>
              </a:defRPr>
            </a:lvl3pPr>
            <a:lvl4pPr marL="1600200" indent="-228600">
              <a:defRPr>
                <a:solidFill>
                  <a:schemeClr val="tx1"/>
                </a:solidFill>
                <a:latin typeface="Perpetua" panose="02020502060401020303" pitchFamily="18" charset="0"/>
              </a:defRPr>
            </a:lvl4pPr>
            <a:lvl5pPr marL="2057400" indent="-228600">
              <a:defRPr>
                <a:solidFill>
                  <a:schemeClr val="tx1"/>
                </a:solidFill>
                <a:latin typeface="Perpetua" panose="02020502060401020303" pitchFamily="18" charset="0"/>
              </a:defRPr>
            </a:lvl5pPr>
            <a:lvl6pPr marL="2514600" indent="-228600" fontAlgn="base">
              <a:spcBef>
                <a:spcPct val="0"/>
              </a:spcBef>
              <a:spcAft>
                <a:spcPct val="0"/>
              </a:spcAft>
              <a:defRPr>
                <a:solidFill>
                  <a:schemeClr val="tx1"/>
                </a:solidFill>
                <a:latin typeface="Perpetua" panose="02020502060401020303" pitchFamily="18" charset="0"/>
              </a:defRPr>
            </a:lvl6pPr>
            <a:lvl7pPr marL="2971800" indent="-228600" fontAlgn="base">
              <a:spcBef>
                <a:spcPct val="0"/>
              </a:spcBef>
              <a:spcAft>
                <a:spcPct val="0"/>
              </a:spcAft>
              <a:defRPr>
                <a:solidFill>
                  <a:schemeClr val="tx1"/>
                </a:solidFill>
                <a:latin typeface="Perpetua" panose="02020502060401020303" pitchFamily="18" charset="0"/>
              </a:defRPr>
            </a:lvl7pPr>
            <a:lvl8pPr marL="3429000" indent="-228600" fontAlgn="base">
              <a:spcBef>
                <a:spcPct val="0"/>
              </a:spcBef>
              <a:spcAft>
                <a:spcPct val="0"/>
              </a:spcAft>
              <a:defRPr>
                <a:solidFill>
                  <a:schemeClr val="tx1"/>
                </a:solidFill>
                <a:latin typeface="Perpetua" panose="02020502060401020303" pitchFamily="18" charset="0"/>
              </a:defRPr>
            </a:lvl8pPr>
            <a:lvl9pPr marL="3886200" indent="-228600" fontAlgn="base">
              <a:spcBef>
                <a:spcPct val="0"/>
              </a:spcBef>
              <a:spcAft>
                <a:spcPct val="0"/>
              </a:spcAft>
              <a:defRPr>
                <a:solidFill>
                  <a:schemeClr val="tx1"/>
                </a:solidFill>
                <a:latin typeface="Perpetua" panose="02020502060401020303" pitchFamily="18" charset="0"/>
              </a:defRPr>
            </a:lvl9pPr>
          </a:lstStyle>
          <a:p>
            <a:pPr fontAlgn="base">
              <a:spcBef>
                <a:spcPct val="0"/>
              </a:spcBef>
              <a:spcAft>
                <a:spcPct val="0"/>
              </a:spcAft>
            </a:pPr>
            <a:fld id="{A97B91CF-0CCC-4615-854D-14A6F181F7FC}" type="slidenum">
              <a:rPr lang="en-US" altLang="en-US">
                <a:solidFill>
                  <a:srgbClr val="FFFFFF"/>
                </a:solidFill>
                <a:latin typeface="Franklin Gothic Book" panose="020B0503020102020204" pitchFamily="34" charset="0"/>
                <a:cs typeface="Arial" panose="020B0604020202020204" pitchFamily="34" charset="0"/>
              </a:rPr>
              <a:pPr fontAlgn="base">
                <a:spcBef>
                  <a:spcPct val="0"/>
                </a:spcBef>
                <a:spcAft>
                  <a:spcPct val="0"/>
                </a:spcAft>
              </a:pPr>
              <a:t>85</a:t>
            </a:fld>
            <a:endParaRPr lang="en-US" altLang="en-US">
              <a:solidFill>
                <a:srgbClr val="FFFFFF"/>
              </a:solidFill>
              <a:latin typeface="Franklin Gothic Book" panose="020B0503020102020204" pitchFamily="34" charset="0"/>
              <a:cs typeface="Arial" panose="020B0604020202020204" pitchFamily="34" charset="0"/>
            </a:endParaRPr>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Title 1">
            <a:extLst>
              <a:ext uri="{FF2B5EF4-FFF2-40B4-BE49-F238E27FC236}">
                <a16:creationId xmlns:a16="http://schemas.microsoft.com/office/drawing/2014/main" id="{437B5269-B450-4EE8-950D-95787CC476F7}"/>
              </a:ext>
            </a:extLst>
          </p:cNvPr>
          <p:cNvSpPr>
            <a:spLocks noGrp="1"/>
          </p:cNvSpPr>
          <p:nvPr>
            <p:ph type="title"/>
          </p:nvPr>
        </p:nvSpPr>
        <p:spPr/>
        <p:txBody>
          <a:bodyPr rtlCol="0">
            <a:normAutofit/>
          </a:bodyPr>
          <a:lstStyle/>
          <a:p>
            <a:pPr fontAlgn="auto">
              <a:spcAft>
                <a:spcPts val="0"/>
              </a:spcAft>
              <a:defRPr/>
            </a:pPr>
            <a:r>
              <a:rPr lang="en-US"/>
              <a:t>Defense – Memoranda of Understanding</a:t>
            </a:r>
          </a:p>
        </p:txBody>
      </p:sp>
      <p:sp>
        <p:nvSpPr>
          <p:cNvPr id="114691" name="Content Placeholder 2">
            <a:extLst>
              <a:ext uri="{FF2B5EF4-FFF2-40B4-BE49-F238E27FC236}">
                <a16:creationId xmlns:a16="http://schemas.microsoft.com/office/drawing/2014/main" id="{112D0931-7663-45E6-A479-69C54851B2A3}"/>
              </a:ext>
            </a:extLst>
          </p:cNvPr>
          <p:cNvSpPr>
            <a:spLocks noGrp="1"/>
          </p:cNvSpPr>
          <p:nvPr>
            <p:ph idx="1"/>
          </p:nvPr>
        </p:nvSpPr>
        <p:spPr/>
        <p:txBody>
          <a:bodyPr/>
          <a:lstStyle/>
          <a:p>
            <a:endParaRPr lang="en-US" altLang="en-US"/>
          </a:p>
        </p:txBody>
      </p:sp>
      <p:pic>
        <p:nvPicPr>
          <p:cNvPr id="114692" name="Picture 2">
            <a:extLst>
              <a:ext uri="{FF2B5EF4-FFF2-40B4-BE49-F238E27FC236}">
                <a16:creationId xmlns:a16="http://schemas.microsoft.com/office/drawing/2014/main" id="{02763E0F-4511-4B92-8933-897F7D070AC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l="8434" t="3751" r="14056" b="6250"/>
          <a:stretch>
            <a:fillRect/>
          </a:stretch>
        </p:blipFill>
        <p:spPr bwMode="auto">
          <a:xfrm>
            <a:off x="2286001" y="1524000"/>
            <a:ext cx="7140575" cy="5073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4693" name="TextBox 4">
            <a:extLst>
              <a:ext uri="{FF2B5EF4-FFF2-40B4-BE49-F238E27FC236}">
                <a16:creationId xmlns:a16="http://schemas.microsoft.com/office/drawing/2014/main" id="{CA04D5AA-AE60-4DF1-B67D-EF98D283EF29}"/>
              </a:ext>
            </a:extLst>
          </p:cNvPr>
          <p:cNvSpPr txBox="1">
            <a:spLocks noChangeArrowheads="1"/>
          </p:cNvSpPr>
          <p:nvPr/>
        </p:nvSpPr>
        <p:spPr bwMode="auto">
          <a:xfrm>
            <a:off x="5257800" y="4267200"/>
            <a:ext cx="411480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ts val="575"/>
              </a:spcBef>
              <a:buClr>
                <a:schemeClr val="accent1"/>
              </a:buClr>
              <a:buSzPct val="85000"/>
              <a:buFont typeface="Wingdings 2" panose="05020102010507070707" pitchFamily="18" charset="2"/>
              <a:buChar char=""/>
              <a:defRPr sz="2600">
                <a:solidFill>
                  <a:schemeClr val="tx1"/>
                </a:solidFill>
                <a:latin typeface="Perpetua" panose="02020502060401020303" pitchFamily="18" charset="0"/>
              </a:defRPr>
            </a:lvl1pPr>
            <a:lvl2pPr marL="742950" indent="-285750">
              <a:spcBef>
                <a:spcPts val="375"/>
              </a:spcBef>
              <a:buClr>
                <a:schemeClr val="accent2"/>
              </a:buClr>
              <a:buSzPct val="85000"/>
              <a:buFont typeface="Wingdings 2" panose="05020102010507070707" pitchFamily="18" charset="2"/>
              <a:buChar char=""/>
              <a:defRPr sz="2400">
                <a:solidFill>
                  <a:schemeClr val="tx1"/>
                </a:solidFill>
                <a:latin typeface="Perpetua" panose="02020502060401020303" pitchFamily="18" charset="0"/>
              </a:defRPr>
            </a:lvl2pPr>
            <a:lvl3pPr marL="1143000" indent="-228600">
              <a:spcBef>
                <a:spcPts val="375"/>
              </a:spcBef>
              <a:buClr>
                <a:srgbClr val="E6B1AB"/>
              </a:buClr>
              <a:buSzPct val="85000"/>
              <a:buFont typeface="Wingdings 2" panose="05020102010507070707" pitchFamily="18" charset="2"/>
              <a:buChar char=""/>
              <a:defRPr sz="2000">
                <a:solidFill>
                  <a:schemeClr val="tx1"/>
                </a:solidFill>
                <a:latin typeface="Perpetua" panose="02020502060401020303" pitchFamily="18" charset="0"/>
              </a:defRPr>
            </a:lvl3pPr>
            <a:lvl4pPr marL="1600200" indent="-228600">
              <a:spcBef>
                <a:spcPts val="375"/>
              </a:spcBef>
              <a:buClr>
                <a:srgbClr val="A28E6A"/>
              </a:buClr>
              <a:buSzPct val="80000"/>
              <a:buFont typeface="Wingdings 2" panose="05020102010507070707" pitchFamily="18" charset="2"/>
              <a:buChar char=""/>
              <a:defRPr sz="2000">
                <a:solidFill>
                  <a:schemeClr val="tx1"/>
                </a:solidFill>
                <a:latin typeface="Perpetua" panose="02020502060401020303" pitchFamily="18" charset="0"/>
              </a:defRPr>
            </a:lvl4pPr>
            <a:lvl5pPr marL="2057400" indent="-228600">
              <a:spcBef>
                <a:spcPts val="375"/>
              </a:spcBef>
              <a:buClr>
                <a:srgbClr val="A28E6A"/>
              </a:buClr>
              <a:buChar char="o"/>
              <a:defRPr sz="2000">
                <a:solidFill>
                  <a:schemeClr val="tx1"/>
                </a:solidFill>
                <a:latin typeface="Perpetua" panose="02020502060401020303" pitchFamily="18" charset="0"/>
              </a:defRPr>
            </a:lvl5pPr>
            <a:lvl6pPr marL="2514600" indent="-228600" fontAlgn="base">
              <a:spcBef>
                <a:spcPts val="375"/>
              </a:spcBef>
              <a:spcAft>
                <a:spcPct val="0"/>
              </a:spcAft>
              <a:buClr>
                <a:srgbClr val="A28E6A"/>
              </a:buClr>
              <a:buChar char="o"/>
              <a:defRPr sz="2000">
                <a:solidFill>
                  <a:schemeClr val="tx1"/>
                </a:solidFill>
                <a:latin typeface="Perpetua" panose="02020502060401020303" pitchFamily="18" charset="0"/>
              </a:defRPr>
            </a:lvl6pPr>
            <a:lvl7pPr marL="2971800" indent="-228600" fontAlgn="base">
              <a:spcBef>
                <a:spcPts val="375"/>
              </a:spcBef>
              <a:spcAft>
                <a:spcPct val="0"/>
              </a:spcAft>
              <a:buClr>
                <a:srgbClr val="A28E6A"/>
              </a:buClr>
              <a:buChar char="o"/>
              <a:defRPr sz="2000">
                <a:solidFill>
                  <a:schemeClr val="tx1"/>
                </a:solidFill>
                <a:latin typeface="Perpetua" panose="02020502060401020303" pitchFamily="18" charset="0"/>
              </a:defRPr>
            </a:lvl7pPr>
            <a:lvl8pPr marL="3429000" indent="-228600" fontAlgn="base">
              <a:spcBef>
                <a:spcPts val="375"/>
              </a:spcBef>
              <a:spcAft>
                <a:spcPct val="0"/>
              </a:spcAft>
              <a:buClr>
                <a:srgbClr val="A28E6A"/>
              </a:buClr>
              <a:buChar char="o"/>
              <a:defRPr sz="2000">
                <a:solidFill>
                  <a:schemeClr val="tx1"/>
                </a:solidFill>
                <a:latin typeface="Perpetua" panose="02020502060401020303" pitchFamily="18" charset="0"/>
              </a:defRPr>
            </a:lvl8pPr>
            <a:lvl9pPr marL="3886200" indent="-228600" fontAlgn="base">
              <a:spcBef>
                <a:spcPts val="375"/>
              </a:spcBef>
              <a:spcAft>
                <a:spcPct val="0"/>
              </a:spcAft>
              <a:buClr>
                <a:srgbClr val="A28E6A"/>
              </a:buClr>
              <a:buChar char="o"/>
              <a:defRPr sz="2000">
                <a:solidFill>
                  <a:schemeClr val="tx1"/>
                </a:solidFill>
                <a:latin typeface="Perpetua" panose="02020502060401020303" pitchFamily="18" charset="0"/>
              </a:defRPr>
            </a:lvl9pPr>
          </a:lstStyle>
          <a:p>
            <a:pPr fontAlgn="base">
              <a:spcBef>
                <a:spcPct val="0"/>
              </a:spcBef>
              <a:spcAft>
                <a:spcPct val="0"/>
              </a:spcAft>
              <a:buClrTx/>
              <a:buSzTx/>
              <a:buNone/>
            </a:pPr>
            <a:endParaRPr lang="en-US" altLang="en-US" sz="1800">
              <a:solidFill>
                <a:prstClr val="black"/>
              </a:solidFill>
              <a:latin typeface="Calibri" panose="020F0502020204030204" pitchFamily="34" charset="0"/>
              <a:cs typeface="Arial" panose="020B0604020202020204" pitchFamily="34" charset="0"/>
            </a:endParaRPr>
          </a:p>
        </p:txBody>
      </p:sp>
      <p:sp>
        <p:nvSpPr>
          <p:cNvPr id="114694" name="TextBox 5">
            <a:extLst>
              <a:ext uri="{FF2B5EF4-FFF2-40B4-BE49-F238E27FC236}">
                <a16:creationId xmlns:a16="http://schemas.microsoft.com/office/drawing/2014/main" id="{ECC0DA1B-C8B4-42B4-99FA-5A2260303B36}"/>
              </a:ext>
            </a:extLst>
          </p:cNvPr>
          <p:cNvSpPr txBox="1">
            <a:spLocks noChangeArrowheads="1"/>
          </p:cNvSpPr>
          <p:nvPr/>
        </p:nvSpPr>
        <p:spPr bwMode="auto">
          <a:xfrm>
            <a:off x="4953000" y="4038601"/>
            <a:ext cx="3657600" cy="23082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ts val="575"/>
              </a:spcBef>
              <a:buClr>
                <a:schemeClr val="accent1"/>
              </a:buClr>
              <a:buSzPct val="85000"/>
              <a:buFont typeface="Wingdings 2" panose="05020102010507070707" pitchFamily="18" charset="2"/>
              <a:buChar char=""/>
              <a:defRPr sz="2600">
                <a:solidFill>
                  <a:schemeClr val="tx1"/>
                </a:solidFill>
                <a:latin typeface="Perpetua" panose="02020502060401020303" pitchFamily="18" charset="0"/>
              </a:defRPr>
            </a:lvl1pPr>
            <a:lvl2pPr marL="742950" indent="-285750">
              <a:spcBef>
                <a:spcPts val="375"/>
              </a:spcBef>
              <a:buClr>
                <a:schemeClr val="accent2"/>
              </a:buClr>
              <a:buSzPct val="85000"/>
              <a:buFont typeface="Wingdings 2" panose="05020102010507070707" pitchFamily="18" charset="2"/>
              <a:buChar char=""/>
              <a:defRPr sz="2400">
                <a:solidFill>
                  <a:schemeClr val="tx1"/>
                </a:solidFill>
                <a:latin typeface="Perpetua" panose="02020502060401020303" pitchFamily="18" charset="0"/>
              </a:defRPr>
            </a:lvl2pPr>
            <a:lvl3pPr marL="1143000" indent="-228600">
              <a:spcBef>
                <a:spcPts val="375"/>
              </a:spcBef>
              <a:buClr>
                <a:srgbClr val="E6B1AB"/>
              </a:buClr>
              <a:buSzPct val="85000"/>
              <a:buFont typeface="Wingdings 2" panose="05020102010507070707" pitchFamily="18" charset="2"/>
              <a:buChar char=""/>
              <a:defRPr sz="2000">
                <a:solidFill>
                  <a:schemeClr val="tx1"/>
                </a:solidFill>
                <a:latin typeface="Perpetua" panose="02020502060401020303" pitchFamily="18" charset="0"/>
              </a:defRPr>
            </a:lvl3pPr>
            <a:lvl4pPr marL="1600200" indent="-228600">
              <a:spcBef>
                <a:spcPts val="375"/>
              </a:spcBef>
              <a:buClr>
                <a:srgbClr val="A28E6A"/>
              </a:buClr>
              <a:buSzPct val="80000"/>
              <a:buFont typeface="Wingdings 2" panose="05020102010507070707" pitchFamily="18" charset="2"/>
              <a:buChar char=""/>
              <a:defRPr sz="2000">
                <a:solidFill>
                  <a:schemeClr val="tx1"/>
                </a:solidFill>
                <a:latin typeface="Perpetua" panose="02020502060401020303" pitchFamily="18" charset="0"/>
              </a:defRPr>
            </a:lvl4pPr>
            <a:lvl5pPr marL="2057400" indent="-228600">
              <a:spcBef>
                <a:spcPts val="375"/>
              </a:spcBef>
              <a:buClr>
                <a:srgbClr val="A28E6A"/>
              </a:buClr>
              <a:buChar char="o"/>
              <a:defRPr sz="2000">
                <a:solidFill>
                  <a:schemeClr val="tx1"/>
                </a:solidFill>
                <a:latin typeface="Perpetua" panose="02020502060401020303" pitchFamily="18" charset="0"/>
              </a:defRPr>
            </a:lvl5pPr>
            <a:lvl6pPr marL="2514600" indent="-228600" fontAlgn="base">
              <a:spcBef>
                <a:spcPts val="375"/>
              </a:spcBef>
              <a:spcAft>
                <a:spcPct val="0"/>
              </a:spcAft>
              <a:buClr>
                <a:srgbClr val="A28E6A"/>
              </a:buClr>
              <a:buChar char="o"/>
              <a:defRPr sz="2000">
                <a:solidFill>
                  <a:schemeClr val="tx1"/>
                </a:solidFill>
                <a:latin typeface="Perpetua" panose="02020502060401020303" pitchFamily="18" charset="0"/>
              </a:defRPr>
            </a:lvl6pPr>
            <a:lvl7pPr marL="2971800" indent="-228600" fontAlgn="base">
              <a:spcBef>
                <a:spcPts val="375"/>
              </a:spcBef>
              <a:spcAft>
                <a:spcPct val="0"/>
              </a:spcAft>
              <a:buClr>
                <a:srgbClr val="A28E6A"/>
              </a:buClr>
              <a:buChar char="o"/>
              <a:defRPr sz="2000">
                <a:solidFill>
                  <a:schemeClr val="tx1"/>
                </a:solidFill>
                <a:latin typeface="Perpetua" panose="02020502060401020303" pitchFamily="18" charset="0"/>
              </a:defRPr>
            </a:lvl7pPr>
            <a:lvl8pPr marL="3429000" indent="-228600" fontAlgn="base">
              <a:spcBef>
                <a:spcPts val="375"/>
              </a:spcBef>
              <a:spcAft>
                <a:spcPct val="0"/>
              </a:spcAft>
              <a:buClr>
                <a:srgbClr val="A28E6A"/>
              </a:buClr>
              <a:buChar char="o"/>
              <a:defRPr sz="2000">
                <a:solidFill>
                  <a:schemeClr val="tx1"/>
                </a:solidFill>
                <a:latin typeface="Perpetua" panose="02020502060401020303" pitchFamily="18" charset="0"/>
              </a:defRPr>
            </a:lvl8pPr>
            <a:lvl9pPr marL="3886200" indent="-228600" fontAlgn="base">
              <a:spcBef>
                <a:spcPts val="375"/>
              </a:spcBef>
              <a:spcAft>
                <a:spcPct val="0"/>
              </a:spcAft>
              <a:buClr>
                <a:srgbClr val="A28E6A"/>
              </a:buClr>
              <a:buChar char="o"/>
              <a:defRPr sz="2000">
                <a:solidFill>
                  <a:schemeClr val="tx1"/>
                </a:solidFill>
                <a:latin typeface="Perpetua" panose="02020502060401020303" pitchFamily="18" charset="0"/>
              </a:defRPr>
            </a:lvl9pPr>
          </a:lstStyle>
          <a:p>
            <a:pPr algn="r" fontAlgn="base">
              <a:spcBef>
                <a:spcPct val="0"/>
              </a:spcBef>
              <a:spcAft>
                <a:spcPct val="0"/>
              </a:spcAft>
              <a:buClrTx/>
              <a:buSzTx/>
              <a:buNone/>
            </a:pPr>
            <a:r>
              <a:rPr lang="en-US" altLang="en-US" sz="1800" b="1">
                <a:solidFill>
                  <a:prstClr val="black"/>
                </a:solidFill>
                <a:latin typeface="Calibri" panose="020F0502020204030204" pitchFamily="34" charset="0"/>
                <a:cs typeface="Arial" panose="020B0604020202020204" pitchFamily="34" charset="0"/>
              </a:rPr>
              <a:t>Authority for the defense MOUs rests in the “public interest” exception to the BAA. The agreements serve as a national security benefit, enhance alliance-wide security objectives, and serve as an underpinning for armaments cooperation. – Text § 2:21</a:t>
            </a:r>
          </a:p>
        </p:txBody>
      </p:sp>
      <p:sp>
        <p:nvSpPr>
          <p:cNvPr id="3" name="Slide Number Placeholder 2">
            <a:extLst>
              <a:ext uri="{FF2B5EF4-FFF2-40B4-BE49-F238E27FC236}">
                <a16:creationId xmlns:a16="http://schemas.microsoft.com/office/drawing/2014/main" id="{CB65BD18-6A6A-48E6-9101-E51F9E88B54C}"/>
              </a:ext>
            </a:extLst>
          </p:cNvPr>
          <p:cNvSpPr>
            <a:spLocks noGrp="1"/>
          </p:cNvSpPr>
          <p:nvPr>
            <p:ph type="sldNum" sz="quarter" idx="4294967295"/>
          </p:nvPr>
        </p:nvSpPr>
        <p:spPr>
          <a:xfrm>
            <a:off x="1626394" y="6231082"/>
            <a:ext cx="457200" cy="457200"/>
          </a:xfrm>
        </p:spPr>
        <p:txBody>
          <a:bodyPr/>
          <a:lstStyle>
            <a:lvl1pPr>
              <a:defRPr>
                <a:solidFill>
                  <a:schemeClr val="tx1"/>
                </a:solidFill>
                <a:latin typeface="Perpetua" panose="02020502060401020303" pitchFamily="18" charset="0"/>
              </a:defRPr>
            </a:lvl1pPr>
            <a:lvl2pPr marL="742950" indent="-285750">
              <a:defRPr>
                <a:solidFill>
                  <a:schemeClr val="tx1"/>
                </a:solidFill>
                <a:latin typeface="Perpetua" panose="02020502060401020303" pitchFamily="18" charset="0"/>
              </a:defRPr>
            </a:lvl2pPr>
            <a:lvl3pPr marL="1143000" indent="-228600">
              <a:defRPr>
                <a:solidFill>
                  <a:schemeClr val="tx1"/>
                </a:solidFill>
                <a:latin typeface="Perpetua" panose="02020502060401020303" pitchFamily="18" charset="0"/>
              </a:defRPr>
            </a:lvl3pPr>
            <a:lvl4pPr marL="1600200" indent="-228600">
              <a:defRPr>
                <a:solidFill>
                  <a:schemeClr val="tx1"/>
                </a:solidFill>
                <a:latin typeface="Perpetua" panose="02020502060401020303" pitchFamily="18" charset="0"/>
              </a:defRPr>
            </a:lvl4pPr>
            <a:lvl5pPr marL="2057400" indent="-228600">
              <a:defRPr>
                <a:solidFill>
                  <a:schemeClr val="tx1"/>
                </a:solidFill>
                <a:latin typeface="Perpetua" panose="02020502060401020303" pitchFamily="18" charset="0"/>
              </a:defRPr>
            </a:lvl5pPr>
            <a:lvl6pPr marL="2514600" indent="-228600" fontAlgn="base">
              <a:spcBef>
                <a:spcPct val="0"/>
              </a:spcBef>
              <a:spcAft>
                <a:spcPct val="0"/>
              </a:spcAft>
              <a:defRPr>
                <a:solidFill>
                  <a:schemeClr val="tx1"/>
                </a:solidFill>
                <a:latin typeface="Perpetua" panose="02020502060401020303" pitchFamily="18" charset="0"/>
              </a:defRPr>
            </a:lvl6pPr>
            <a:lvl7pPr marL="2971800" indent="-228600" fontAlgn="base">
              <a:spcBef>
                <a:spcPct val="0"/>
              </a:spcBef>
              <a:spcAft>
                <a:spcPct val="0"/>
              </a:spcAft>
              <a:defRPr>
                <a:solidFill>
                  <a:schemeClr val="tx1"/>
                </a:solidFill>
                <a:latin typeface="Perpetua" panose="02020502060401020303" pitchFamily="18" charset="0"/>
              </a:defRPr>
            </a:lvl7pPr>
            <a:lvl8pPr marL="3429000" indent="-228600" fontAlgn="base">
              <a:spcBef>
                <a:spcPct val="0"/>
              </a:spcBef>
              <a:spcAft>
                <a:spcPct val="0"/>
              </a:spcAft>
              <a:defRPr>
                <a:solidFill>
                  <a:schemeClr val="tx1"/>
                </a:solidFill>
                <a:latin typeface="Perpetua" panose="02020502060401020303" pitchFamily="18" charset="0"/>
              </a:defRPr>
            </a:lvl8pPr>
            <a:lvl9pPr marL="3886200" indent="-228600" fontAlgn="base">
              <a:spcBef>
                <a:spcPct val="0"/>
              </a:spcBef>
              <a:spcAft>
                <a:spcPct val="0"/>
              </a:spcAft>
              <a:defRPr>
                <a:solidFill>
                  <a:schemeClr val="tx1"/>
                </a:solidFill>
                <a:latin typeface="Perpetua" panose="02020502060401020303" pitchFamily="18" charset="0"/>
              </a:defRPr>
            </a:lvl9pPr>
          </a:lstStyle>
          <a:p>
            <a:pPr fontAlgn="base">
              <a:spcBef>
                <a:spcPct val="0"/>
              </a:spcBef>
              <a:spcAft>
                <a:spcPct val="0"/>
              </a:spcAft>
            </a:pPr>
            <a:fld id="{0017CCBE-C114-4B0D-B103-54B07637BF8B}" type="slidenum">
              <a:rPr lang="en-US" altLang="en-US">
                <a:solidFill>
                  <a:srgbClr val="FFFFFF"/>
                </a:solidFill>
                <a:latin typeface="Franklin Gothic Book" panose="020B0503020102020204" pitchFamily="34" charset="0"/>
                <a:cs typeface="Arial" panose="020B0604020202020204" pitchFamily="34" charset="0"/>
              </a:rPr>
              <a:pPr fontAlgn="base">
                <a:spcBef>
                  <a:spcPct val="0"/>
                </a:spcBef>
                <a:spcAft>
                  <a:spcPct val="0"/>
                </a:spcAft>
              </a:pPr>
              <a:t>9</a:t>
            </a:fld>
            <a:endParaRPr lang="en-US" altLang="en-US">
              <a:solidFill>
                <a:srgbClr val="FFFFFF"/>
              </a:solidFill>
              <a:latin typeface="Franklin Gothic Book" panose="020B0503020102020204" pitchFamily="34" charset="0"/>
              <a:cs typeface="Arial" panose="020B0604020202020204" pitchFamily="34" charset="0"/>
            </a:endParaRPr>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2.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Equity">
  <a:themeElements>
    <a:clrScheme name="Equity">
      <a:dk1>
        <a:sysClr val="windowText" lastClr="000000"/>
      </a:dk1>
      <a:lt1>
        <a:sysClr val="window" lastClr="FFFFFF"/>
      </a:lt1>
      <a:dk2>
        <a:srgbClr val="696464"/>
      </a:dk2>
      <a:lt2>
        <a:srgbClr val="E9E5DC"/>
      </a:lt2>
      <a:accent1>
        <a:srgbClr val="D34817"/>
      </a:accent1>
      <a:accent2>
        <a:srgbClr val="9B2D1F"/>
      </a:accent2>
      <a:accent3>
        <a:srgbClr val="A28E6A"/>
      </a:accent3>
      <a:accent4>
        <a:srgbClr val="956251"/>
      </a:accent4>
      <a:accent5>
        <a:srgbClr val="918485"/>
      </a:accent5>
      <a:accent6>
        <a:srgbClr val="855D5D"/>
      </a:accent6>
      <a:hlink>
        <a:srgbClr val="CC9900"/>
      </a:hlink>
      <a:folHlink>
        <a:srgbClr val="96A9A9"/>
      </a:folHlink>
    </a:clrScheme>
    <a:fontScheme name="Equity">
      <a:majorFont>
        <a:latin typeface="Franklin Gothic Book"/>
        <a:ea typeface=""/>
        <a:cs typeface=""/>
        <a:font script="Grek" typeface="Calibri"/>
        <a:font script="Cyrl" typeface="Calibri"/>
        <a:font script="Jpan" typeface="HGｺﾞｼｯｸM"/>
        <a:font script="Hang" typeface="바탕"/>
        <a:font script="Hans" typeface="幼圆"/>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Perpetua"/>
        <a:ea typeface=""/>
        <a:cs typeface=""/>
        <a:font script="Grek" typeface="Cambria"/>
        <a:font script="Cyrl" typeface="Cambria"/>
        <a:font script="Jpan" typeface="HG創英ﾌﾟﾚｾﾞﾝｽEB"/>
        <a:font script="Hang" typeface="맑은 고딕"/>
        <a:font script="Hans" typeface="宋体"/>
        <a:font script="Hant" typeface="新細明體"/>
        <a:font script="Arab" typeface="Times New Roman"/>
        <a:font script="Hebr" typeface="Aharoni"/>
        <a:font script="Thai" typeface="EucrosiaUPC"/>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inorFont>
    </a:fontScheme>
    <a:fmtScheme name="Equity">
      <a:fillStyleLst>
        <a:solidFill>
          <a:schemeClr val="phClr"/>
        </a:solidFill>
        <a:blipFill>
          <a:blip xmlns:r="http://schemas.openxmlformats.org/officeDocument/2006/relationships" r:embed="rId1">
            <a:duotone>
              <a:schemeClr val="phClr">
                <a:tint val="30000"/>
                <a:satMod val="300000"/>
              </a:schemeClr>
              <a:schemeClr val="phClr">
                <a:tint val="40000"/>
                <a:satMod val="200000"/>
              </a:schemeClr>
            </a:duotone>
          </a:blip>
          <a:tile tx="0" ty="0" sx="70000" sy="70000" flip="none" algn="ctr"/>
        </a:blipFill>
        <a:blipFill>
          <a:blip xmlns:r="http://schemas.openxmlformats.org/officeDocument/2006/relationships" r:embed="rId1">
            <a:duotone>
              <a:schemeClr val="phClr">
                <a:shade val="22000"/>
                <a:satMod val="160000"/>
              </a:schemeClr>
              <a:schemeClr val="phClr">
                <a:shade val="45000"/>
                <a:satMod val="100000"/>
              </a:schemeClr>
            </a:duotone>
          </a:blip>
          <a:tile tx="0" ty="0" sx="65000" sy="65000" flip="none" algn="ctr"/>
        </a:blipFill>
      </a:fillStyleLst>
      <a:lnStyleLst>
        <a:ln w="9525" cap="flat" cmpd="sng" algn="ctr">
          <a:solidFill>
            <a:schemeClr val="phClr">
              <a:shade val="60000"/>
              <a:satMod val="110000"/>
            </a:schemeClr>
          </a:solidFill>
          <a:prstDash val="solid"/>
        </a:ln>
        <a:ln w="12700" cap="flat" cmpd="sng" algn="ctr">
          <a:solidFill>
            <a:schemeClr val="phClr"/>
          </a:solidFill>
          <a:prstDash val="solid"/>
        </a:ln>
        <a:ln w="38100" cap="flat" cmpd="sng" algn="ctr">
          <a:solidFill>
            <a:schemeClr val="phClr"/>
          </a:solidFill>
          <a:prstDash val="solid"/>
        </a:ln>
      </a:lnStyleLst>
      <a:effectStyleLst>
        <a:effectStyle>
          <a:effectLst>
            <a:outerShdw blurRad="38100" dist="25400" dir="5400000" algn="t" rotWithShape="0">
              <a:srgbClr val="000000">
                <a:alpha val="50000"/>
              </a:srgbClr>
            </a:outerShdw>
          </a:effectLst>
        </a:effectStyle>
        <a:effectStyle>
          <a:effectLst>
            <a:outerShdw blurRad="38100" dist="25400" dir="5400000" algn="t" rotWithShape="0">
              <a:srgbClr val="000000">
                <a:alpha val="50000"/>
              </a:srgbClr>
            </a:outerShdw>
          </a:effectLst>
        </a:effectStyle>
        <a:effectStyle>
          <a:effectLst>
            <a:outerShdw blurRad="50800" dist="50800" dir="5400000" algn="t" rotWithShape="0">
              <a:srgbClr val="000000">
                <a:alpha val="60000"/>
              </a:srgbClr>
            </a:outerShdw>
          </a:effectLst>
          <a:scene3d>
            <a:camera prst="isometricBottomUp" fov="0">
              <a:rot lat="0" lon="0" rev="0"/>
            </a:camera>
            <a:lightRig rig="soft" dir="b">
              <a:rot lat="0" lon="0" rev="9000000"/>
            </a:lightRig>
          </a:scene3d>
          <a:sp3d contourW="35000" prstMaterial="matte">
            <a:bevelT w="45000" h="38100" prst="convex"/>
            <a:contourClr>
              <a:schemeClr val="phClr">
                <a:tint val="10000"/>
                <a:satMod val="130000"/>
              </a:schemeClr>
            </a:contourClr>
          </a:sp3d>
        </a:effectStyle>
      </a:effectStyleLst>
      <a:bgFillStyleLst>
        <a:solidFill>
          <a:schemeClr val="phClr"/>
        </a:solidFill>
        <a:gradFill rotWithShape="1">
          <a:gsLst>
            <a:gs pos="0">
              <a:schemeClr val="phClr">
                <a:shade val="40000"/>
                <a:satMod val="165000"/>
              </a:schemeClr>
            </a:gs>
            <a:gs pos="50000">
              <a:schemeClr val="phClr">
                <a:shade val="80000"/>
                <a:satMod val="155000"/>
              </a:schemeClr>
            </a:gs>
            <a:gs pos="100000">
              <a:schemeClr val="phClr">
                <a:tint val="95000"/>
                <a:satMod val="200000"/>
              </a:schemeClr>
            </a:gs>
          </a:gsLst>
          <a:lin ang="16200000" scaled="1"/>
        </a:gradFill>
        <a:blipFill>
          <a:blip xmlns:r="http://schemas.openxmlformats.org/officeDocument/2006/relationships" r:embed="rId1">
            <a:duotone>
              <a:schemeClr val="phClr">
                <a:tint val="95000"/>
                <a:satMod val="200000"/>
              </a:schemeClr>
              <a:schemeClr val="phClr">
                <a:shade val="80000"/>
                <a:satMod val="100000"/>
              </a:schemeClr>
            </a:duotone>
          </a:blip>
          <a:tile tx="0" ty="0" sx="55000" sy="55000" flip="none" algn="tl"/>
        </a:blipFill>
      </a:bgFillStyleLst>
    </a:fmtScheme>
  </a:themeElements>
  <a:objectDefaults/>
  <a:extraClrSchemeLst/>
</a:theme>
</file>

<file path=ppt/theme/theme3.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Stream">
  <a:themeElements>
    <a:clrScheme name="Stream 1">
      <a:dk1>
        <a:srgbClr val="000514"/>
      </a:dk1>
      <a:lt1>
        <a:srgbClr val="FFFFFF"/>
      </a:lt1>
      <a:dk2>
        <a:srgbClr val="003399"/>
      </a:dk2>
      <a:lt2>
        <a:srgbClr val="E5E5FF"/>
      </a:lt2>
      <a:accent1>
        <a:srgbClr val="0099CC"/>
      </a:accent1>
      <a:accent2>
        <a:srgbClr val="A886E0"/>
      </a:accent2>
      <a:accent3>
        <a:srgbClr val="AAADCA"/>
      </a:accent3>
      <a:accent4>
        <a:srgbClr val="DADADA"/>
      </a:accent4>
      <a:accent5>
        <a:srgbClr val="AACAE2"/>
      </a:accent5>
      <a:accent6>
        <a:srgbClr val="9879CB"/>
      </a:accent6>
      <a:hlink>
        <a:srgbClr val="FFCC00"/>
      </a:hlink>
      <a:folHlink>
        <a:srgbClr val="FFFFCC"/>
      </a:folHlink>
    </a:clrScheme>
    <a:fontScheme name="Stream">
      <a:majorFont>
        <a:latin typeface="Garamond"/>
        <a:ea typeface=""/>
        <a:cs typeface=""/>
      </a:majorFont>
      <a:minorFont>
        <a:latin typeface="Garamond"/>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1800" b="0" i="0" u="none" strike="noStrike" cap="none" normalizeH="0" baseline="0" smtClean="0">
            <a:ln>
              <a:noFill/>
            </a:ln>
            <a:solidFill>
              <a:schemeClr val="tx1"/>
            </a:solidFill>
            <a:effectLst/>
            <a:latin typeface="Garamond" pitchFamily="18"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1800" b="0" i="0" u="none" strike="noStrike" cap="none" normalizeH="0" baseline="0" smtClean="0">
            <a:ln>
              <a:noFill/>
            </a:ln>
            <a:solidFill>
              <a:schemeClr val="tx1"/>
            </a:solidFill>
            <a:effectLst/>
            <a:latin typeface="Garamond" pitchFamily="18" charset="0"/>
          </a:defRPr>
        </a:defPPr>
      </a:lstStyle>
    </a:lnDef>
  </a:objectDefaults>
  <a:extraClrSchemeLst>
    <a:extraClrScheme>
      <a:clrScheme name="Stream 1">
        <a:dk1>
          <a:srgbClr val="000514"/>
        </a:dk1>
        <a:lt1>
          <a:srgbClr val="FFFFFF"/>
        </a:lt1>
        <a:dk2>
          <a:srgbClr val="003399"/>
        </a:dk2>
        <a:lt2>
          <a:srgbClr val="E5E5FF"/>
        </a:lt2>
        <a:accent1>
          <a:srgbClr val="0099CC"/>
        </a:accent1>
        <a:accent2>
          <a:srgbClr val="A886E0"/>
        </a:accent2>
        <a:accent3>
          <a:srgbClr val="AAADCA"/>
        </a:accent3>
        <a:accent4>
          <a:srgbClr val="DADADA"/>
        </a:accent4>
        <a:accent5>
          <a:srgbClr val="AACAE2"/>
        </a:accent5>
        <a:accent6>
          <a:srgbClr val="9879CB"/>
        </a:accent6>
        <a:hlink>
          <a:srgbClr val="FFCC00"/>
        </a:hlink>
        <a:folHlink>
          <a:srgbClr val="FFFFCC"/>
        </a:folHlink>
      </a:clrScheme>
      <a:clrMap bg1="dk2" tx1="lt1" bg2="dk1" tx2="lt2" accent1="accent1" accent2="accent2" accent3="accent3" accent4="accent4" accent5="accent5" accent6="accent6" hlink="hlink" folHlink="folHlink"/>
    </a:extraClrScheme>
    <a:extraClrScheme>
      <a:clrScheme name="Stream 2">
        <a:dk1>
          <a:srgbClr val="3E3E5C"/>
        </a:dk1>
        <a:lt1>
          <a:srgbClr val="FFFFFF"/>
        </a:lt1>
        <a:dk2>
          <a:srgbClr val="666699"/>
        </a:dk2>
        <a:lt2>
          <a:srgbClr val="DFDFE9"/>
        </a:lt2>
        <a:accent1>
          <a:srgbClr val="CC66FF"/>
        </a:accent1>
        <a:accent2>
          <a:srgbClr val="679ACD"/>
        </a:accent2>
        <a:accent3>
          <a:srgbClr val="B8B8CA"/>
        </a:accent3>
        <a:accent4>
          <a:srgbClr val="DADADA"/>
        </a:accent4>
        <a:accent5>
          <a:srgbClr val="E2B8FF"/>
        </a:accent5>
        <a:accent6>
          <a:srgbClr val="5D8BBA"/>
        </a:accent6>
        <a:hlink>
          <a:srgbClr val="CCECFF"/>
        </a:hlink>
        <a:folHlink>
          <a:srgbClr val="CCCCFF"/>
        </a:folHlink>
      </a:clrScheme>
      <a:clrMap bg1="dk2" tx1="lt1" bg2="dk1" tx2="lt2" accent1="accent1" accent2="accent2" accent3="accent3" accent4="accent4" accent5="accent5" accent6="accent6" hlink="hlink" folHlink="folHlink"/>
    </a:extraClrScheme>
    <a:extraClrScheme>
      <a:clrScheme name="Stream 3">
        <a:dk1>
          <a:srgbClr val="2A5400"/>
        </a:dk1>
        <a:lt1>
          <a:srgbClr val="FFFFFF"/>
        </a:lt1>
        <a:dk2>
          <a:srgbClr val="4A9400"/>
        </a:dk2>
        <a:lt2>
          <a:srgbClr val="BAE8BA"/>
        </a:lt2>
        <a:accent1>
          <a:srgbClr val="33CC33"/>
        </a:accent1>
        <a:accent2>
          <a:srgbClr val="99CC00"/>
        </a:accent2>
        <a:accent3>
          <a:srgbClr val="B1C8AA"/>
        </a:accent3>
        <a:accent4>
          <a:srgbClr val="DADADA"/>
        </a:accent4>
        <a:accent5>
          <a:srgbClr val="ADE2AD"/>
        </a:accent5>
        <a:accent6>
          <a:srgbClr val="8AB900"/>
        </a:accent6>
        <a:hlink>
          <a:srgbClr val="99FF33"/>
        </a:hlink>
        <a:folHlink>
          <a:srgbClr val="FFFF99"/>
        </a:folHlink>
      </a:clrScheme>
      <a:clrMap bg1="dk2" tx1="lt1" bg2="dk1" tx2="lt2" accent1="accent1" accent2="accent2" accent3="accent3" accent4="accent4" accent5="accent5" accent6="accent6" hlink="hlink" folHlink="folHlink"/>
    </a:extraClrScheme>
    <a:extraClrScheme>
      <a:clrScheme name="Stream 4">
        <a:dk1>
          <a:srgbClr val="000000"/>
        </a:dk1>
        <a:lt1>
          <a:srgbClr val="FFFFFF"/>
        </a:lt1>
        <a:dk2>
          <a:srgbClr val="51596D"/>
        </a:dk2>
        <a:lt2>
          <a:srgbClr val="DDDDDD"/>
        </a:lt2>
        <a:accent1>
          <a:srgbClr val="787E8A"/>
        </a:accent1>
        <a:accent2>
          <a:srgbClr val="339966"/>
        </a:accent2>
        <a:accent3>
          <a:srgbClr val="B3B5BA"/>
        </a:accent3>
        <a:accent4>
          <a:srgbClr val="DADADA"/>
        </a:accent4>
        <a:accent5>
          <a:srgbClr val="BEC0C4"/>
        </a:accent5>
        <a:accent6>
          <a:srgbClr val="2D8A5C"/>
        </a:accent6>
        <a:hlink>
          <a:srgbClr val="00FFFF"/>
        </a:hlink>
        <a:folHlink>
          <a:srgbClr val="74B6D0"/>
        </a:folHlink>
      </a:clrScheme>
      <a:clrMap bg1="dk2" tx1="lt1" bg2="dk1" tx2="lt2" accent1="accent1" accent2="accent2" accent3="accent3" accent4="accent4" accent5="accent5" accent6="accent6" hlink="hlink" folHlink="folHlink"/>
    </a:extraClrScheme>
    <a:extraClrScheme>
      <a:clrScheme name="Stream 5">
        <a:dk1>
          <a:srgbClr val="5C1F00"/>
        </a:dk1>
        <a:lt1>
          <a:srgbClr val="FFFFFF"/>
        </a:lt1>
        <a:dk2>
          <a:srgbClr val="8C0000"/>
        </a:dk2>
        <a:lt2>
          <a:srgbClr val="DFD293"/>
        </a:lt2>
        <a:accent1>
          <a:srgbClr val="FF6845"/>
        </a:accent1>
        <a:accent2>
          <a:srgbClr val="BE7960"/>
        </a:accent2>
        <a:accent3>
          <a:srgbClr val="C5AAAA"/>
        </a:accent3>
        <a:accent4>
          <a:srgbClr val="DADADA"/>
        </a:accent4>
        <a:accent5>
          <a:srgbClr val="FFB9B0"/>
        </a:accent5>
        <a:accent6>
          <a:srgbClr val="AC6D56"/>
        </a:accent6>
        <a:hlink>
          <a:srgbClr val="FFFFCC"/>
        </a:hlink>
        <a:folHlink>
          <a:srgbClr val="FFCC00"/>
        </a:folHlink>
      </a:clrScheme>
      <a:clrMap bg1="dk2" tx1="lt1" bg2="dk1" tx2="lt2" accent1="accent1" accent2="accent2" accent3="accent3" accent4="accent4" accent5="accent5" accent6="accent6" hlink="hlink" folHlink="folHlink"/>
    </a:extraClrScheme>
    <a:extraClrScheme>
      <a:clrScheme name="Stream 6">
        <a:dk1>
          <a:srgbClr val="5E4444"/>
        </a:dk1>
        <a:lt1>
          <a:srgbClr val="F7F3F3"/>
        </a:lt1>
        <a:dk2>
          <a:srgbClr val="8A6362"/>
        </a:dk2>
        <a:lt2>
          <a:srgbClr val="D8C1BA"/>
        </a:lt2>
        <a:accent1>
          <a:srgbClr val="CC6600"/>
        </a:accent1>
        <a:accent2>
          <a:srgbClr val="C16059"/>
        </a:accent2>
        <a:accent3>
          <a:srgbClr val="C4B7B7"/>
        </a:accent3>
        <a:accent4>
          <a:srgbClr val="D3D0D0"/>
        </a:accent4>
        <a:accent5>
          <a:srgbClr val="E2B8AA"/>
        </a:accent5>
        <a:accent6>
          <a:srgbClr val="AF5650"/>
        </a:accent6>
        <a:hlink>
          <a:srgbClr val="FFCC00"/>
        </a:hlink>
        <a:folHlink>
          <a:srgbClr val="CBB557"/>
        </a:folHlink>
      </a:clrScheme>
      <a:clrMap bg1="dk2" tx1="lt1" bg2="dk1" tx2="lt2" accent1="accent1" accent2="accent2" accent3="accent3" accent4="accent4" accent5="accent5" accent6="accent6" hlink="hlink" folHlink="folHlink"/>
    </a:extraClrScheme>
    <a:extraClrScheme>
      <a:clrScheme name="Stream 7">
        <a:dk1>
          <a:srgbClr val="7F6737"/>
        </a:dk1>
        <a:lt1>
          <a:srgbClr val="FFFFFF"/>
        </a:lt1>
        <a:dk2>
          <a:srgbClr val="BFA673"/>
        </a:dk2>
        <a:lt2>
          <a:srgbClr val="E6E3AA"/>
        </a:lt2>
        <a:accent1>
          <a:srgbClr val="FFCC00"/>
        </a:accent1>
        <a:accent2>
          <a:srgbClr val="808000"/>
        </a:accent2>
        <a:accent3>
          <a:srgbClr val="DCD0BC"/>
        </a:accent3>
        <a:accent4>
          <a:srgbClr val="DADADA"/>
        </a:accent4>
        <a:accent5>
          <a:srgbClr val="FFE2AA"/>
        </a:accent5>
        <a:accent6>
          <a:srgbClr val="737300"/>
        </a:accent6>
        <a:hlink>
          <a:srgbClr val="784700"/>
        </a:hlink>
        <a:folHlink>
          <a:srgbClr val="9A7200"/>
        </a:folHlink>
      </a:clrScheme>
      <a:clrMap bg1="dk2" tx1="lt1" bg2="dk1" tx2="lt2" accent1="accent1" accent2="accent2" accent3="accent3" accent4="accent4" accent5="accent5" accent6="accent6" hlink="hlink" folHlink="folHlink"/>
    </a:extraClrScheme>
    <a:extraClrScheme>
      <a:clrScheme name="Stream 8">
        <a:dk1>
          <a:srgbClr val="4B2500"/>
        </a:dk1>
        <a:lt1>
          <a:srgbClr val="F9F0D3"/>
        </a:lt1>
        <a:dk2>
          <a:srgbClr val="A69564"/>
        </a:dk2>
        <a:lt2>
          <a:srgbClr val="EFDEAF"/>
        </a:lt2>
        <a:accent1>
          <a:srgbClr val="FFFFE3"/>
        </a:accent1>
        <a:accent2>
          <a:srgbClr val="BFBFA7"/>
        </a:accent2>
        <a:accent3>
          <a:srgbClr val="FBF6E6"/>
        </a:accent3>
        <a:accent4>
          <a:srgbClr val="3F1E00"/>
        </a:accent4>
        <a:accent5>
          <a:srgbClr val="FFFFEF"/>
        </a:accent5>
        <a:accent6>
          <a:srgbClr val="ADAD97"/>
        </a:accent6>
        <a:hlink>
          <a:srgbClr val="7B6D47"/>
        </a:hlink>
        <a:folHlink>
          <a:srgbClr val="A99D2F"/>
        </a:folHlink>
      </a:clrScheme>
      <a:clrMap bg1="lt1" tx1="dk1" bg2="lt2" tx2="dk2" accent1="accent1" accent2="accent2" accent3="accent3" accent4="accent4" accent5="accent5" accent6="accent6" hlink="hlink" folHlink="folHlink"/>
    </a:extraClrScheme>
    <a:extraClrScheme>
      <a:clrScheme name="Stream 9">
        <a:dk1>
          <a:srgbClr val="000000"/>
        </a:dk1>
        <a:lt1>
          <a:srgbClr val="FFFFFF"/>
        </a:lt1>
        <a:dk2>
          <a:srgbClr val="000000"/>
        </a:dk2>
        <a:lt2>
          <a:srgbClr val="808080"/>
        </a:lt2>
        <a:accent1>
          <a:srgbClr val="CCECFF"/>
        </a:accent1>
        <a:accent2>
          <a:srgbClr val="333399"/>
        </a:accent2>
        <a:accent3>
          <a:srgbClr val="FFFFFF"/>
        </a:accent3>
        <a:accent4>
          <a:srgbClr val="000000"/>
        </a:accent4>
        <a:accent5>
          <a:srgbClr val="E2F4FF"/>
        </a:accent5>
        <a:accent6>
          <a:srgbClr val="2D2D8A"/>
        </a:accent6>
        <a:hlink>
          <a:srgbClr val="6600FF"/>
        </a:hlink>
        <a:folHlink>
          <a:srgbClr val="009900"/>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Chris Yukins - Session 4 - Compliance Case Study">
  <a:themeElements>
    <a:clrScheme name="Chap 8 Pricing of Adjustments - Cont'd Feb 25 1">
      <a:dk1>
        <a:srgbClr val="000514"/>
      </a:dk1>
      <a:lt1>
        <a:srgbClr val="FFFFFF"/>
      </a:lt1>
      <a:dk2>
        <a:srgbClr val="003399"/>
      </a:dk2>
      <a:lt2>
        <a:srgbClr val="E5E5FF"/>
      </a:lt2>
      <a:accent1>
        <a:srgbClr val="0099CC"/>
      </a:accent1>
      <a:accent2>
        <a:srgbClr val="A886E0"/>
      </a:accent2>
      <a:accent3>
        <a:srgbClr val="AAADCA"/>
      </a:accent3>
      <a:accent4>
        <a:srgbClr val="DADADA"/>
      </a:accent4>
      <a:accent5>
        <a:srgbClr val="AACAE2"/>
      </a:accent5>
      <a:accent6>
        <a:srgbClr val="9879CB"/>
      </a:accent6>
      <a:hlink>
        <a:srgbClr val="FFCC00"/>
      </a:hlink>
      <a:folHlink>
        <a:srgbClr val="FFFFCC"/>
      </a:folHlink>
    </a:clrScheme>
    <a:fontScheme name="Chap 8 Pricing of Adjustments - Cont'd Feb 25">
      <a:majorFont>
        <a:latin typeface="Garamond"/>
        <a:ea typeface=""/>
        <a:cs typeface=""/>
      </a:majorFont>
      <a:minorFont>
        <a:latin typeface="Garamond"/>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1800" b="0" i="0" u="none" strike="noStrike" cap="none" normalizeH="0" baseline="0" smtClean="0">
            <a:ln>
              <a:noFill/>
            </a:ln>
            <a:solidFill>
              <a:schemeClr val="tx1"/>
            </a:solidFill>
            <a:effectLst/>
            <a:latin typeface="Garamond" pitchFamily="18"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1800" b="0" i="0" u="none" strike="noStrike" cap="none" normalizeH="0" baseline="0" smtClean="0">
            <a:ln>
              <a:noFill/>
            </a:ln>
            <a:solidFill>
              <a:schemeClr val="tx1"/>
            </a:solidFill>
            <a:effectLst/>
            <a:latin typeface="Garamond" pitchFamily="18" charset="0"/>
          </a:defRPr>
        </a:defPPr>
      </a:lstStyle>
    </a:lnDef>
  </a:objectDefaults>
  <a:extraClrSchemeLst>
    <a:extraClrScheme>
      <a:clrScheme name="Chap 8 Pricing of Adjustments - Cont'd Feb 25 1">
        <a:dk1>
          <a:srgbClr val="000514"/>
        </a:dk1>
        <a:lt1>
          <a:srgbClr val="FFFFFF"/>
        </a:lt1>
        <a:dk2>
          <a:srgbClr val="003399"/>
        </a:dk2>
        <a:lt2>
          <a:srgbClr val="E5E5FF"/>
        </a:lt2>
        <a:accent1>
          <a:srgbClr val="0099CC"/>
        </a:accent1>
        <a:accent2>
          <a:srgbClr val="A886E0"/>
        </a:accent2>
        <a:accent3>
          <a:srgbClr val="AAADCA"/>
        </a:accent3>
        <a:accent4>
          <a:srgbClr val="DADADA"/>
        </a:accent4>
        <a:accent5>
          <a:srgbClr val="AACAE2"/>
        </a:accent5>
        <a:accent6>
          <a:srgbClr val="9879CB"/>
        </a:accent6>
        <a:hlink>
          <a:srgbClr val="FFCC00"/>
        </a:hlink>
        <a:folHlink>
          <a:srgbClr val="FFFFCC"/>
        </a:folHlink>
      </a:clrScheme>
      <a:clrMap bg1="dk2" tx1="lt1" bg2="dk1" tx2="lt2" accent1="accent1" accent2="accent2" accent3="accent3" accent4="accent4" accent5="accent5" accent6="accent6" hlink="hlink" folHlink="folHlink"/>
    </a:extraClrScheme>
    <a:extraClrScheme>
      <a:clrScheme name="Chap 8 Pricing of Adjustments - Cont'd Feb 25 2">
        <a:dk1>
          <a:srgbClr val="3E3E5C"/>
        </a:dk1>
        <a:lt1>
          <a:srgbClr val="FFFFFF"/>
        </a:lt1>
        <a:dk2>
          <a:srgbClr val="666699"/>
        </a:dk2>
        <a:lt2>
          <a:srgbClr val="DFDFE9"/>
        </a:lt2>
        <a:accent1>
          <a:srgbClr val="CC66FF"/>
        </a:accent1>
        <a:accent2>
          <a:srgbClr val="679ACD"/>
        </a:accent2>
        <a:accent3>
          <a:srgbClr val="B8B8CA"/>
        </a:accent3>
        <a:accent4>
          <a:srgbClr val="DADADA"/>
        </a:accent4>
        <a:accent5>
          <a:srgbClr val="E2B8FF"/>
        </a:accent5>
        <a:accent6>
          <a:srgbClr val="5D8BBA"/>
        </a:accent6>
        <a:hlink>
          <a:srgbClr val="CCECFF"/>
        </a:hlink>
        <a:folHlink>
          <a:srgbClr val="CCCCFF"/>
        </a:folHlink>
      </a:clrScheme>
      <a:clrMap bg1="dk2" tx1="lt1" bg2="dk1" tx2="lt2" accent1="accent1" accent2="accent2" accent3="accent3" accent4="accent4" accent5="accent5" accent6="accent6" hlink="hlink" folHlink="folHlink"/>
    </a:extraClrScheme>
    <a:extraClrScheme>
      <a:clrScheme name="Chap 8 Pricing of Adjustments - Cont'd Feb 25 3">
        <a:dk1>
          <a:srgbClr val="2A5400"/>
        </a:dk1>
        <a:lt1>
          <a:srgbClr val="FFFFFF"/>
        </a:lt1>
        <a:dk2>
          <a:srgbClr val="4A9400"/>
        </a:dk2>
        <a:lt2>
          <a:srgbClr val="BAE8BA"/>
        </a:lt2>
        <a:accent1>
          <a:srgbClr val="33CC33"/>
        </a:accent1>
        <a:accent2>
          <a:srgbClr val="99CC00"/>
        </a:accent2>
        <a:accent3>
          <a:srgbClr val="B1C8AA"/>
        </a:accent3>
        <a:accent4>
          <a:srgbClr val="DADADA"/>
        </a:accent4>
        <a:accent5>
          <a:srgbClr val="ADE2AD"/>
        </a:accent5>
        <a:accent6>
          <a:srgbClr val="8AB900"/>
        </a:accent6>
        <a:hlink>
          <a:srgbClr val="99FF33"/>
        </a:hlink>
        <a:folHlink>
          <a:srgbClr val="FFFF99"/>
        </a:folHlink>
      </a:clrScheme>
      <a:clrMap bg1="dk2" tx1="lt1" bg2="dk1" tx2="lt2" accent1="accent1" accent2="accent2" accent3="accent3" accent4="accent4" accent5="accent5" accent6="accent6" hlink="hlink" folHlink="folHlink"/>
    </a:extraClrScheme>
    <a:extraClrScheme>
      <a:clrScheme name="Chap 8 Pricing of Adjustments - Cont'd Feb 25 4">
        <a:dk1>
          <a:srgbClr val="000000"/>
        </a:dk1>
        <a:lt1>
          <a:srgbClr val="FFFFFF"/>
        </a:lt1>
        <a:dk2>
          <a:srgbClr val="51596D"/>
        </a:dk2>
        <a:lt2>
          <a:srgbClr val="DDDDDD"/>
        </a:lt2>
        <a:accent1>
          <a:srgbClr val="787E8A"/>
        </a:accent1>
        <a:accent2>
          <a:srgbClr val="339966"/>
        </a:accent2>
        <a:accent3>
          <a:srgbClr val="B3B5BA"/>
        </a:accent3>
        <a:accent4>
          <a:srgbClr val="DADADA"/>
        </a:accent4>
        <a:accent5>
          <a:srgbClr val="BEC0C4"/>
        </a:accent5>
        <a:accent6>
          <a:srgbClr val="2D8A5C"/>
        </a:accent6>
        <a:hlink>
          <a:srgbClr val="00FFFF"/>
        </a:hlink>
        <a:folHlink>
          <a:srgbClr val="74B6D0"/>
        </a:folHlink>
      </a:clrScheme>
      <a:clrMap bg1="dk2" tx1="lt1" bg2="dk1" tx2="lt2" accent1="accent1" accent2="accent2" accent3="accent3" accent4="accent4" accent5="accent5" accent6="accent6" hlink="hlink" folHlink="folHlink"/>
    </a:extraClrScheme>
    <a:extraClrScheme>
      <a:clrScheme name="Chap 8 Pricing of Adjustments - Cont'd Feb 25 5">
        <a:dk1>
          <a:srgbClr val="5C1F00"/>
        </a:dk1>
        <a:lt1>
          <a:srgbClr val="FFFFFF"/>
        </a:lt1>
        <a:dk2>
          <a:srgbClr val="8C0000"/>
        </a:dk2>
        <a:lt2>
          <a:srgbClr val="DFD293"/>
        </a:lt2>
        <a:accent1>
          <a:srgbClr val="FF6845"/>
        </a:accent1>
        <a:accent2>
          <a:srgbClr val="BE7960"/>
        </a:accent2>
        <a:accent3>
          <a:srgbClr val="C5AAAA"/>
        </a:accent3>
        <a:accent4>
          <a:srgbClr val="DADADA"/>
        </a:accent4>
        <a:accent5>
          <a:srgbClr val="FFB9B0"/>
        </a:accent5>
        <a:accent6>
          <a:srgbClr val="AC6D56"/>
        </a:accent6>
        <a:hlink>
          <a:srgbClr val="FFFFCC"/>
        </a:hlink>
        <a:folHlink>
          <a:srgbClr val="FFCC00"/>
        </a:folHlink>
      </a:clrScheme>
      <a:clrMap bg1="dk2" tx1="lt1" bg2="dk1" tx2="lt2" accent1="accent1" accent2="accent2" accent3="accent3" accent4="accent4" accent5="accent5" accent6="accent6" hlink="hlink" folHlink="folHlink"/>
    </a:extraClrScheme>
    <a:extraClrScheme>
      <a:clrScheme name="Chap 8 Pricing of Adjustments - Cont'd Feb 25 6">
        <a:dk1>
          <a:srgbClr val="5E4444"/>
        </a:dk1>
        <a:lt1>
          <a:srgbClr val="F7F3F3"/>
        </a:lt1>
        <a:dk2>
          <a:srgbClr val="8A6362"/>
        </a:dk2>
        <a:lt2>
          <a:srgbClr val="D8C1BA"/>
        </a:lt2>
        <a:accent1>
          <a:srgbClr val="CC6600"/>
        </a:accent1>
        <a:accent2>
          <a:srgbClr val="C16059"/>
        </a:accent2>
        <a:accent3>
          <a:srgbClr val="C4B7B7"/>
        </a:accent3>
        <a:accent4>
          <a:srgbClr val="D3D0D0"/>
        </a:accent4>
        <a:accent5>
          <a:srgbClr val="E2B8AA"/>
        </a:accent5>
        <a:accent6>
          <a:srgbClr val="AF5650"/>
        </a:accent6>
        <a:hlink>
          <a:srgbClr val="FFCC00"/>
        </a:hlink>
        <a:folHlink>
          <a:srgbClr val="CBB557"/>
        </a:folHlink>
      </a:clrScheme>
      <a:clrMap bg1="dk2" tx1="lt1" bg2="dk1" tx2="lt2" accent1="accent1" accent2="accent2" accent3="accent3" accent4="accent4" accent5="accent5" accent6="accent6" hlink="hlink" folHlink="folHlink"/>
    </a:extraClrScheme>
    <a:extraClrScheme>
      <a:clrScheme name="Chap 8 Pricing of Adjustments - Cont'd Feb 25 7">
        <a:dk1>
          <a:srgbClr val="7F6737"/>
        </a:dk1>
        <a:lt1>
          <a:srgbClr val="FFFFFF"/>
        </a:lt1>
        <a:dk2>
          <a:srgbClr val="BFA673"/>
        </a:dk2>
        <a:lt2>
          <a:srgbClr val="E6E3AA"/>
        </a:lt2>
        <a:accent1>
          <a:srgbClr val="FFCC00"/>
        </a:accent1>
        <a:accent2>
          <a:srgbClr val="808000"/>
        </a:accent2>
        <a:accent3>
          <a:srgbClr val="DCD0BC"/>
        </a:accent3>
        <a:accent4>
          <a:srgbClr val="DADADA"/>
        </a:accent4>
        <a:accent5>
          <a:srgbClr val="FFE2AA"/>
        </a:accent5>
        <a:accent6>
          <a:srgbClr val="737300"/>
        </a:accent6>
        <a:hlink>
          <a:srgbClr val="784700"/>
        </a:hlink>
        <a:folHlink>
          <a:srgbClr val="9A7200"/>
        </a:folHlink>
      </a:clrScheme>
      <a:clrMap bg1="dk2" tx1="lt1" bg2="dk1" tx2="lt2" accent1="accent1" accent2="accent2" accent3="accent3" accent4="accent4" accent5="accent5" accent6="accent6" hlink="hlink" folHlink="folHlink"/>
    </a:extraClrScheme>
    <a:extraClrScheme>
      <a:clrScheme name="Chap 8 Pricing of Adjustments - Cont'd Feb 25 8">
        <a:dk1>
          <a:srgbClr val="4B2500"/>
        </a:dk1>
        <a:lt1>
          <a:srgbClr val="F9F0D3"/>
        </a:lt1>
        <a:dk2>
          <a:srgbClr val="A69564"/>
        </a:dk2>
        <a:lt2>
          <a:srgbClr val="EFDEAF"/>
        </a:lt2>
        <a:accent1>
          <a:srgbClr val="FFFFE3"/>
        </a:accent1>
        <a:accent2>
          <a:srgbClr val="BFBFA7"/>
        </a:accent2>
        <a:accent3>
          <a:srgbClr val="FBF6E6"/>
        </a:accent3>
        <a:accent4>
          <a:srgbClr val="3F1E00"/>
        </a:accent4>
        <a:accent5>
          <a:srgbClr val="FFFFEF"/>
        </a:accent5>
        <a:accent6>
          <a:srgbClr val="ADAD97"/>
        </a:accent6>
        <a:hlink>
          <a:srgbClr val="7B6D47"/>
        </a:hlink>
        <a:folHlink>
          <a:srgbClr val="A99D2F"/>
        </a:folHlink>
      </a:clrScheme>
      <a:clrMap bg1="lt1" tx1="dk1" bg2="lt2" tx2="dk2" accent1="accent1" accent2="accent2" accent3="accent3" accent4="accent4" accent5="accent5" accent6="accent6" hlink="hlink" folHlink="folHlink"/>
    </a:extraClrScheme>
    <a:extraClrScheme>
      <a:clrScheme name="Chap 8 Pricing of Adjustments - Cont'd Feb 25 9">
        <a:dk1>
          <a:srgbClr val="000000"/>
        </a:dk1>
        <a:lt1>
          <a:srgbClr val="FFFFFF"/>
        </a:lt1>
        <a:dk2>
          <a:srgbClr val="000000"/>
        </a:dk2>
        <a:lt2>
          <a:srgbClr val="808080"/>
        </a:lt2>
        <a:accent1>
          <a:srgbClr val="CCECFF"/>
        </a:accent1>
        <a:accent2>
          <a:srgbClr val="333399"/>
        </a:accent2>
        <a:accent3>
          <a:srgbClr val="FFFFFF"/>
        </a:accent3>
        <a:accent4>
          <a:srgbClr val="000000"/>
        </a:accent4>
        <a:accent5>
          <a:srgbClr val="E2F4FF"/>
        </a:accent5>
        <a:accent6>
          <a:srgbClr val="2D2D8A"/>
        </a:accent6>
        <a:hlink>
          <a:srgbClr val="6600FF"/>
        </a:hlink>
        <a:folHlink>
          <a:srgbClr val="009900"/>
        </a:folHlink>
      </a:clrScheme>
      <a:clrMap bg1="lt1" tx1="dk1" bg2="lt2" tx2="dk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4</TotalTime>
  <Words>5066</Words>
  <Application>Microsoft Office PowerPoint</Application>
  <PresentationFormat>Widescreen</PresentationFormat>
  <Paragraphs>672</Paragraphs>
  <Slides>85</Slides>
  <Notes>23</Notes>
  <HiddenSlides>0</HiddenSlides>
  <MMClips>0</MMClips>
  <ScaleCrop>false</ScaleCrop>
  <HeadingPairs>
    <vt:vector size="8" baseType="variant">
      <vt:variant>
        <vt:lpstr>Fonts Used</vt:lpstr>
      </vt:variant>
      <vt:variant>
        <vt:i4>14</vt:i4>
      </vt:variant>
      <vt:variant>
        <vt:lpstr>Theme</vt:lpstr>
      </vt:variant>
      <vt:variant>
        <vt:i4>5</vt:i4>
      </vt:variant>
      <vt:variant>
        <vt:lpstr>Embedded OLE Servers</vt:lpstr>
      </vt:variant>
      <vt:variant>
        <vt:i4>2</vt:i4>
      </vt:variant>
      <vt:variant>
        <vt:lpstr>Slide Titles</vt:lpstr>
      </vt:variant>
      <vt:variant>
        <vt:i4>85</vt:i4>
      </vt:variant>
    </vt:vector>
  </HeadingPairs>
  <TitlesOfParts>
    <vt:vector size="106" baseType="lpstr">
      <vt:lpstr>Arial</vt:lpstr>
      <vt:lpstr>Calibri</vt:lpstr>
      <vt:lpstr>Calibri Light</vt:lpstr>
      <vt:lpstr>Century Schoolbook</vt:lpstr>
      <vt:lpstr>Franklin Gothic Book</vt:lpstr>
      <vt:lpstr>Garamond</vt:lpstr>
      <vt:lpstr>Georgia</vt:lpstr>
      <vt:lpstr>inherit</vt:lpstr>
      <vt:lpstr>Perpetua</vt:lpstr>
      <vt:lpstr>Times</vt:lpstr>
      <vt:lpstr>Times New Roman</vt:lpstr>
      <vt:lpstr>Verdana</vt:lpstr>
      <vt:lpstr>Wingdings</vt:lpstr>
      <vt:lpstr>Wingdings 2</vt:lpstr>
      <vt:lpstr>Office Theme</vt:lpstr>
      <vt:lpstr>Equity</vt:lpstr>
      <vt:lpstr>1_Office Theme</vt:lpstr>
      <vt:lpstr>Stream</vt:lpstr>
      <vt:lpstr>Chris Yukins - Session 4 - Compliance Case Study</vt:lpstr>
      <vt:lpstr>Bitmap Image</vt:lpstr>
      <vt:lpstr>think-cell Slide</vt:lpstr>
      <vt:lpstr>Sustainability</vt:lpstr>
      <vt:lpstr>Three “Pillars” to Sustainable Procurement</vt:lpstr>
      <vt:lpstr>PowerPoint Presentation</vt:lpstr>
      <vt:lpstr>PowerPoint Presentation</vt:lpstr>
      <vt:lpstr>PowerPoint Presentation</vt:lpstr>
      <vt:lpstr>Administrative Cooperation:  U.S. Defense Department Cybersecurity for Unclassified Information Technology</vt:lpstr>
      <vt:lpstr>Reciprocal Defense Procurement Agreements</vt:lpstr>
      <vt:lpstr>Defense Department Memoranda of Understanding with “Qualifying” Countries</vt:lpstr>
      <vt:lpstr>Defense – Memoranda of Understanding</vt:lpstr>
      <vt:lpstr>Defense – Memoranda of Understanding – UK Example</vt:lpstr>
      <vt:lpstr>Security of Supply</vt:lpstr>
      <vt:lpstr>Angela Merkel’s Mobile Phone</vt:lpstr>
      <vt:lpstr>Germany Canceled Verizon Contract</vt:lpstr>
      <vt:lpstr>GPA, Art. III Leaves Discretion To Discriminate Regarding Classified Work</vt:lpstr>
      <vt:lpstr>GPA, Art. III Leaves Discretion To Discriminate Regarding Classified Work</vt:lpstr>
      <vt:lpstr>European Response</vt:lpstr>
      <vt:lpstr>Background: Top 10 U.S. Defense Contractors</vt:lpstr>
      <vt:lpstr>Reciprocal defense procurement agreements</vt:lpstr>
      <vt:lpstr>Sample Reciprocal Defense Procurement Agreement:   U.S. - France</vt:lpstr>
      <vt:lpstr>PowerPoint Presentation</vt:lpstr>
      <vt:lpstr>PowerPoint Presentation</vt:lpstr>
      <vt:lpstr>EU Defense Fund:  Macron Manifesto</vt:lpstr>
      <vt:lpstr>EU Defense Fund:  Progressing</vt:lpstr>
      <vt:lpstr>Sept. 12, 2017</vt:lpstr>
      <vt:lpstr>PowerPoint Presentation</vt:lpstr>
      <vt:lpstr>PowerPoint Presentation</vt:lpstr>
      <vt:lpstr>Continued Support:  EU President Jean-Clause Juncker’s State of the Union Address (Sept. 2018) </vt:lpstr>
      <vt:lpstr>PowerPoint Presentation</vt:lpstr>
      <vt:lpstr>Domestic Preference Under EU Defense Fund</vt:lpstr>
      <vt:lpstr>EU Defense Fund: Limited Caveat</vt:lpstr>
      <vt:lpstr>U.S. Response:  June 2019</vt:lpstr>
      <vt:lpstr>Anti-Corruption</vt:lpstr>
      <vt:lpstr>Risks of Corruption</vt:lpstr>
      <vt:lpstr>PowerPoint Presentation</vt:lpstr>
      <vt:lpstr>PowerPoint Presentation</vt:lpstr>
      <vt:lpstr>Processes</vt:lpstr>
      <vt:lpstr>Anti-Corruption</vt:lpstr>
      <vt:lpstr>Tools for Fighting Corruption</vt:lpstr>
      <vt:lpstr>                  Red Flags – Third Parties</vt:lpstr>
      <vt:lpstr>UK Bribery Act of 2010</vt:lpstr>
      <vt:lpstr>PowerPoint Presentation</vt:lpstr>
      <vt:lpstr>Brazil’s Anti-Corruption Law</vt:lpstr>
      <vt:lpstr>France’s Law “Sapin II” (2016)</vt:lpstr>
      <vt:lpstr>France’s Law “Sapin II”</vt:lpstr>
      <vt:lpstr>Mexico’s General Law of Administrative Accountability (2017)</vt:lpstr>
      <vt:lpstr>U.S. Anti-Fraud Law</vt:lpstr>
      <vt:lpstr>PowerPoint Presentation</vt:lpstr>
      <vt:lpstr>PowerPoint Presentation</vt:lpstr>
      <vt:lpstr>Corporate compliance</vt:lpstr>
      <vt:lpstr>What Is a Compliance System?</vt:lpstr>
      <vt:lpstr>PowerPoint Presentation</vt:lpstr>
      <vt:lpstr>Issues in Compliance</vt:lpstr>
      <vt:lpstr>Should Organizational Conflicts of Interest Be a Basis for Debarment?  Addressed in a Compliance System?</vt:lpstr>
      <vt:lpstr>Suspension/Debarment/ Exclusion</vt:lpstr>
      <vt:lpstr>US – Mexico – Canada Agreement  (USMCA)</vt:lpstr>
      <vt:lpstr>United States:   Procurement Suspension or Debarment = “Meta”- Responsibility Determination</vt:lpstr>
      <vt:lpstr>U.S. Federal Discretionary Debarment</vt:lpstr>
      <vt:lpstr>Comparing Causes for Debarment/Exclusion</vt:lpstr>
      <vt:lpstr>World Bank Sanctions System</vt:lpstr>
      <vt:lpstr>Four Paradigms</vt:lpstr>
      <vt:lpstr>PowerPoint Presentation</vt:lpstr>
      <vt:lpstr>Voluntary versus mandatory Disclosure</vt:lpstr>
      <vt:lpstr>U.S. Federal Mandatory Disclosure: FAR 52.203-13</vt:lpstr>
      <vt:lpstr>PowerPoint Presentation</vt:lpstr>
      <vt:lpstr>PowerPoint Presentation</vt:lpstr>
      <vt:lpstr>Combine?</vt:lpstr>
      <vt:lpstr>Combine?</vt:lpstr>
      <vt:lpstr>Reverse Auctions</vt:lpstr>
      <vt:lpstr>Assessing Electronic Procurement</vt:lpstr>
      <vt:lpstr>What Is a Reverse Auction?</vt:lpstr>
      <vt:lpstr>PowerPoint Presentation</vt:lpstr>
      <vt:lpstr>Case study:  Georgia –  Using E-Procurement To Combat Corruption</vt:lpstr>
      <vt:lpstr>Georgia E-Procurement</vt:lpstr>
      <vt:lpstr>Sample Georgian Auction</vt:lpstr>
      <vt:lpstr>The U.S. Rule on Reverse Auctions</vt:lpstr>
      <vt:lpstr>Which types of auction can be used? </vt:lpstr>
      <vt:lpstr>Which types of auction can be used?</vt:lpstr>
      <vt:lpstr>Which types of auction can be used?</vt:lpstr>
      <vt:lpstr>European Union Directive – Cont’d</vt:lpstr>
      <vt:lpstr>Any Recourse in GPA?</vt:lpstr>
      <vt:lpstr>Revised GPA Defines Electronic Reverse Auction</vt:lpstr>
      <vt:lpstr>And GPA Regulates . . .</vt:lpstr>
      <vt:lpstr>Mock Auction Rules</vt:lpstr>
      <vt:lpstr>Mock Auction</vt:lpstr>
      <vt:lpstr>Conclus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ustainability</dc:title>
  <dc:creator>Yukins, Christopher R.</dc:creator>
  <cp:lastModifiedBy>Yukins, Christopher R.</cp:lastModifiedBy>
  <cp:revision>2</cp:revision>
  <dcterms:created xsi:type="dcterms:W3CDTF">2019-12-07T01:47:17Z</dcterms:created>
  <dcterms:modified xsi:type="dcterms:W3CDTF">2019-12-07T02:02:15Z</dcterms:modified>
</cp:coreProperties>
</file>